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14.xml" ContentType="application/vnd.openxmlformats-officedocument.presentationml.tags+xml"/>
  <Override PartName="/ppt/notesSlides/notesSlide1.xml" ContentType="application/vnd.openxmlformats-officedocument.presentationml.notesSlide+xml"/>
  <Override PartName="/ppt/tags/tag1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6.xml" ContentType="application/vnd.openxmlformats-officedocument.presentationml.tags+xml"/>
  <Override PartName="/ppt/notesSlides/notesSlide5.xml" ContentType="application/vnd.openxmlformats-officedocument.presentationml.notesSlide+xml"/>
  <Override PartName="/ppt/tags/tag117.xml" ContentType="application/vnd.openxmlformats-officedocument.presentationml.tags+xml"/>
  <Override PartName="/ppt/notesSlides/notesSlide6.xml" ContentType="application/vnd.openxmlformats-officedocument.presentationml.notesSlide+xml"/>
  <Override PartName="/ppt/tags/tag118.xml" ContentType="application/vnd.openxmlformats-officedocument.presentationml.tags+xml"/>
  <Override PartName="/ppt/notesSlides/notesSlide7.xml" ContentType="application/vnd.openxmlformats-officedocument.presentationml.notesSlide+xml"/>
  <Override PartName="/ppt/tags/tag119.xml" ContentType="application/vnd.openxmlformats-officedocument.presentationml.tags+xml"/>
  <Override PartName="/ppt/notesSlides/notesSlide8.xml" ContentType="application/vnd.openxmlformats-officedocument.presentationml.notesSlide+xml"/>
  <Override PartName="/ppt/tags/tag120.xml" ContentType="application/vnd.openxmlformats-officedocument.presentationml.tags+xml"/>
  <Override PartName="/ppt/notesSlides/notesSlide9.xml" ContentType="application/vnd.openxmlformats-officedocument.presentationml.notesSlide+xml"/>
  <Override PartName="/ppt/tags/tag121.xml" ContentType="application/vnd.openxmlformats-officedocument.presentationml.tags+xml"/>
  <Override PartName="/ppt/notesSlides/notesSlide10.xml" ContentType="application/vnd.openxmlformats-officedocument.presentationml.notesSlide+xml"/>
  <Override PartName="/ppt/tags/tag122.xml" ContentType="application/vnd.openxmlformats-officedocument.presentationml.tags+xml"/>
  <Override PartName="/ppt/notesSlides/notesSlide11.xml" ContentType="application/vnd.openxmlformats-officedocument.presentationml.notesSlide+xml"/>
  <Override PartName="/ppt/tags/tag123.xml" ContentType="application/vnd.openxmlformats-officedocument.presentationml.tags+xml"/>
  <Override PartName="/ppt/notesSlides/notesSlide12.xml" ContentType="application/vnd.openxmlformats-officedocument.presentationml.notesSlide+xml"/>
  <Override PartName="/ppt/tags/tag124.xml" ContentType="application/vnd.openxmlformats-officedocument.presentationml.tags+xml"/>
  <Override PartName="/ppt/notesSlides/notesSlide13.xml" ContentType="application/vnd.openxmlformats-officedocument.presentationml.notesSlide+xml"/>
  <Override PartName="/ppt/tags/tag125.xml" ContentType="application/vnd.openxmlformats-officedocument.presentationml.tags+xml"/>
  <Override PartName="/ppt/notesSlides/notesSlide14.xml" ContentType="application/vnd.openxmlformats-officedocument.presentationml.notesSlide+xml"/>
  <Override PartName="/ppt/tags/tag126.xml" ContentType="application/vnd.openxmlformats-officedocument.presentationml.tags+xml"/>
  <Override PartName="/ppt/notesSlides/notesSlide15.xml" ContentType="application/vnd.openxmlformats-officedocument.presentationml.notesSlide+xml"/>
  <Override PartName="/ppt/tags/tag127.xml" ContentType="application/vnd.openxmlformats-officedocument.presentationml.tags+xml"/>
  <Override PartName="/ppt/notesSlides/notesSlide16.xml" ContentType="application/vnd.openxmlformats-officedocument.presentationml.notesSlide+xml"/>
  <Override PartName="/ppt/tags/tag128.xml" ContentType="application/vnd.openxmlformats-officedocument.presentationml.tags+xml"/>
  <Override PartName="/ppt/notesSlides/notesSlide17.xml" ContentType="application/vnd.openxmlformats-officedocument.presentationml.notesSlide+xml"/>
  <Override PartName="/ppt/tags/tag129.xml" ContentType="application/vnd.openxmlformats-officedocument.presentationml.tags+xml"/>
  <Override PartName="/ppt/notesSlides/notesSlide18.xml" ContentType="application/vnd.openxmlformats-officedocument.presentationml.notesSlide+xml"/>
  <Override PartName="/ppt/tags/tag130.xml" ContentType="application/vnd.openxmlformats-officedocument.presentationml.tags+xml"/>
  <Override PartName="/ppt/notesSlides/notesSlide19.xml" ContentType="application/vnd.openxmlformats-officedocument.presentationml.notesSlide+xml"/>
  <Override PartName="/ppt/tags/tag131.xml" ContentType="application/vnd.openxmlformats-officedocument.presentationml.tags+xml"/>
  <Override PartName="/ppt/notesSlides/notesSlide20.xml" ContentType="application/vnd.openxmlformats-officedocument.presentationml.notesSlide+xml"/>
  <Override PartName="/ppt/tags/tag132.xml" ContentType="application/vnd.openxmlformats-officedocument.presentationml.tags+xml"/>
  <Override PartName="/ppt/notesSlides/notesSlide21.xml" ContentType="application/vnd.openxmlformats-officedocument.presentationml.notesSlide+xml"/>
  <Override PartName="/ppt/tags/tag133.xml" ContentType="application/vnd.openxmlformats-officedocument.presentationml.tags+xml"/>
  <Override PartName="/ppt/notesSlides/notesSlide22.xml" ContentType="application/vnd.openxmlformats-officedocument.presentationml.notesSlide+xml"/>
  <Override PartName="/ppt/tags/tag134.xml" ContentType="application/vnd.openxmlformats-officedocument.presentationml.tags+xml"/>
  <Override PartName="/ppt/notesSlides/notesSlide23.xml" ContentType="application/vnd.openxmlformats-officedocument.presentationml.notesSlide+xml"/>
  <Override PartName="/ppt/tags/tag135.xml" ContentType="application/vnd.openxmlformats-officedocument.presentationml.tags+xml"/>
  <Override PartName="/ppt/notesSlides/notesSlide24.xml" ContentType="application/vnd.openxmlformats-officedocument.presentationml.notesSlide+xml"/>
  <Override PartName="/ppt/tags/tag136.xml" ContentType="application/vnd.openxmlformats-officedocument.presentationml.tags+xml"/>
  <Override PartName="/ppt/notesSlides/notesSlide25.xml" ContentType="application/vnd.openxmlformats-officedocument.presentationml.notesSlide+xml"/>
  <Override PartName="/ppt/tags/tag137.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38.xml" ContentType="application/vnd.openxmlformats-officedocument.presentationml.tags+xml"/>
  <Override PartName="/ppt/notesSlides/notesSlide28.xml" ContentType="application/vnd.openxmlformats-officedocument.presentationml.notesSlide+xml"/>
  <Override PartName="/ppt/tags/tag139.xml" ContentType="application/vnd.openxmlformats-officedocument.presentationml.tags+xml"/>
  <Override PartName="/ppt/notesSlides/notesSlide29.xml" ContentType="application/vnd.openxmlformats-officedocument.presentationml.notesSlide+xml"/>
  <Override PartName="/ppt/tags/tag140.xml" ContentType="application/vnd.openxmlformats-officedocument.presentationml.tags+xml"/>
  <Override PartName="/ppt/notesSlides/notesSlide30.xml" ContentType="application/vnd.openxmlformats-officedocument.presentationml.notesSlide+xml"/>
  <Override PartName="/ppt/tags/tag141.xml" ContentType="application/vnd.openxmlformats-officedocument.presentationml.tags+xml"/>
  <Override PartName="/ppt/notesSlides/notesSlide31.xml" ContentType="application/vnd.openxmlformats-officedocument.presentationml.notesSlide+xml"/>
  <Override PartName="/ppt/tags/tag142.xml" ContentType="application/vnd.openxmlformats-officedocument.presentationml.tags+xml"/>
  <Override PartName="/ppt/notesSlides/notesSlide32.xml" ContentType="application/vnd.openxmlformats-officedocument.presentationml.notesSlide+xml"/>
  <Override PartName="/ppt/tags/tag143.xml" ContentType="application/vnd.openxmlformats-officedocument.presentationml.tags+xml"/>
  <Override PartName="/ppt/notesSlides/notesSlide33.xml" ContentType="application/vnd.openxmlformats-officedocument.presentationml.notesSlide+xml"/>
  <Override PartName="/ppt/tags/tag144.xml" ContentType="application/vnd.openxmlformats-officedocument.presentationml.tags+xml"/>
  <Override PartName="/ppt/notesSlides/notesSlide34.xml" ContentType="application/vnd.openxmlformats-officedocument.presentationml.notesSlide+xml"/>
  <Override PartName="/ppt/tags/tag145.xml" ContentType="application/vnd.openxmlformats-officedocument.presentationml.tags+xml"/>
  <Override PartName="/ppt/notesSlides/notesSlide35.xml" ContentType="application/vnd.openxmlformats-officedocument.presentationml.notesSlide+xml"/>
  <Override PartName="/ppt/tags/tag146.xml" ContentType="application/vnd.openxmlformats-officedocument.presentationml.tags+xml"/>
  <Override PartName="/ppt/notesSlides/notesSlide36.xml" ContentType="application/vnd.openxmlformats-officedocument.presentationml.notesSlide+xml"/>
  <Override PartName="/ppt/tags/tag147.xml" ContentType="application/vnd.openxmlformats-officedocument.presentationml.tags+xml"/>
  <Override PartName="/ppt/notesSlides/notesSlide37.xml" ContentType="application/vnd.openxmlformats-officedocument.presentationml.notesSlide+xml"/>
  <Override PartName="/ppt/tags/tag148.xml" ContentType="application/vnd.openxmlformats-officedocument.presentationml.tags+xml"/>
  <Override PartName="/ppt/notesSlides/notesSlide38.xml" ContentType="application/vnd.openxmlformats-officedocument.presentationml.notesSlide+xml"/>
  <Override PartName="/ppt/tags/tag149.xml" ContentType="application/vnd.openxmlformats-officedocument.presentationml.tags+xml"/>
  <Override PartName="/ppt/notesSlides/notesSlide39.xml" ContentType="application/vnd.openxmlformats-officedocument.presentationml.notesSlide+xml"/>
  <Override PartName="/ppt/tags/tag150.xml" ContentType="application/vnd.openxmlformats-officedocument.presentationml.tags+xml"/>
  <Override PartName="/ppt/notesSlides/notesSlide40.xml" ContentType="application/vnd.openxmlformats-officedocument.presentationml.notesSlide+xml"/>
  <Override PartName="/ppt/tags/tag151.xml" ContentType="application/vnd.openxmlformats-officedocument.presentationml.tags+xml"/>
  <Override PartName="/ppt/notesSlides/notesSlide41.xml" ContentType="application/vnd.openxmlformats-officedocument.presentationml.notesSlide+xml"/>
  <Override PartName="/ppt/tags/tag152.xml" ContentType="application/vnd.openxmlformats-officedocument.presentationml.tags+xml"/>
  <Override PartName="/ppt/notesSlides/notesSlide42.xml" ContentType="application/vnd.openxmlformats-officedocument.presentationml.notesSlide+xml"/>
  <Override PartName="/ppt/tags/tag153.xml" ContentType="application/vnd.openxmlformats-officedocument.presentationml.tags+xml"/>
  <Override PartName="/ppt/notesSlides/notesSlide43.xml" ContentType="application/vnd.openxmlformats-officedocument.presentationml.notesSlide+xml"/>
  <Override PartName="/ppt/tags/tag154.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155.xml" ContentType="application/vnd.openxmlformats-officedocument.presentationml.tags+xml"/>
  <Override PartName="/ppt/notesSlides/notesSlide46.xml" ContentType="application/vnd.openxmlformats-officedocument.presentationml.notesSlide+xml"/>
  <Override PartName="/ppt/tags/tag156.xml" ContentType="application/vnd.openxmlformats-officedocument.presentationml.tags+xml"/>
  <Override PartName="/ppt/notesSlides/notesSlide47.xml" ContentType="application/vnd.openxmlformats-officedocument.presentationml.notesSlide+xml"/>
  <Override PartName="/ppt/tags/tag157.xml" ContentType="application/vnd.openxmlformats-officedocument.presentationml.tags+xml"/>
  <Override PartName="/ppt/notesSlides/notesSlide4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04" r:id="rId5"/>
    <p:sldMasterId id="2147483760" r:id="rId6"/>
  </p:sldMasterIdLst>
  <p:notesMasterIdLst>
    <p:notesMasterId r:id="rId56"/>
  </p:notesMasterIdLst>
  <p:handoutMasterIdLst>
    <p:handoutMasterId r:id="rId57"/>
  </p:handoutMasterIdLst>
  <p:sldIdLst>
    <p:sldId id="1978" r:id="rId7"/>
    <p:sldId id="8721" r:id="rId8"/>
    <p:sldId id="8682" r:id="rId9"/>
    <p:sldId id="8683" r:id="rId10"/>
    <p:sldId id="1985" r:id="rId11"/>
    <p:sldId id="8739" r:id="rId12"/>
    <p:sldId id="2048" r:id="rId13"/>
    <p:sldId id="1996" r:id="rId14"/>
    <p:sldId id="2040" r:id="rId15"/>
    <p:sldId id="2041" r:id="rId16"/>
    <p:sldId id="2049" r:id="rId17"/>
    <p:sldId id="2050" r:id="rId18"/>
    <p:sldId id="1976" r:id="rId19"/>
    <p:sldId id="2045" r:id="rId20"/>
    <p:sldId id="2011" r:id="rId21"/>
    <p:sldId id="8756" r:id="rId22"/>
    <p:sldId id="8757" r:id="rId23"/>
    <p:sldId id="8763" r:id="rId24"/>
    <p:sldId id="8764" r:id="rId25"/>
    <p:sldId id="8765" r:id="rId26"/>
    <p:sldId id="8734" r:id="rId27"/>
    <p:sldId id="2012" r:id="rId28"/>
    <p:sldId id="8740" r:id="rId29"/>
    <p:sldId id="8741" r:id="rId30"/>
    <p:sldId id="8742" r:id="rId31"/>
    <p:sldId id="8743" r:id="rId32"/>
    <p:sldId id="2015" r:id="rId33"/>
    <p:sldId id="8729" r:id="rId34"/>
    <p:sldId id="8744" r:id="rId35"/>
    <p:sldId id="8745" r:id="rId36"/>
    <p:sldId id="8746" r:id="rId37"/>
    <p:sldId id="8747" r:id="rId38"/>
    <p:sldId id="8762" r:id="rId39"/>
    <p:sldId id="2014" r:id="rId40"/>
    <p:sldId id="8748" r:id="rId41"/>
    <p:sldId id="8749" r:id="rId42"/>
    <p:sldId id="8750" r:id="rId43"/>
    <p:sldId id="8755" r:id="rId44"/>
    <p:sldId id="2017" r:id="rId45"/>
    <p:sldId id="1984" r:id="rId46"/>
    <p:sldId id="8706" r:id="rId47"/>
    <p:sldId id="8701" r:id="rId48"/>
    <p:sldId id="8697" r:id="rId49"/>
    <p:sldId id="8699" r:id="rId50"/>
    <p:sldId id="8696" r:id="rId51"/>
    <p:sldId id="8761" r:id="rId52"/>
    <p:sldId id="2071" r:id="rId53"/>
    <p:sldId id="2046" r:id="rId54"/>
    <p:sldId id="1977" r:id="rId55"/>
  </p:sldIdLst>
  <p:sldSz cx="12192000" cy="6858000"/>
  <p:notesSz cx="6669088" cy="9926638"/>
  <p:custDataLst>
    <p:tags r:id="rId5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ktion" id="{E235397B-FCB6-4EF9-A57F-D6020CD56675}">
          <p14:sldIdLst>
            <p14:sldId id="1978"/>
            <p14:sldId id="8721"/>
            <p14:sldId id="8682"/>
            <p14:sldId id="8683"/>
            <p14:sldId id="1985"/>
          </p14:sldIdLst>
        </p14:section>
        <p14:section name="Ideer til, hvordan I kan arbejde med resultaterne på jeres skole" id="{90E45515-99C3-4EA8-89A3-F0C2A55DFA38}">
          <p14:sldIdLst>
            <p14:sldId id="8739"/>
            <p14:sldId id="2048"/>
            <p14:sldId id="1996"/>
            <p14:sldId id="2040"/>
            <p14:sldId id="2041"/>
            <p14:sldId id="2049"/>
            <p14:sldId id="2050"/>
          </p14:sldIdLst>
        </p14:section>
        <p14:section name="Præsentation af resultater" id="{09084D71-5F48-46A1-A2B7-E23E124DA0EA}">
          <p14:sldIdLst>
            <p14:sldId id="1976"/>
            <p14:sldId id="2045"/>
            <p14:sldId id="2011"/>
            <p14:sldId id="8756"/>
            <p14:sldId id="8757"/>
            <p14:sldId id="8763"/>
            <p14:sldId id="8764"/>
            <p14:sldId id="8765"/>
            <p14:sldId id="8734"/>
            <p14:sldId id="2012"/>
            <p14:sldId id="8740"/>
            <p14:sldId id="8741"/>
            <p14:sldId id="8742"/>
            <p14:sldId id="8743"/>
            <p14:sldId id="2015"/>
            <p14:sldId id="8729"/>
            <p14:sldId id="8744"/>
            <p14:sldId id="8745"/>
            <p14:sldId id="8746"/>
            <p14:sldId id="8747"/>
            <p14:sldId id="8762"/>
            <p14:sldId id="2014"/>
            <p14:sldId id="8748"/>
            <p14:sldId id="8749"/>
            <p14:sldId id="8750"/>
            <p14:sldId id="8755"/>
            <p14:sldId id="2017"/>
          </p14:sldIdLst>
        </p14:section>
        <p14:section name="Eksempler på prøvehandlinger i praksis" id="{404A3D84-3725-42C3-86EC-EA2D2BC9A2B1}">
          <p14:sldIdLst>
            <p14:sldId id="1984"/>
            <p14:sldId id="8706"/>
            <p14:sldId id="8701"/>
            <p14:sldId id="8697"/>
            <p14:sldId id="8699"/>
            <p14:sldId id="8696"/>
          </p14:sldIdLst>
        </p14:section>
        <p14:section name="Bilag til arbejde med resulater på jeres skole" id="{28DE574D-2DB8-4A7C-AC58-21BB1E175C73}">
          <p14:sldIdLst>
            <p14:sldId id="8761"/>
            <p14:sldId id="2071"/>
            <p14:sldId id="2046"/>
            <p14:sldId id="197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6B8D000-F82D-2D0C-51ED-428BE9EB0964}" name="Nikolaj Godsk Vestergaard" initials="NGV" userId="S::ngv@ramboll.com::13f6e931-e8bb-4f58-9241-2f10614c3355" providerId="AD"/>
  <p188:author id="{60F7C223-4C18-FD4B-A6A9-C7DF1445EE49}" name="Matilde Bay Lyhne" initials="MBL" userId="S::MBLH@ramboll.com::a039d037-0c3d-4f54-991e-c2f61f8db783" providerId="AD"/>
  <p188:author id="{E2AB4229-5360-8B8D-47A9-CBB0842CF039}" name="Stine Rauff Bommersholdt" initials="SRB" userId="S::srb@ramboll.com::bb454674-bbcb-4315-8711-7c6e7a96d6c8" providerId="AD"/>
  <p188:author id="{E763F33A-282B-3A02-CBE0-C9F036E4D86F}" name="Mia Rytter Lund" initials="ML" userId="S::mryl@ramboll.com::fd5a37df-57b5-4ab7-b42f-f051b0300ae8" providerId="AD"/>
  <p188:author id="{92657D86-AABF-8C4C-6F51-D65416DCF824}" name="Line Pors Jørgensen" initials="LJ" userId="S::lej@ramboll.com::0132e566-f4bf-401a-a981-ca4845cdd2a4" providerId="AD"/>
  <p188:author id="{0BA25B9C-FEEF-EEBE-D988-74E296632A26}" name="Ida Høst Poulsen" initials="IHP" userId="S::IHPN@ramboll.com::2d088ed6-0a98-46db-a6ce-9daf67945352" providerId="AD"/>
  <p188:author id="{FD6096FA-94D4-FC42-A793-12E6BD8212EE}" name="Line Pors Jørgensen" initials="LPJ" userId="S::LEJ@ramboll.com::0132e566-f4bf-401a-a981-ca4845cdd2a4" providerId="AD"/>
  <p188:author id="{206940FC-A99F-6378-E12A-33EDEA0780C5}" name="Sophie Bayer" initials="SB" userId="S::AECB@ramboll.com::ede9276c-710b-4378-937b-bdc2eba6c543" providerId="AD"/>
  <p188:author id="{C1F161FD-E976-00BF-7048-A16D50EA37DE}" name="Mia Rytter Lund" initials="MRL" userId="S::MRYL@ramboll.com::fd5a37df-57b5-4ab7-b42f-f051b0300ae8"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E6E6E6"/>
    <a:srgbClr val="FFFFFF"/>
    <a:srgbClr val="273F68"/>
    <a:srgbClr val="FFD11D"/>
    <a:srgbClr val="D5B429"/>
    <a:srgbClr val="DDC251"/>
    <a:srgbClr val="E4CF74"/>
    <a:srgbClr val="BD9ADD"/>
    <a:srgbClr val="EFF2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38D14C-6AAB-4FD3-B792-B3F991D8894C}" v="4" dt="2023-09-01T07:55:24.6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4" d="100"/>
          <a:sy n="154" d="100"/>
        </p:scale>
        <p:origin x="534" y="10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notesMaster" Target="notesMasters/notesMaster1.xml"/><Relationship Id="rId64" Type="http://schemas.microsoft.com/office/2018/10/relationships/authors" Target="author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777607" y="0"/>
            <a:ext cx="2889938" cy="498056"/>
          </a:xfrm>
          <a:prstGeom prst="rect">
            <a:avLst/>
          </a:prstGeom>
        </p:spPr>
        <p:txBody>
          <a:bodyPr vert="horz" lIns="91440" tIns="45720" rIns="91440" bIns="45720" rtlCol="0"/>
          <a:lstStyle>
            <a:lvl1pPr algn="r">
              <a:defRPr sz="1200"/>
            </a:lvl1pPr>
          </a:lstStyle>
          <a:p>
            <a:fld id="{A942B987-EC31-4746-B4E6-062CD7AA3A1A}" type="datetime1">
              <a:rPr lang="en-GB" smtClean="0"/>
              <a:t>06/09/2023</a:t>
            </a:fld>
            <a:endParaRPr lang="en-GB"/>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777607" y="9428584"/>
            <a:ext cx="2889938" cy="498055"/>
          </a:xfrm>
          <a:prstGeom prst="rect">
            <a:avLst/>
          </a:prstGeom>
        </p:spPr>
        <p:txBody>
          <a:bodyPr vert="horz" lIns="91440" tIns="45720" rIns="91440" bIns="45720" rtlCol="0" anchor="b"/>
          <a:lstStyle>
            <a:lvl1pPr algn="r">
              <a:defRPr sz="1200"/>
            </a:lvl1pPr>
          </a:lstStyle>
          <a:p>
            <a:fld id="{C5BF6EE6-6533-46A0-A8FB-DBC252423243}" type="slidenum">
              <a:rPr lang="en-GB" smtClean="0"/>
              <a:t>‹nr.›</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0" y="9428584"/>
            <a:ext cx="2889938" cy="498055"/>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777607" y="9428584"/>
            <a:ext cx="2889938" cy="498055"/>
          </a:xfrm>
          <a:prstGeom prst="rect">
            <a:avLst/>
          </a:prstGeom>
        </p:spPr>
        <p:txBody>
          <a:bodyPr vert="horz" lIns="91440" tIns="45720" rIns="91440" bIns="45720" rtlCol="0" anchor="b"/>
          <a:lstStyle>
            <a:lvl1pPr algn="r" rtl="0">
              <a:defRPr sz="1200"/>
            </a:lvl1pPr>
          </a:lstStyle>
          <a:p>
            <a:fld id="{1B1D025B-ACD2-45C1-B156-1DDB470CE319}" type="slidenum">
              <a:rPr lang="da-DK" smtClean="0"/>
              <a:pPr/>
              <a:t>‹nr.›</a:t>
            </a:fld>
            <a:endParaRPr lang="da-DK"/>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66909" y="4777195"/>
            <a:ext cx="5335270" cy="3908614"/>
          </a:xfrm>
          <a:prstGeom prst="rect">
            <a:avLst/>
          </a:prstGeom>
        </p:spPr>
        <p:txBody>
          <a:bodyPr vert="horz" lIns="91440" tIns="45720" rIns="91440" bIns="45720" rtlCol="0"/>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777607" y="0"/>
            <a:ext cx="2889938" cy="498056"/>
          </a:xfrm>
          <a:prstGeom prst="rect">
            <a:avLst/>
          </a:prstGeom>
        </p:spPr>
        <p:txBody>
          <a:bodyPr vert="horz" lIns="91440" tIns="45720" rIns="91440" bIns="45720" rtlCol="0"/>
          <a:lstStyle>
            <a:lvl1pPr algn="r" rtl="0">
              <a:defRPr sz="1200"/>
            </a:lvl1pPr>
          </a:lstStyle>
          <a:p>
            <a:fld id="{D325BBF7-0B0C-48D4-ABAA-EF360EF241C5}" type="datetime1">
              <a:rPr lang="da-DK" smtClean="0"/>
              <a:pPr/>
              <a:t>06-09-2023</a:t>
            </a:fld>
            <a:endParaRPr lang="da-DK"/>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0" y="0"/>
            <a:ext cx="2889938" cy="498056"/>
          </a:xfrm>
          <a:prstGeom prst="rect">
            <a:avLst/>
          </a:prstGeom>
        </p:spPr>
        <p:txBody>
          <a:bodyPr vert="horz" lIns="91440" tIns="45720" rIns="91440" bIns="45720" rtlCol="0"/>
          <a:lstStyle>
            <a:lvl1pPr algn="l" rtl="0">
              <a:defRPr sz="1200"/>
            </a:lvl1pPr>
          </a:lstStyle>
          <a:p>
            <a:endParaRPr lang="da-DK"/>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357188" y="1239838"/>
            <a:ext cx="5954712" cy="3351212"/>
          </a:xfrm>
          <a:prstGeom prst="rect">
            <a:avLst/>
          </a:prstGeom>
          <a:noFill/>
          <a:ln w="12700">
            <a:solidFill>
              <a:prstClr val="black"/>
            </a:solidFill>
          </a:ln>
        </p:spPr>
        <p:txBody>
          <a:bodyPr vert="horz" lIns="91440" tIns="45720" rIns="91440" bIns="45720"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0" y="9428584"/>
            <a:ext cx="2889938" cy="498055"/>
          </a:xfrm>
          <a:prstGeom prst="rect">
            <a:avLst/>
          </a:prstGeom>
        </p:spPr>
        <p:txBody>
          <a:bodyPr vert="horz" lIns="91440" tIns="45720" rIns="91440" bIns="45720" rtlCol="0" anchor="b"/>
          <a:lstStyle>
            <a:lvl1pPr algn="l" rtl="0">
              <a:defRPr sz="1200"/>
            </a:lvl1pPr>
          </a:lstStyle>
          <a:p>
            <a:endParaRPr lang="da-DK"/>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2521641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a:t>Uddybende noter:</a:t>
            </a:r>
          </a:p>
          <a:p>
            <a:endParaRPr lang="da-DK"/>
          </a:p>
          <a:p>
            <a:r>
              <a:rPr lang="da-DK"/>
              <a:t>Øvelsen kan tilpasses afhængigt af, hvor meget tid I har afsat til at arbejde med øvelsen. Rambøll foreslår følgende program:</a:t>
            </a:r>
          </a:p>
          <a:p>
            <a:pPr marL="171450" indent="-171450">
              <a:buFont typeface="Arial" panose="020B0604020202020204" pitchFamily="34" charset="0"/>
              <a:buChar char="•"/>
            </a:pPr>
            <a:r>
              <a:rPr lang="da-DK"/>
              <a:t>Orientering i prøvehandlinger (10 min.)</a:t>
            </a:r>
          </a:p>
          <a:p>
            <a:pPr marL="171450" indent="-171450">
              <a:buFont typeface="Arial" panose="020B0604020202020204" pitchFamily="34" charset="0"/>
              <a:buChar char="•"/>
            </a:pPr>
            <a:r>
              <a:rPr lang="da-DK"/>
              <a:t>Udvælgelse af prøvehandlinger (10 min.) </a:t>
            </a:r>
          </a:p>
          <a:p>
            <a:pPr marL="171450" indent="-171450">
              <a:buFont typeface="Arial" panose="020B0604020202020204" pitchFamily="34" charset="0"/>
              <a:buChar char="•"/>
            </a:pPr>
            <a:r>
              <a:rPr lang="da-DK"/>
              <a:t>Drøftelser (20-40 min.)</a:t>
            </a:r>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1</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5209462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a:t>Uddybende noter:</a:t>
            </a:r>
          </a:p>
          <a:p>
            <a:endParaRPr lang="da-DK"/>
          </a:p>
          <a:p>
            <a:r>
              <a:rPr lang="da-DK"/>
              <a:t>Øvelsen kan tilpasses afhængigt af, hvor meget tid I har afsat til at arbejde med øvelsen. Rambøll foreslår følgende progr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a:t>Udvælgelse af ord (10 m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a:t>Præsentation og drøftelser (20-40 min.) </a:t>
            </a:r>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2</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5493295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0"/>
        <p:cNvGrpSpPr/>
        <p:nvPr/>
      </p:nvGrpSpPr>
      <p:grpSpPr>
        <a:xfrm>
          <a:off x="0" y="0"/>
          <a:ext cx="0" cy="0"/>
          <a:chOff x="0" y="0"/>
          <a:chExt cx="0" cy="0"/>
        </a:xfrm>
      </p:grpSpPr>
      <p:sp>
        <p:nvSpPr>
          <p:cNvPr id="691" name="Google Shape;691;g35f391192_00:notes"/>
          <p:cNvSpPr>
            <a:spLocks noGrp="1" noRot="1" noChangeAspect="1"/>
          </p:cNvSpPr>
          <p:nvPr>
            <p:ph type="sldImg" idx="2"/>
          </p:nvPr>
        </p:nvSpPr>
        <p:spPr>
          <a:xfrm>
            <a:off x="-349250" y="808038"/>
            <a:ext cx="7183438" cy="40417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2" name="Google Shape;692;g35f391192_00:notes"/>
          <p:cNvSpPr txBox="1">
            <a:spLocks noGrp="1"/>
          </p:cNvSpPr>
          <p:nvPr>
            <p:ph type="body" idx="1"/>
          </p:nvPr>
        </p:nvSpPr>
        <p:spPr>
          <a:xfrm>
            <a:off x="648539" y="5118725"/>
            <a:ext cx="5188303" cy="4849318"/>
          </a:xfrm>
          <a:prstGeom prst="rect">
            <a:avLst/>
          </a:prstGeom>
        </p:spPr>
        <p:txBody>
          <a:bodyPr spcFirstLastPara="1" wrap="square" lIns="91425" tIns="91425" rIns="91425" bIns="91425" anchor="t" anchorCtr="0">
            <a:noAutofit/>
          </a:bodyPr>
          <a:lstStyle/>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0" lvl="0" indent="0" algn="l">
              <a:spcBef>
                <a:spcPts val="0"/>
              </a:spcBef>
              <a:spcAft>
                <a:spcPts val="0"/>
              </a:spcAft>
              <a:buNone/>
            </a:pPr>
            <a:endParaRPr lang="da-DK"/>
          </a:p>
        </p:txBody>
      </p:sp>
    </p:spTree>
    <p:extLst>
      <p:ext uri="{BB962C8B-B14F-4D97-AF65-F5344CB8AC3E}">
        <p14:creationId xmlns:p14="http://schemas.microsoft.com/office/powerpoint/2010/main" val="2278391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a:t>Uddybende noter:</a:t>
            </a:r>
          </a:p>
          <a:p>
            <a:r>
              <a:rPr lang="da-DK"/>
              <a:t>* Slides kan tilpasses afhængigt af jeres fokus </a:t>
            </a:r>
          </a:p>
        </p:txBody>
      </p:sp>
      <p:sp>
        <p:nvSpPr>
          <p:cNvPr id="4" name="Slide Number Placeholder 3"/>
          <p:cNvSpPr>
            <a:spLocks noGrp="1"/>
          </p:cNvSpPr>
          <p:nvPr>
            <p:ph type="sldNum" sz="quarter" idx="5"/>
          </p:nvPr>
        </p:nvSpPr>
        <p:spPr/>
        <p:txBody>
          <a:bodyPr/>
          <a:lstStyle/>
          <a:p>
            <a:fld id="{1B1D025B-ACD2-45C1-B156-1DDB470CE319}" type="slidenum">
              <a:rPr lang="da-DK" smtClean="0"/>
              <a:pPr/>
              <a:t>14</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8521779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0"/>
        <p:cNvGrpSpPr/>
        <p:nvPr/>
      </p:nvGrpSpPr>
      <p:grpSpPr>
        <a:xfrm>
          <a:off x="0" y="0"/>
          <a:ext cx="0" cy="0"/>
          <a:chOff x="0" y="0"/>
          <a:chExt cx="0" cy="0"/>
        </a:xfrm>
      </p:grpSpPr>
      <p:sp>
        <p:nvSpPr>
          <p:cNvPr id="691" name="Google Shape;691;g35f391192_00:notes"/>
          <p:cNvSpPr>
            <a:spLocks noGrp="1" noRot="1" noChangeAspect="1"/>
          </p:cNvSpPr>
          <p:nvPr>
            <p:ph type="sldImg" idx="2"/>
          </p:nvPr>
        </p:nvSpPr>
        <p:spPr>
          <a:xfrm>
            <a:off x="-349250" y="808038"/>
            <a:ext cx="7183438" cy="40417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2" name="Google Shape;692;g35f391192_00:notes"/>
          <p:cNvSpPr txBox="1">
            <a:spLocks noGrp="1"/>
          </p:cNvSpPr>
          <p:nvPr>
            <p:ph type="body" idx="1"/>
          </p:nvPr>
        </p:nvSpPr>
        <p:spPr>
          <a:xfrm>
            <a:off x="648539" y="5118725"/>
            <a:ext cx="5188303" cy="4849318"/>
          </a:xfrm>
          <a:prstGeom prst="rect">
            <a:avLst/>
          </a:prstGeom>
        </p:spPr>
        <p:txBody>
          <a:bodyPr spcFirstLastPara="1" wrap="square" lIns="91425" tIns="91425" rIns="91425" bIns="91425" anchor="t" anchorCtr="0">
            <a:noAutofit/>
          </a:bodyPr>
          <a:lstStyle/>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0" lvl="0" indent="0" algn="l">
              <a:spcBef>
                <a:spcPts val="0"/>
              </a:spcBef>
              <a:spcAft>
                <a:spcPts val="0"/>
              </a:spcAft>
              <a:buNone/>
            </a:pPr>
            <a:endParaRPr lang="da-DK"/>
          </a:p>
        </p:txBody>
      </p:sp>
    </p:spTree>
    <p:extLst>
      <p:ext uri="{BB962C8B-B14F-4D97-AF65-F5344CB8AC3E}">
        <p14:creationId xmlns:p14="http://schemas.microsoft.com/office/powerpoint/2010/main" val="40204110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sz="900">
                <a:latin typeface="Verdana" panose="020B0604030504040204" pitchFamily="34" charset="0"/>
                <a:ea typeface="Verdana" panose="020B0604030504040204" pitchFamily="34" charset="0"/>
              </a:rPr>
              <a:t>Uddybende noter:</a:t>
            </a:r>
          </a:p>
          <a:p>
            <a:endParaRPr lang="da-DK" sz="900">
              <a:latin typeface="Verdana" panose="020B0604030504040204" pitchFamily="34" charset="0"/>
              <a:ea typeface="Verdana" panose="020B0604030504040204" pitchFamily="34" charset="0"/>
            </a:endParaRPr>
          </a:p>
          <a:p>
            <a:r>
              <a:rPr lang="da-DK" sz="900">
                <a:latin typeface="Verdana" panose="020B0604030504040204" pitchFamily="34" charset="0"/>
                <a:ea typeface="Verdana" panose="020B0604030504040204" pitchFamily="34" charset="0"/>
              </a:rPr>
              <a:t>Eleverne er i forbindelse med evalueringen blevet spurgt til, hvad der ifølge dem er en god skole for </a:t>
            </a:r>
            <a:r>
              <a:rPr lang="da-DK" sz="900" i="1">
                <a:latin typeface="Verdana" panose="020B0604030504040204" pitchFamily="34" charset="0"/>
                <a:ea typeface="Verdana" panose="020B0604030504040204" pitchFamily="34" charset="0"/>
              </a:rPr>
              <a:t>alle</a:t>
            </a:r>
            <a:r>
              <a:rPr lang="da-DK" sz="900">
                <a:latin typeface="Verdana" panose="020B0604030504040204" pitchFamily="34" charset="0"/>
                <a:ea typeface="Verdana" panose="020B0604030504040204" pitchFamily="34" charset="0"/>
              </a:rPr>
              <a:t> elever. Resultaterne viser, at eleverne har mange svar herpå – herunder hvad der karakteriserer god undervisning og det gode fællesskab/sociale miljø.  </a:t>
            </a:r>
          </a:p>
          <a:p>
            <a:endParaRPr lang="da-DK" sz="900">
              <a:latin typeface="Verdana" panose="020B0604030504040204" pitchFamily="34" charset="0"/>
              <a:ea typeface="Verdana" panose="020B0604030504040204" pitchFamily="34" charset="0"/>
            </a:endParaRPr>
          </a:p>
          <a:p>
            <a:r>
              <a:rPr lang="da-DK" sz="900">
                <a:latin typeface="Verdana" panose="020B0604030504040204" pitchFamily="34" charset="0"/>
                <a:ea typeface="Verdana" panose="020B0604030504040204" pitchFamily="34" charset="0"/>
              </a:rPr>
              <a:t>Elevernes besvarelser centrerer sig særligt om </a:t>
            </a:r>
            <a:r>
              <a:rPr lang="da-DK" sz="900" b="1">
                <a:latin typeface="Verdana" panose="020B0604030504040204" pitchFamily="34" charset="0"/>
                <a:ea typeface="Verdana" panose="020B0604030504040204" pitchFamily="34" charset="0"/>
              </a:rPr>
              <a:t>fire</a:t>
            </a:r>
            <a:r>
              <a:rPr lang="da-DK" sz="900">
                <a:latin typeface="Verdana" panose="020B0604030504040204" pitchFamily="34" charset="0"/>
                <a:ea typeface="Verdana" panose="020B0604030504040204" pitchFamily="34" charset="0"/>
              </a:rPr>
              <a:t> overordnede emner: </a:t>
            </a:r>
          </a:p>
          <a:p>
            <a:endParaRPr lang="da-DK" sz="90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900" b="1">
                <a:latin typeface="Verdana" panose="020B0604030504040204" pitchFamily="34" charset="0"/>
                <a:ea typeface="Verdana" panose="020B0604030504040204" pitchFamily="34" charset="0"/>
              </a:rPr>
              <a:t>Variation: </a:t>
            </a:r>
            <a:r>
              <a:rPr lang="da-DK" sz="900" b="0">
                <a:latin typeface="Verdana" panose="020B0604030504040204" pitchFamily="34" charset="0"/>
                <a:ea typeface="Verdana" panose="020B0604030504040204" pitchFamily="34" charset="0"/>
              </a:rPr>
              <a:t>Eleverne påpeger variation som en afgørende faktor for deres motivation og læring. Flere elever nævner, at de kunne ønske sig mere variation i timerne, fordi de har svært ved at koncentrere sig i timerne, hvis der kun er tavleundervisning eller opgaveløsning. Eleverne fortæller også, at dagene går hurtigere, hvis sjov og leg kombineres med læring. </a:t>
            </a:r>
            <a:r>
              <a:rPr lang="da-DK" sz="900">
                <a:latin typeface="Verdana" panose="020B0604030504040204" pitchFamily="34" charset="0"/>
                <a:ea typeface="Verdana" panose="020B0604030504040204" pitchFamily="34" charset="0"/>
                <a:cs typeface="Amatic SC" panose="00000500000000000000" pitchFamily="2" charset="-79"/>
              </a:rPr>
              <a:t>Derudover fortæller elever, at de har svært ved at koncentrere sig i længere tid af gangen – fx om det samme emne. Samtidig har flere elever svært ved bevare roen i timerne, hvis der ikke sker jævnlige skift i aktiviteter. Elevernes udtalelser peger på, at der er behov og stor efterspørgsel efter </a:t>
            </a:r>
            <a:r>
              <a:rPr lang="da-DK" sz="900" b="0">
                <a:latin typeface="Verdana" panose="020B0604030504040204" pitchFamily="34" charset="0"/>
                <a:ea typeface="Verdana" panose="020B0604030504040204" pitchFamily="34" charset="0"/>
                <a:cs typeface="Amatic SC" panose="00000500000000000000" pitchFamily="2" charset="-79"/>
              </a:rPr>
              <a:t>v</a:t>
            </a:r>
            <a:r>
              <a:rPr lang="da-DK" sz="900" b="0">
                <a:solidFill>
                  <a:schemeClr val="tx1"/>
                </a:solidFill>
                <a:latin typeface="Verdana" panose="020B0604030504040204" pitchFamily="34" charset="0"/>
                <a:ea typeface="Verdana" panose="020B0604030504040204" pitchFamily="34" charset="0"/>
                <a:cs typeface="Amatic SC" panose="00000500000000000000" pitchFamily="2" charset="-79"/>
              </a:rPr>
              <a:t>arierende undervisning </a:t>
            </a:r>
            <a:r>
              <a:rPr lang="da-DK" sz="900">
                <a:solidFill>
                  <a:schemeClr val="tx1"/>
                </a:solidFill>
                <a:latin typeface="Verdana" panose="020B0604030504040204" pitchFamily="34" charset="0"/>
                <a:ea typeface="Verdana" panose="020B0604030504040204" pitchFamily="34" charset="0"/>
                <a:cs typeface="Amatic SC" panose="00000500000000000000" pitchFamily="2" charset="-79"/>
              </a:rPr>
              <a:t>– både variation i indhold, rammer og aktiviteter.</a:t>
            </a:r>
            <a:endParaRPr lang="da-DK" sz="900" b="1">
              <a:solidFill>
                <a:schemeClr val="tx1"/>
              </a:solidFill>
              <a:latin typeface="Verdana" panose="020B0604030504040204" pitchFamily="34" charset="0"/>
              <a:ea typeface="Verdana" panose="020B0604030504040204" pitchFamily="34" charset="0"/>
              <a:cs typeface="Amatic SC" panose="00000500000000000000" pitchFamily="2" charset="-79"/>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b="1">
              <a:solidFill>
                <a:schemeClr val="tx1"/>
              </a:solidFill>
              <a:latin typeface="Verdana" panose="020B0604030504040204" pitchFamily="34" charset="0"/>
              <a:ea typeface="Verdana" panose="020B0604030504040204" pitchFamily="34" charset="0"/>
              <a:cs typeface="Amatic SC"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rPr>
              <a:t>Differentiering: </a:t>
            </a:r>
            <a:r>
              <a:rPr lang="da-DK" sz="900" b="0">
                <a:latin typeface="Verdana" panose="020B0604030504040204" pitchFamily="34" charset="0"/>
                <a:ea typeface="Verdana" panose="020B0604030504040204" pitchFamily="34" charset="0"/>
              </a:rPr>
              <a:t>Eleverne oplever det overvejende som positivt, når de får forskellige opgaver i klassen. Flere elever nævner, at forskellighed i undervisningen – fx i form af opgave typer, materiale mv. -  særligt er godt, fordi alle elever kan få en opgave, der passer til dem. </a:t>
            </a:r>
            <a:r>
              <a:rPr lang="da-DK" sz="900">
                <a:latin typeface="Verdana" panose="020B0604030504040204" pitchFamily="34" charset="0"/>
                <a:ea typeface="Verdana" panose="020B0604030504040204" pitchFamily="34" charset="0"/>
                <a:cs typeface="Calibri"/>
              </a:rPr>
              <a:t>Eleverne anerkender forskellighed i evner og interesser i klassen, og eleverne udtrykker, at de kan se mange styrker i, at man kan forskellige ting. De udtrykker, at der skal være plads til alles evner. Samtidig kan forskelligheden også være vanskelig for nogle elever, som oplever, at de ofte er dem, der skal have ”den anden bog” eller ”den nemme opgave”. Ligeledes kan forskelligheden være svær for de elever, der til tider venter på at få hjælp i timerne, fordi andre elever har sværere ved opgave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b="1">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900" b="1">
                <a:latin typeface="Verdana" panose="020B0604030504040204" pitchFamily="34" charset="0"/>
                <a:ea typeface="Verdana" panose="020B0604030504040204" pitchFamily="34" charset="0"/>
              </a:rPr>
              <a:t>Inddragelse og medbestemmelse: </a:t>
            </a:r>
            <a:r>
              <a:rPr lang="da-DK" sz="900" b="0">
                <a:latin typeface="Verdana" panose="020B0604030504040204" pitchFamily="34" charset="0"/>
                <a:ea typeface="Verdana" panose="020B0604030504040204" pitchFamily="34" charset="0"/>
              </a:rPr>
              <a:t>Eleverne fremhæver i høj grad inddragelse og medbestemmelse som vigtige elementer for en sjov, lærerig og spædende undervisning. Eleverne udtrykker et ønske om mere inddragelse og medbestemmelse i undervisningen – fx ved at blive spurgt ind til, hvad de kunne tænke sig at lave på timerne, eller hvad der fungerer godt og mindre godt i undervisningen. Flere elever oplever at blive lyttet til og forstået, når læreren eksempelvis laver opsamlinger eller evalueringer løbende. Omvendt har eleverne overordnet forståelse for, at der er mange ting, som de skal lære – men de flere efterspørger at blive inddraget i, </a:t>
            </a:r>
            <a:r>
              <a:rPr lang="da-DK" sz="900" b="0" i="1">
                <a:latin typeface="Verdana" panose="020B0604030504040204" pitchFamily="34" charset="0"/>
                <a:ea typeface="Verdana" panose="020B0604030504040204" pitchFamily="34" charset="0"/>
              </a:rPr>
              <a:t>hvordan </a:t>
            </a:r>
            <a:r>
              <a:rPr lang="da-DK" sz="900" b="0" i="0">
                <a:latin typeface="Verdana" panose="020B0604030504040204" pitchFamily="34" charset="0"/>
                <a:ea typeface="Verdana" panose="020B0604030504040204" pitchFamily="34" charset="0"/>
              </a:rPr>
              <a:t>læringen skal ske (fysiske rum, alternative læringsmetoder, valgmuligheder i opgaver mv.). Samtidig viser resultaterne, at eleverne oplever det som positivt, når de har indflydelse på socialt/fællesskabsorienteret indhold – fx oplever flere elever, at det er særligt positivt at blive inddraget i at udforme klasseregler i fællesskab med sine klassekammerater, fordi de bliver lyttet til og forståe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b="1">
              <a:latin typeface="Verdana" panose="020B0604030504040204" pitchFamily="34" charset="0"/>
              <a:ea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rPr>
              <a:t>Fællesskab: </a:t>
            </a:r>
            <a:r>
              <a:rPr lang="da-DK" sz="900" b="0">
                <a:latin typeface="Verdana" panose="020B0604030504040204" pitchFamily="34" charset="0"/>
                <a:ea typeface="Verdana" panose="020B0604030504040204" pitchFamily="34" charset="0"/>
              </a:rPr>
              <a:t>Evalueringen viser, at eleverne har mange tanker om, hvordan man skaber plads til alle i klassefællesskabet. Eleverne fremhæver særligt tryghed og forståelse som elementer, der udgør ”en god skole for alle elever”. </a:t>
            </a:r>
            <a:r>
              <a:rPr lang="da-DK" sz="900">
                <a:latin typeface="Verdana" panose="020B0604030504040204" pitchFamily="34" charset="0"/>
                <a:ea typeface="Verdana" panose="020B0604030504040204" pitchFamily="34" charset="0"/>
                <a:cs typeface="Calibri"/>
              </a:rPr>
              <a:t>Eleverne anerkender forskellighed i evner og interesser I klassen, og eleverne udtrykker, at de kan se mange styrker i, at man kan forskellige ting i klassen. De udtrykker, at der skal være plads til alles evner, og at læreren kan være med til at understøtte et miljø, hvor det er tilfældet, fx ved at anerkende forskellighed og spørge ind til deres forskellige interesser. Evalueringen viser også, at eleverne har nemmere ved at hjælpe hinanden, når de kender til hinandens styrker og svagheder. Det skaber tryghed og fællesskab blandt klassekammerater.  </a:t>
            </a:r>
          </a:p>
          <a:p>
            <a:pPr marL="0" indent="0">
              <a:buNone/>
            </a:pPr>
            <a:endParaRPr lang="da-DK" sz="900">
              <a:latin typeface="Verdana" panose="020B0604030504040204" pitchFamily="34" charset="0"/>
              <a:ea typeface="Verdana" panose="020B0604030504040204" pitchFamily="34" charset="0"/>
            </a:endParaRPr>
          </a:p>
          <a:p>
            <a:pPr marL="0" indent="0">
              <a:buNone/>
            </a:pPr>
            <a:r>
              <a:rPr lang="da-DK" sz="900">
                <a:latin typeface="Verdana" panose="020B0604030504040204" pitchFamily="34" charset="0"/>
                <a:ea typeface="Verdana" panose="020B0604030504040204" pitchFamily="34" charset="0"/>
              </a:rPr>
              <a:t>På de næste slides vil de fire emner blive udfoldet gennem konkrete eksempler fra elevernes hverdag.</a:t>
            </a:r>
          </a:p>
          <a:p>
            <a:endParaRPr lang="da-DK" sz="900">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fld id="{1B1D025B-ACD2-45C1-B156-1DDB470CE319}" type="slidenum">
              <a:rPr lang="da-DK" smtClean="0"/>
              <a:pPr/>
              <a:t>16</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2858063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900">
                <a:latin typeface="Verdana" panose="020B0604030504040204" pitchFamily="34" charset="0"/>
                <a:ea typeface="Verdana" panose="020B0604030504040204" pitchFamily="34" charset="0"/>
              </a:rPr>
              <a:t>Uddybende noter: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a:latin typeface="Verdana" panose="020B0604030504040204" pitchFamily="34" charset="0"/>
              <a:ea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900" b="0" i="0">
                <a:solidFill>
                  <a:srgbClr val="000000"/>
                </a:solidFill>
                <a:effectLst/>
                <a:latin typeface="Verdana" panose="020B0604030504040204" pitchFamily="34" charset="0"/>
                <a:ea typeface="Verdana" panose="020B0604030504040204" pitchFamily="34" charset="0"/>
              </a:rPr>
              <a:t>Taleboblerne illustrerer elevernes egne ord på, hvordan det pædagogiske personale kan variere undervisningen for elever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b="0" i="0">
              <a:solidFill>
                <a:srgbClr val="000000"/>
              </a:solidFill>
              <a:effectLst/>
              <a:latin typeface="Verdana" panose="020B0604030504040204" pitchFamily="34" charset="0"/>
              <a:ea typeface="Verdana" panose="020B060403050404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i="0">
                <a:solidFill>
                  <a:srgbClr val="000000"/>
                </a:solidFill>
                <a:effectLst/>
                <a:latin typeface="Verdana" panose="020B0604030504040204" pitchFamily="34" charset="0"/>
                <a:ea typeface="Verdana" panose="020B0604030504040204" pitchFamily="34" charset="0"/>
              </a:rPr>
              <a:t>Eleverne oplever begrænset variation i undervisningen: </a:t>
            </a:r>
            <a:r>
              <a:rPr lang="da-DK" sz="900" b="0" i="0">
                <a:solidFill>
                  <a:srgbClr val="D1D5DB"/>
                </a:solidFill>
                <a:effectLst/>
                <a:latin typeface="Verdana" panose="020B0604030504040204" pitchFamily="34" charset="0"/>
                <a:ea typeface="Verdana" panose="020B0604030504040204" pitchFamily="34" charset="0"/>
              </a:rPr>
              <a:t>Eleverne oplever generelt, at undervisningen kan være ensformig, og det kan være svært at holde koncentrationen i timer, der primært består af tavleundervisning. Dog er der variation i elevernes holdninger, og nogle af dem oplever, at lærerne er dygtige til at gøre undervisningen anderledes – for eksempel ved at indlægge pauser, skifte mellem forskellige opgaver i timerne eller arrangere udendørs aktiviteter.</a:t>
            </a:r>
            <a:br>
              <a:rPr lang="da-DK" sz="900" b="0" i="0">
                <a:solidFill>
                  <a:srgbClr val="D1D5DB"/>
                </a:solidFill>
                <a:effectLst/>
                <a:latin typeface="Verdana" panose="020B0604030504040204" pitchFamily="34" charset="0"/>
                <a:ea typeface="Verdana" panose="020B0604030504040204" pitchFamily="34" charset="0"/>
              </a:rPr>
            </a:br>
            <a:endParaRPr lang="da-DK" sz="900" b="1" i="0">
              <a:solidFill>
                <a:srgbClr val="000000"/>
              </a:solidFill>
              <a:effectLst/>
              <a:latin typeface="Verdana" panose="020B0604030504040204" pitchFamily="34" charset="0"/>
              <a:ea typeface="Verdana" panose="020B060403050404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i="0">
                <a:solidFill>
                  <a:srgbClr val="000000"/>
                </a:solidFill>
                <a:effectLst/>
                <a:latin typeface="Verdana" panose="020B0604030504040204" pitchFamily="34" charset="0"/>
                <a:ea typeface="Verdana" panose="020B0604030504040204" pitchFamily="34" charset="0"/>
              </a:rPr>
              <a:t>Eleverne oplever variation i undervisningen, når: </a:t>
            </a:r>
            <a:r>
              <a:rPr lang="da-DK" sz="900">
                <a:latin typeface="Verdana" panose="020B0604030504040204" pitchFamily="34" charset="0"/>
                <a:ea typeface="Verdana" panose="020B0604030504040204" pitchFamily="34" charset="0"/>
              </a:rPr>
              <a:t>både indhold i og rammer for undervisningen er forskellig. Et varierende læringsmiljø er generelt motiverende for eleverne, og flere påpeger, at de drømmer om endnu mere variation i hverdagen. Særligt fremhæver eleverne, at kreative og fysiske aktiviteter i undervisningen skaber variation, ligesom undervisning i varierende fysiske rammer også opleves som givende (fx undervisning i klassen, gruppearbejde uden for klassen eller arbejde alene med opgaver). Eksempelvis fortæller flere elever, at de godt kan lide kombinationen mellem noget ”anderledes” (fx rollespil, aktivitetsløb eller quizzer) og tavleundervisning. Eleverne fremhæver overordnet, at de kan have svært ved at holde koncentrationen i timerne, når der altid foregår den samme aktivitet (fx tavleundervisning eller opgaveløsning). I den forbindelse fremhæver flere elever, at </a:t>
            </a:r>
            <a:r>
              <a:rPr lang="da-DK" sz="900" err="1">
                <a:latin typeface="Verdana" panose="020B0604030504040204" pitchFamily="34" charset="0"/>
                <a:ea typeface="Verdana" panose="020B0604030504040204" pitchFamily="34" charset="0"/>
              </a:rPr>
              <a:t>emneunger</a:t>
            </a:r>
            <a:r>
              <a:rPr lang="da-DK" sz="900">
                <a:latin typeface="Verdana" panose="020B0604030504040204" pitchFamily="34" charset="0"/>
                <a:ea typeface="Verdana" panose="020B0604030504040204" pitchFamily="34" charset="0"/>
              </a:rPr>
              <a:t> er særligt motiverende, fordi undervisningen er anderledes og de får mulighed for at fordybe sig i et emne.</a:t>
            </a:r>
          </a:p>
        </p:txBody>
      </p:sp>
      <p:sp>
        <p:nvSpPr>
          <p:cNvPr id="4" name="Slide Number Placeholder 3"/>
          <p:cNvSpPr>
            <a:spLocks noGrp="1"/>
          </p:cNvSpPr>
          <p:nvPr>
            <p:ph type="sldNum" sz="quarter" idx="5"/>
          </p:nvPr>
        </p:nvSpPr>
        <p:spPr/>
        <p:txBody>
          <a:bodyPr/>
          <a:lstStyle/>
          <a:p>
            <a:fld id="{1B1D025B-ACD2-45C1-B156-1DDB470CE319}" type="slidenum">
              <a:rPr lang="da-DK" smtClean="0"/>
              <a:pPr/>
              <a:t>17</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677809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900">
                <a:latin typeface="Verdana" panose="020B0604030504040204" pitchFamily="34" charset="0"/>
                <a:ea typeface="Verdana" panose="020B0604030504040204" pitchFamily="34" charset="0"/>
              </a:rPr>
              <a:t>Uddybende noter: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a:latin typeface="Verdana" panose="020B0604030504040204" pitchFamily="34" charset="0"/>
              <a:ea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900" b="0" i="0">
                <a:solidFill>
                  <a:srgbClr val="000000"/>
                </a:solidFill>
                <a:effectLst/>
                <a:latin typeface="Verdana" panose="020B0604030504040204" pitchFamily="34" charset="0"/>
                <a:ea typeface="Verdana" panose="020B0604030504040204" pitchFamily="34" charset="0"/>
              </a:rPr>
              <a:t>Taleboblerne illustrerer elevernes egne ord på, hvordan det pædagogiske personale kan differentiere undervisningen for eleverne:</a:t>
            </a:r>
          </a:p>
          <a:p>
            <a:pPr marL="0" indent="0">
              <a:buFont typeface="Arial" panose="020B0604020202020204" pitchFamily="34" charset="0"/>
              <a:buNone/>
            </a:pPr>
            <a:endParaRPr lang="da-DK" sz="900" b="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900" b="1">
                <a:latin typeface="Verdana" panose="020B0604030504040204" pitchFamily="34" charset="0"/>
                <a:ea typeface="Verdana" panose="020B0604030504040204" pitchFamily="34" charset="0"/>
              </a:rPr>
              <a:t>Eleverne oplever i nogen grad differentiering i undervisningen: </a:t>
            </a:r>
            <a:r>
              <a:rPr lang="da-DK" sz="900" b="0" i="0">
                <a:solidFill>
                  <a:srgbClr val="000000"/>
                </a:solidFill>
                <a:effectLst/>
                <a:latin typeface="Verdana" panose="020B0604030504040204" pitchFamily="34" charset="0"/>
                <a:ea typeface="Verdana" panose="020B0604030504040204" pitchFamily="34" charset="0"/>
              </a:rPr>
              <a:t>​Eleverne oplever overordnet, at opgaver, rammer og materialer ofte tilpasses individuelt efter behov og niveau. </a:t>
            </a:r>
            <a:r>
              <a:rPr lang="da-DK" sz="900" b="0" i="0">
                <a:solidFill>
                  <a:srgbClr val="D1D5DB"/>
                </a:solidFill>
                <a:effectLst/>
                <a:latin typeface="Verdana" panose="020B0604030504040204" pitchFamily="34" charset="0"/>
                <a:ea typeface="Verdana" panose="020B0604030504040204" pitchFamily="34" charset="0"/>
              </a:rPr>
              <a:t>Flere elever udviser stor forståelse for, at alle deres klassekammerater ikke altid kan eller skal lave det samme som dem selv. En række elever fremhæver, at deres lærer præsenterer dem for forskellige opgaver i løbet af lektionerne, såsom valg mellem opgaveark og bøger med varierende sværhedsgrader. Ligeledes fortæller eleverne, at lærerne sammensætter forskellige grupper og konstellationer baseret på elevernes faglige niveau og sociale behov. </a:t>
            </a:r>
          </a:p>
          <a:p>
            <a:pPr marL="171450" indent="-171450">
              <a:buFont typeface="Arial" panose="020B0604020202020204" pitchFamily="34" charset="0"/>
              <a:buChar char="•"/>
            </a:pPr>
            <a:endParaRPr lang="da-DK" sz="900" b="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900" b="1">
                <a:latin typeface="Verdana" panose="020B0604030504040204" pitchFamily="34" charset="0"/>
                <a:ea typeface="Verdana" panose="020B0604030504040204" pitchFamily="34" charset="0"/>
              </a:rPr>
              <a:t>Eleverne oplever differentiering i undervisningen, når: </a:t>
            </a:r>
            <a:r>
              <a:rPr lang="da-DK" sz="900" b="0" i="0">
                <a:solidFill>
                  <a:srgbClr val="D1D5DB"/>
                </a:solidFill>
                <a:effectLst/>
                <a:latin typeface="Verdana" panose="020B0604030504040204" pitchFamily="34" charset="0"/>
                <a:ea typeface="Verdana" panose="020B0604030504040204" pitchFamily="34" charset="0"/>
              </a:rPr>
              <a:t>det pædagogiske personale differentierer undervisningen ved at tilbyde forskellige opgaver, rammer og materialer i timerne. Evalueringen peger på, at differentiering blandt andet sker ved at tilpasse efter elevernes koncentrationsevne og færdigheder – fx gennem færre og nemmere opgaver til nogle elever. Elever fortæller, at de indimellem udvælges til at arbejde selvstændigt på gangen sammen med udvalgte klassekammerater. Denne mulighed for dybdegående fokus og koncentration i opgaverne oplever flere som positiv og gavnlig. Samtidig har andre elever mulighed for at få mere støtte og hjælp under timerne – eksempelvis via ekstra opmærksomhed fra læreren eller en gruppe/læseven, der kan støtte.</a:t>
            </a:r>
          </a:p>
          <a:p>
            <a:endParaRPr lang="da-DK" sz="900" b="0">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fld id="{1B1D025B-ACD2-45C1-B156-1DDB470CE319}" type="slidenum">
              <a:rPr lang="da-DK" smtClean="0"/>
              <a:pPr/>
              <a:t>18</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7737193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900">
                <a:latin typeface="Verdana" panose="020B0604030504040204" pitchFamily="34" charset="0"/>
                <a:ea typeface="Verdana" panose="020B0604030504040204" pitchFamily="34" charset="0"/>
              </a:rPr>
              <a:t>Uddybende noter: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a:latin typeface="Verdana" panose="020B0604030504040204" pitchFamily="34" charset="0"/>
              <a:ea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900" b="0" i="0">
                <a:solidFill>
                  <a:srgbClr val="000000"/>
                </a:solidFill>
                <a:effectLst/>
                <a:latin typeface="Verdana" panose="020B0604030504040204" pitchFamily="34" charset="0"/>
                <a:ea typeface="Verdana" panose="020B0604030504040204" pitchFamily="34" charset="0"/>
              </a:rPr>
              <a:t>Taleboblerne illustrerer elevernes egne ord på, hvordan det pædagogiske personale kan give eleverne mere medbestemmels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b="0" i="0">
              <a:solidFill>
                <a:srgbClr val="000000"/>
              </a:solidFill>
              <a:effectLst/>
              <a:latin typeface="Verdana" panose="020B0604030504040204" pitchFamily="34" charset="0"/>
              <a:ea typeface="Verdana" panose="020B0604030504040204" pitchFamily="34" charset="0"/>
              <a:cs typeface="Amatic SC" panose="00000500000000000000" pitchFamily="2" charset="-79"/>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i="0">
                <a:solidFill>
                  <a:srgbClr val="000000"/>
                </a:solidFill>
                <a:effectLst/>
                <a:latin typeface="Verdana" panose="020B0604030504040204" pitchFamily="34" charset="0"/>
                <a:ea typeface="Verdana" panose="020B0604030504040204" pitchFamily="34" charset="0"/>
                <a:cs typeface="Amatic SC" panose="00000500000000000000" pitchFamily="2" charset="-79"/>
              </a:rPr>
              <a:t>Eleverne oplever begrænset medbestemmelse: </a:t>
            </a:r>
            <a:r>
              <a:rPr lang="da-DK" sz="900" b="0" i="0">
                <a:solidFill>
                  <a:srgbClr val="D1D5DB"/>
                </a:solidFill>
                <a:effectLst/>
                <a:latin typeface="Verdana" panose="020B0604030504040204" pitchFamily="34" charset="0"/>
                <a:ea typeface="Verdana" panose="020B0604030504040204" pitchFamily="34" charset="0"/>
              </a:rPr>
              <a:t>Evalueringen viser, at eleverne generelt oplever en mindre grad af medbestemmelse og indflydelse på undervisningen. De oplever for eksempel sjældent, at deres lærere spørger dem, hvad de gerne vil lave i timerne, eller om de har idéer til emner osv. eller giver dem indflydelse på, hvordan grupperne til gruppearbejde skal sammensættes. Når det pædagogiske personale inkluderer eleverne, sker det for eksempel ved, at læreren præsenterer valgmuligheder for eleverne eller spørger, hvad de kan gøre bedre. Nogle elever oplever, at deres ønsker til undervisningen bliver taget i betragtning af lærerne, mens andre elever udtrykker, at lærerne strukturerer undervisningens indhold og aktiviteter uden at involvere eleverne, eller at deres forslag bliver afvist. Overordnet fremhæver eleverne, at medbestemmelse og indflydelse vægtes højt, fordi det giver dem mulighed for at arbejde med det, der fænger deres interesse, og på en måde som bidrager til, at de føler sig godt tilp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1" i="0">
              <a:solidFill>
                <a:srgbClr val="000000"/>
              </a:solidFill>
              <a:effectLst/>
              <a:latin typeface="Verdana" panose="020B0604030504040204" pitchFamily="34" charset="0"/>
              <a:ea typeface="Verdana" panose="020B0604030504040204" pitchFamily="34" charset="0"/>
              <a:cs typeface="Amatic SC" panose="00000500000000000000" pitchFamily="2" charset="-79"/>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i="0">
                <a:solidFill>
                  <a:srgbClr val="000000"/>
                </a:solidFill>
                <a:effectLst/>
                <a:latin typeface="Verdana" panose="020B0604030504040204" pitchFamily="34" charset="0"/>
                <a:ea typeface="Verdana" panose="020B0604030504040204" pitchFamily="34" charset="0"/>
                <a:cs typeface="Amatic SC" panose="00000500000000000000" pitchFamily="2" charset="-79"/>
              </a:rPr>
              <a:t>Eleverne oplever medbestemmelse i undervisningen, når: </a:t>
            </a:r>
            <a:r>
              <a:rPr lang="da-DK" sz="900" b="0" i="0">
                <a:solidFill>
                  <a:srgbClr val="D1D5DB"/>
                </a:solidFill>
                <a:effectLst/>
                <a:latin typeface="Verdana" panose="020B0604030504040204" pitchFamily="34" charset="0"/>
                <a:ea typeface="Verdana" panose="020B0604030504040204" pitchFamily="34" charset="0"/>
              </a:rPr>
              <a:t>de bliver inddraget i både indholdet og udførelsen af undervisningen. Det sker blandt andet ved, at eleverne har mulighed for at påvirke rækkefølgen af opgaver og aktiviteter, ved at have indflydelse på hvor de skal arbejde og ved at de ser, hvordan deres egne ønsker bliver brugt i fremadrettet tilrettelæggelse af undervisningen. Derudover fremhæver flere elever, at det er positivt, når de inddrages aktivt i arbejdet med klassens fællesskab og trivsel. Det kan fx være for at forme konkrete tiltag, som kan styrke fællesskabet. For eksempel fortæller nogle elever, at deres lærere ofte evaluerer timerne og giver dem mulighed for at påvirke, hvordan undervisningen fremadrettet skal tilrettelægges. Eleverne udtrykker generelt et ønske om endnu større medbestemmelse. De fremhæver, at medbestemmelse motiverer dem til at engagere sig mere i undervisningen, fordi de føler sig hørt og set. Samtidig synes enkelte elever dog, at for mange spørgsmål og for meget inddragelse kan føre til uro og forvirring i klasse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0" i="0">
              <a:solidFill>
                <a:srgbClr val="D1D5DB"/>
              </a:solidFill>
              <a:effectLst/>
              <a:latin typeface="Verdana" panose="020B0604030504040204" pitchFamily="34" charset="0"/>
              <a:ea typeface="Verdana" panose="020B060403050404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0" i="0">
              <a:solidFill>
                <a:srgbClr val="D1D5DB"/>
              </a:solidFill>
              <a:effectLst/>
              <a:latin typeface="Verdana" panose="020B0604030504040204" pitchFamily="34" charset="0"/>
              <a:ea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900" b="0" i="0">
                <a:solidFill>
                  <a:srgbClr val="D1D5DB"/>
                </a:solidFill>
                <a:effectLst/>
                <a:latin typeface="Verdana" panose="020B0604030504040204" pitchFamily="34" charset="0"/>
                <a:ea typeface="Verdana" panose="020B0604030504040204" pitchFamily="34" charset="0"/>
              </a:rPr>
              <a:t>Lærere, som har arbejdet systematisk med at inddrage eleverne, fortæller, at de lærer elevernes behov og personlighed bedre at kende ved at inddrage dem mere aktivt i tilrettelæggelsen af undervisningens indhold. En lærer fremhæver, at det gør det nemmere at tilrettelægge og målrette undervisningen, så flest muligt trives i undervisningen.</a:t>
            </a:r>
            <a:endParaRPr lang="da-DK" sz="900" b="1">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fld id="{1B1D025B-ACD2-45C1-B156-1DDB470CE319}" type="slidenum">
              <a:rPr lang="da-DK" smtClean="0"/>
              <a:pPr/>
              <a:t>19</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2026730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sz="900">
                <a:latin typeface="Verdana" panose="020B0604030504040204" pitchFamily="34" charset="0"/>
                <a:ea typeface="Verdana" panose="020B0604030504040204" pitchFamily="34" charset="0"/>
              </a:rPr>
              <a:t>Uddybende noter:</a:t>
            </a:r>
          </a:p>
          <a:p>
            <a:endParaRPr lang="da-DK" sz="900">
              <a:latin typeface="Verdana" panose="020B0604030504040204" pitchFamily="34" charset="0"/>
              <a:ea typeface="Verdana" panose="020B0604030504040204" pitchFamily="34" charset="0"/>
            </a:endParaRPr>
          </a:p>
          <a:p>
            <a:pPr marL="0" indent="0">
              <a:buFont typeface="Arial" panose="020B0604020202020204" pitchFamily="34" charset="0"/>
              <a:buNone/>
            </a:pPr>
            <a:r>
              <a:rPr lang="da-DK" sz="900">
                <a:latin typeface="Verdana" panose="020B0604030504040204" pitchFamily="34" charset="0"/>
                <a:ea typeface="Verdana" panose="020B0604030504040204" pitchFamily="34" charset="0"/>
              </a:rPr>
              <a:t>Taleboblerne illustrerer elevernes egne ord på, hvordan de oplever fællesskab i undervisningen: </a:t>
            </a:r>
          </a:p>
          <a:p>
            <a:pPr marL="0" indent="0">
              <a:buFont typeface="Arial" panose="020B0604020202020204" pitchFamily="34" charset="0"/>
              <a:buNone/>
            </a:pPr>
            <a:endParaRPr lang="da-DK" sz="90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900" b="1">
                <a:latin typeface="Verdana" panose="020B0604030504040204" pitchFamily="34" charset="0"/>
                <a:ea typeface="Verdana" panose="020B0604030504040204" pitchFamily="34" charset="0"/>
              </a:rPr>
              <a:t>Eleverne oplever varierende fællesskab i undervisningen: </a:t>
            </a:r>
            <a:r>
              <a:rPr lang="da-DK" sz="900" b="0">
                <a:latin typeface="Verdana" panose="020B0604030504040204" pitchFamily="34" charset="0"/>
                <a:ea typeface="Verdana" panose="020B0604030504040204" pitchFamily="34" charset="0"/>
              </a:rPr>
              <a:t>Eleverne fortæller, at det er vigtigt for deres trivsel og læring i undervisningen, at de oplever et fællesskab på tværs af klassen og skolen. I den forbindelse spiller det pædagogiske personale en central rolle, da de er med til at sikre, at alle er med i fællesskabet. Ifølge eleverne er der stor forskel på, hvor opmærksomme lærerne er på fællesskabet og at alle elever er med. Der er både eksempler på lærere, som går op i at skabe en god start på dagen for klassen (ved fx at sætte musik eller Ultranyt på), men også eksempler på, at lærerne ikke oplever at engagere sig i elevers ve og vel. Fællesskabet afspejles også i, hvor mange som ønsker at deltage på timerne. Her opleverne eleverne tilsvarende, at der er stor forskel på, om pædagogisk er med til at sikre, at alle bliver set, hørt og inkluderet i det faglige fællesskab. </a:t>
            </a:r>
            <a:endParaRPr lang="da-DK" sz="900" b="1">
              <a:latin typeface="Verdana" panose="020B0604030504040204" pitchFamily="34" charset="0"/>
              <a:ea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rPr>
              <a:t>Eleverne oplever fællesskab i undervisningen, når: </a:t>
            </a:r>
            <a:r>
              <a:rPr lang="da-DK" sz="900" b="0">
                <a:latin typeface="Verdana" panose="020B0604030504040204" pitchFamily="34" charset="0"/>
                <a:ea typeface="Verdana" panose="020B0604030504040204" pitchFamily="34" charset="0"/>
              </a:rPr>
              <a:t>læreren og klassekammeraterne tager hensyn til og hjælper hinanden, hvis nogen har det svært. De fortæller også, at det giver en oplevelse af fællesskab, når man kender hinanden på kryds og tværs på skolen, fordi der fx er arrangementer for alle. Det kan også skabe øget tryghed blandt de yngre elever, at de kender de ældre elever og har relationer på tværs af årgange. Endelig peger eleverne på, at fællesskabet styrkes, når de kan være fortrolige med lærerne og dele problemer. Der er eksempler på, at lærerne ikke kender til sociale problemer i klassen og derfor ikke håndterer dem. Derfor er det vigtigt med fortrolighed på tværs af lærere og elever, ligesom eleverne værdsætter, når lærerne udviser oprigtig interesse og spørger ind til interesser og emner, som ikke kun vedrører skolemæssige emner. </a:t>
            </a:r>
            <a:endParaRPr lang="da-DK" sz="900" b="1">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fld id="{1B1D025B-ACD2-45C1-B156-1DDB470CE319}" type="slidenum">
              <a:rPr lang="da-DK" smtClean="0"/>
              <a:pPr/>
              <a:t>20</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0351427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2</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7367600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21</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2333065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0"/>
        <p:cNvGrpSpPr/>
        <p:nvPr/>
      </p:nvGrpSpPr>
      <p:grpSpPr>
        <a:xfrm>
          <a:off x="0" y="0"/>
          <a:ext cx="0" cy="0"/>
          <a:chOff x="0" y="0"/>
          <a:chExt cx="0" cy="0"/>
        </a:xfrm>
      </p:grpSpPr>
      <p:sp>
        <p:nvSpPr>
          <p:cNvPr id="691" name="Google Shape;691;g35f391192_00:notes"/>
          <p:cNvSpPr>
            <a:spLocks noGrp="1" noRot="1" noChangeAspect="1"/>
          </p:cNvSpPr>
          <p:nvPr>
            <p:ph type="sldImg" idx="2"/>
          </p:nvPr>
        </p:nvSpPr>
        <p:spPr>
          <a:xfrm>
            <a:off x="-349250" y="808038"/>
            <a:ext cx="7183438" cy="40417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2" name="Google Shape;692;g35f391192_00:notes"/>
          <p:cNvSpPr txBox="1">
            <a:spLocks noGrp="1"/>
          </p:cNvSpPr>
          <p:nvPr>
            <p:ph type="body" idx="1"/>
          </p:nvPr>
        </p:nvSpPr>
        <p:spPr>
          <a:xfrm>
            <a:off x="648539" y="5118725"/>
            <a:ext cx="5188303" cy="4849318"/>
          </a:xfrm>
          <a:prstGeom prst="rect">
            <a:avLst/>
          </a:prstGeom>
        </p:spPr>
        <p:txBody>
          <a:bodyPr spcFirstLastPara="1" wrap="square" lIns="91425" tIns="91425" rIns="91425" bIns="91425" anchor="t" anchorCtr="0">
            <a:noAutofit/>
          </a:bodyPr>
          <a:lstStyle/>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0" lvl="0" indent="0" algn="l">
              <a:spcBef>
                <a:spcPts val="0"/>
              </a:spcBef>
              <a:spcAft>
                <a:spcPts val="0"/>
              </a:spcAft>
              <a:buNone/>
            </a:pPr>
            <a:endParaRPr lang="da-DK"/>
          </a:p>
        </p:txBody>
      </p:sp>
    </p:spTree>
    <p:extLst>
      <p:ext uri="{BB962C8B-B14F-4D97-AF65-F5344CB8AC3E}">
        <p14:creationId xmlns:p14="http://schemas.microsoft.com/office/powerpoint/2010/main" val="17975486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900" b="0">
                <a:effectLst/>
                <a:latin typeface="Verdana" panose="020B0604030504040204" pitchFamily="34" charset="0"/>
                <a:ea typeface="Verdana" panose="020B0604030504040204" pitchFamily="34" charset="0"/>
                <a:cs typeface="Times New Roman" panose="02020603050405020304" pitchFamily="18" charset="0"/>
              </a:rPr>
              <a:t>Uddybende noter: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b="0">
              <a:effectLst/>
              <a:latin typeface="Verdana" panose="020B0604030504040204" pitchFamily="34" charset="0"/>
              <a:ea typeface="Verdana" panose="020B0604030504040204" pitchFamily="34" charset="0"/>
              <a:cs typeface="Times New Roman" panose="02020603050405020304" pitchFamily="18" charset="0"/>
            </a:endParaRPr>
          </a:p>
          <a:p>
            <a:r>
              <a:rPr lang="da-DK" sz="900">
                <a:latin typeface="Verdana" panose="020B0604030504040204" pitchFamily="34" charset="0"/>
                <a:ea typeface="Verdana" panose="020B0604030504040204" pitchFamily="34" charset="0"/>
              </a:rPr>
              <a:t>Ledere, vejledere og det pædagogiske personale oplever overordnet set, at arbejdet med aktionslæring er motiverende og bidrager til at øge refleksion over og kvalificering af egen praksis.</a:t>
            </a:r>
            <a:r>
              <a:rPr lang="da-DK" sz="900" b="0">
                <a:latin typeface="Verdana" panose="020B0604030504040204" pitchFamily="34" charset="0"/>
                <a:ea typeface="Verdana" panose="020B0604030504040204" pitchFamily="34" charset="0"/>
              </a:rPr>
              <a:t> Samtidig understøtter a</a:t>
            </a:r>
            <a:r>
              <a:rPr lang="da-DK" sz="900">
                <a:latin typeface="Verdana" panose="020B0604030504040204" pitchFamily="34" charset="0"/>
                <a:ea typeface="Verdana" panose="020B0604030504040204" pitchFamily="34" charset="0"/>
              </a:rPr>
              <a:t>ktionslæring fremdrift og fokus på det fælles projekt om at skabe deltagelsesmuligheder for alle elever. </a:t>
            </a:r>
          </a:p>
          <a:p>
            <a:endParaRPr lang="da-DK" sz="900" b="0">
              <a:latin typeface="Verdana" panose="020B0604030504040204" pitchFamily="34" charset="0"/>
              <a:ea typeface="Verdana" panose="020B0604030504040204" pitchFamily="34" charset="0"/>
            </a:endParaRPr>
          </a:p>
          <a:p>
            <a:r>
              <a:rPr lang="da-DK" sz="900" b="0">
                <a:latin typeface="Verdana" panose="020B0604030504040204" pitchFamily="34" charset="0"/>
                <a:ea typeface="Verdana" panose="020B0604030504040204" pitchFamily="34" charset="0"/>
              </a:rPr>
              <a:t>Når det pædagogiske personale skal beskrive, hvordan arbejdet med aktionslæring har påvirket deres praksis, fortæller de at:</a:t>
            </a:r>
          </a:p>
          <a:p>
            <a:endParaRPr lang="da-DK" sz="900" b="1">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900" b="1" noProof="0">
                <a:latin typeface="Verdana" panose="020B0604030504040204" pitchFamily="34" charset="0"/>
                <a:ea typeface="Verdana" panose="020B0604030504040204" pitchFamily="34" charset="0"/>
              </a:rPr>
              <a:t>De justerer mere til på baggrund af dagsformen i min undervisning: </a:t>
            </a:r>
            <a:r>
              <a:rPr lang="da-DK" sz="900">
                <a:latin typeface="Verdana" panose="020B0604030504040204" pitchFamily="34" charset="0"/>
                <a:ea typeface="Verdana" panose="020B0604030504040204" pitchFamily="34" charset="0"/>
              </a:rPr>
              <a:t>det pædagogiske personale fortæller, at de generelt oplever at have mindre fokus på at nå bestemte faglige mål i en time og mere fokus på at tilpasse undervisningen til dagsformen og dermed justere til i indholdet af undervisningen.</a:t>
            </a:r>
            <a:endParaRPr lang="da-DK" sz="900" noProof="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endParaRPr lang="da-DK" sz="900" b="1" noProof="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900" b="1" noProof="0">
                <a:latin typeface="Verdana" panose="020B0604030504040204" pitchFamily="34" charset="0"/>
                <a:ea typeface="Verdana" panose="020B0604030504040204" pitchFamily="34" charset="0"/>
              </a:rPr>
              <a:t>De involverer eleverne mere i udviklingen af undervisningsmiljøet: </a:t>
            </a:r>
            <a:r>
              <a:rPr lang="da-DK" sz="900" noProof="0">
                <a:latin typeface="Verdana" panose="020B0604030504040204" pitchFamily="34" charset="0"/>
                <a:ea typeface="Verdana" panose="020B0604030504040204" pitchFamily="34" charset="0"/>
              </a:rPr>
              <a:t>det pædagogiske personale fortæller, at de i højere grad bringer eleverne på banen i undervisningen og motiverer dem til at tage medansvar for indholdet. De udtrykker også, at de er blevet mere nysgerrige på, hvilke idéer eleverne har til at skabe et godt </a:t>
            </a:r>
            <a:r>
              <a:rPr lang="da-DK" sz="900">
                <a:latin typeface="Verdana" panose="020B0604030504040204" pitchFamily="34" charset="0"/>
                <a:ea typeface="Verdana" panose="020B0604030504040204" pitchFamily="34" charset="0"/>
              </a:rPr>
              <a:t>læringsmiljø. </a:t>
            </a:r>
            <a:endParaRPr lang="da-DK" sz="900" noProof="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endParaRPr lang="da-DK" sz="900" b="1" noProof="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900" b="1" noProof="0">
                <a:latin typeface="Verdana" panose="020B0604030504040204" pitchFamily="34" charset="0"/>
                <a:ea typeface="Verdana" panose="020B0604030504040204" pitchFamily="34" charset="0"/>
              </a:rPr>
              <a:t>De i højere grad prioriterer at sikre, at eleverne føler sig set: </a:t>
            </a:r>
            <a:r>
              <a:rPr lang="da-DK" sz="900">
                <a:latin typeface="Verdana" panose="020B0604030504040204" pitchFamily="34" charset="0"/>
                <a:ea typeface="Verdana" panose="020B0604030504040204" pitchFamily="34" charset="0"/>
              </a:rPr>
              <a:t>det pædagogiske personale fortæller, at de har fået en bedre forståelse for, at der også skal være plads til at tale om, hvordan weekenden har været og andre private ting, fordi det bidrager til, at eleverne føler sig trygge, set og hørt. Det opleves som en forudsætning for, at eleverne lærer i undervisningen.   </a:t>
            </a:r>
            <a:endParaRPr lang="da-DK" sz="900" noProof="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endParaRPr lang="da-DK" sz="900" b="1">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900" b="1" noProof="0">
                <a:latin typeface="Verdana" panose="020B0604030504040204" pitchFamily="34" charset="0"/>
                <a:ea typeface="Verdana" panose="020B0604030504040204" pitchFamily="34" charset="0"/>
              </a:rPr>
              <a:t>De reflekterer mere over egen undervisning: </a:t>
            </a:r>
            <a:r>
              <a:rPr lang="da-DK" sz="900" noProof="0">
                <a:latin typeface="Verdana" panose="020B0604030504040204" pitchFamily="34" charset="0"/>
                <a:ea typeface="Verdana" panose="020B0604030504040204" pitchFamily="34" charset="0"/>
              </a:rPr>
              <a:t>Refleksionsprocessen i aktionslæringsforløbene medfører, at kollegaerne har en øget refleksion over egen praksis, herunder hvad der fungerer godt og kan gøres anderledes, fordi de får kollegaers perspektiver på egen praksis. </a:t>
            </a:r>
          </a:p>
          <a:p>
            <a:pPr marL="171450" indent="-171450">
              <a:buFont typeface="Arial" panose="020B0604020202020204" pitchFamily="34" charset="0"/>
              <a:buChar char="•"/>
            </a:pPr>
            <a:endParaRPr lang="da-DK" sz="900" b="1" noProof="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900" b="1" noProof="0">
                <a:latin typeface="Verdana" panose="020B0604030504040204" pitchFamily="34" charset="0"/>
                <a:ea typeface="Verdana" panose="020B0604030504040204" pitchFamily="34" charset="0"/>
              </a:rPr>
              <a:t>De oftere indtager elevperspektivet: </a:t>
            </a:r>
            <a:r>
              <a:rPr lang="da-DK" sz="900">
                <a:latin typeface="Verdana" panose="020B0604030504040204" pitchFamily="34" charset="0"/>
                <a:ea typeface="Verdana" panose="020B0604030504040204" pitchFamily="34" charset="0"/>
              </a:rPr>
              <a:t>det pædagogiske personale er mere tilbøjelige til at overveje, hvad der kan forklare, at en elev ikke griber en opgave og responderer som forventet, og hvordan man kan hjælpe eleven. De har således et større fokus på at ”se med eleven”, frem for at give eleven skylden for, at vedkommende ikke deltager. </a:t>
            </a:r>
            <a:endParaRPr lang="da-DK" sz="900" noProof="0">
              <a:latin typeface="Verdana" panose="020B0604030504040204" pitchFamily="34" charset="0"/>
              <a:ea typeface="Verdana" panose="020B0604030504040204" pitchFamily="34" charset="0"/>
            </a:endParaRPr>
          </a:p>
          <a:p>
            <a:pPr marL="143510" indent="-143510"/>
            <a:endParaRPr lang="da-DK" b="0"/>
          </a:p>
        </p:txBody>
      </p:sp>
      <p:sp>
        <p:nvSpPr>
          <p:cNvPr id="4" name="Slide Number Placeholder 3"/>
          <p:cNvSpPr>
            <a:spLocks noGrp="1"/>
          </p:cNvSpPr>
          <p:nvPr>
            <p:ph type="sldNum" sz="quarter" idx="5"/>
          </p:nvPr>
        </p:nvSpPr>
        <p:spPr/>
        <p:txBody>
          <a:bodyPr/>
          <a:lstStyle/>
          <a:p>
            <a:fld id="{1B1D025B-ACD2-45C1-B156-1DDB470CE319}" type="slidenum">
              <a:rPr lang="da-DK" smtClean="0"/>
              <a:pPr/>
              <a:t>23</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6110076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da-DK" sz="900" b="0">
                <a:solidFill>
                  <a:schemeClr val="tx1"/>
                </a:solidFill>
                <a:effectLst/>
                <a:latin typeface="Verdana" panose="020B0604030504040204" pitchFamily="34" charset="0"/>
                <a:ea typeface="Verdana" panose="020B0604030504040204" pitchFamily="34" charset="0"/>
                <a:cs typeface="Times New Roman" panose="02020603050405020304" pitchFamily="18" charset="0"/>
              </a:rPr>
              <a:t>Uddybende noter: </a:t>
            </a:r>
          </a:p>
          <a:p>
            <a:pPr marL="0" indent="0">
              <a:buFont typeface="Arial" panose="020B0604020202020204" pitchFamily="34" charset="0"/>
              <a:buNone/>
            </a:pPr>
            <a:endParaRPr lang="da-DK" sz="900" b="1">
              <a:solidFill>
                <a:schemeClr val="tx1"/>
              </a:solidFill>
              <a:effectLst/>
              <a:latin typeface="Verdana" panose="020B0604030504040204" pitchFamily="34" charset="0"/>
              <a:ea typeface="Verdana" panose="020B060403050404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900" b="0">
                <a:latin typeface="Verdana" panose="020B0604030504040204" pitchFamily="34" charset="0"/>
                <a:ea typeface="Verdana" panose="020B0604030504040204" pitchFamily="34" charset="0"/>
              </a:rPr>
              <a:t>Når det pædagogiske personale skal beskrive, hvad der motiverer dem i arbejdet med aktionslæring, fortæller de, at det er særligt motiverende, når:</a:t>
            </a:r>
            <a:br>
              <a:rPr lang="da-DK" sz="900" b="0">
                <a:latin typeface="Verdana" panose="020B0604030504040204" pitchFamily="34" charset="0"/>
                <a:ea typeface="Verdana" panose="020B0604030504040204" pitchFamily="34" charset="0"/>
              </a:rPr>
            </a:br>
            <a:endParaRPr lang="da-DK" sz="900" b="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900" b="1">
                <a:solidFill>
                  <a:schemeClr val="tx1"/>
                </a:solidFill>
                <a:latin typeface="Verdana" panose="020B0604030504040204" pitchFamily="34" charset="0"/>
                <a:ea typeface="Verdana" panose="020B0604030504040204" pitchFamily="34" charset="0"/>
                <a:cs typeface="Amatic SC" panose="00000500000000000000" pitchFamily="2" charset="-79"/>
              </a:rPr>
              <a:t>Man arbejder med egne aktuelle problemstillinger: </a:t>
            </a:r>
            <a:r>
              <a:rPr lang="da-DK" sz="900" b="0">
                <a:solidFill>
                  <a:schemeClr val="tx1"/>
                </a:solidFill>
                <a:latin typeface="Verdana" panose="020B0604030504040204" pitchFamily="34" charset="0"/>
                <a:ea typeface="Verdana" panose="020B0604030504040204" pitchFamily="34" charset="0"/>
                <a:cs typeface="Amatic SC" panose="00000500000000000000" pitchFamily="2" charset="-79"/>
              </a:rPr>
              <a:t>det pædagogiske personale oplever, at a</a:t>
            </a:r>
            <a:r>
              <a:rPr lang="da-DK" sz="900" b="0">
                <a:solidFill>
                  <a:schemeClr val="tx1"/>
                </a:solidFill>
                <a:effectLst/>
                <a:latin typeface="Verdana" panose="020B0604030504040204" pitchFamily="34" charset="0"/>
                <a:ea typeface="Verdana" panose="020B0604030504040204" pitchFamily="34" charset="0"/>
                <a:cs typeface="Times New Roman" panose="02020603050405020304" pitchFamily="18" charset="0"/>
              </a:rPr>
              <a:t>ktionslæringsforløbene er særligt motiverende, når aktionen omhandler en elev fra egen klasse eller en problemstilling, der er tæt på den enkelte lærers dagligdag. </a:t>
            </a:r>
          </a:p>
          <a:p>
            <a:pPr marL="171450" indent="-171450">
              <a:buFont typeface="Arial" panose="020B0604020202020204" pitchFamily="34" charset="0"/>
              <a:buChar char="•"/>
            </a:pPr>
            <a:endParaRPr lang="da-DK" sz="900">
              <a:solidFill>
                <a:schemeClr val="tx1"/>
              </a:solidFill>
              <a:latin typeface="Verdana" panose="020B0604030504040204" pitchFamily="34" charset="0"/>
              <a:ea typeface="Verdana" panose="020B0604030504040204" pitchFamily="34" charset="0"/>
              <a:cs typeface="Amatic SC" panose="00000500000000000000" pitchFamily="2" charset="-79"/>
            </a:endParaRPr>
          </a:p>
          <a:p>
            <a:pPr marL="171450" indent="-171450">
              <a:buFont typeface="Arial" panose="020B0604020202020204" pitchFamily="34" charset="0"/>
              <a:buChar char="•"/>
            </a:pPr>
            <a:r>
              <a:rPr lang="da-DK" sz="900" b="1">
                <a:solidFill>
                  <a:schemeClr val="tx1"/>
                </a:solidFill>
                <a:latin typeface="Verdana" panose="020B0604030504040204" pitchFamily="34" charset="0"/>
                <a:ea typeface="Verdana" panose="020B0604030504040204" pitchFamily="34" charset="0"/>
                <a:cs typeface="Amatic SC" panose="00000500000000000000" pitchFamily="2" charset="-79"/>
              </a:rPr>
              <a:t>Man får succesoplevelser og hurtigt kan se en positiv forskel: </a:t>
            </a:r>
            <a:r>
              <a:rPr lang="da-DK" sz="900" b="0">
                <a:solidFill>
                  <a:schemeClr val="tx1"/>
                </a:solidFill>
                <a:latin typeface="Verdana" panose="020B0604030504040204" pitchFamily="34" charset="0"/>
                <a:ea typeface="Verdana" panose="020B0604030504040204" pitchFamily="34" charset="0"/>
                <a:cs typeface="Amatic SC" panose="00000500000000000000" pitchFamily="2" charset="-79"/>
              </a:rPr>
              <a:t>På tværs af kommunerne fortæller flere lærere om prøvehandlinger/aktionslæringer, der har været særligt succesfulde, og hvor de hurtigt har kunne se, at det har skabt en positiv forskel for eleverne. Disse succesoplevelser skaber motivation for arbejdet med aktionslæring. </a:t>
            </a:r>
          </a:p>
          <a:p>
            <a:pPr marL="171450" indent="-171450">
              <a:buFont typeface="Arial" panose="020B0604020202020204" pitchFamily="34" charset="0"/>
              <a:buChar char="•"/>
            </a:pPr>
            <a:endParaRPr lang="da-DK" sz="900" b="1">
              <a:solidFill>
                <a:schemeClr val="tx1"/>
              </a:solidFill>
              <a:latin typeface="Verdana" panose="020B0604030504040204" pitchFamily="34" charset="0"/>
              <a:ea typeface="Verdana" panose="020B0604030504040204" pitchFamily="34" charset="0"/>
              <a:cs typeface="Amatic SC" panose="00000500000000000000" pitchFamily="2" charset="-79"/>
            </a:endParaRPr>
          </a:p>
          <a:p>
            <a:pPr marL="171450" indent="-171450">
              <a:buFont typeface="Arial" panose="020B0604020202020204" pitchFamily="34" charset="0"/>
              <a:buChar char="•"/>
            </a:pPr>
            <a:r>
              <a:rPr lang="da-DK" sz="900" b="1">
                <a:solidFill>
                  <a:schemeClr val="tx1"/>
                </a:solidFill>
                <a:latin typeface="Verdana" panose="020B0604030504040204" pitchFamily="34" charset="0"/>
                <a:ea typeface="Verdana" panose="020B0604030504040204" pitchFamily="34" charset="0"/>
                <a:cs typeface="Amatic SC" panose="00000500000000000000" pitchFamily="2" charset="-79"/>
              </a:rPr>
              <a:t>Man har fælles viden og børnesyn som afsæt: </a:t>
            </a:r>
            <a:r>
              <a:rPr lang="da-DK" sz="900" b="0">
                <a:solidFill>
                  <a:schemeClr val="tx1"/>
                </a:solidFill>
                <a:latin typeface="Verdana" panose="020B0604030504040204" pitchFamily="34" charset="0"/>
                <a:ea typeface="Verdana" panose="020B0604030504040204" pitchFamily="34" charset="0"/>
                <a:cs typeface="Amatic SC" panose="00000500000000000000" pitchFamily="2" charset="-79"/>
              </a:rPr>
              <a:t>det pædagogiske personale på nogle skoler fortæller, at det er vigtigt, at teamet har et fælles børnesyn, da det skaber et fælles afsæt for at finde gode løsninger sammen. Via et fælles børnesyn har personalet allerede defineret en fælles tilgang til børnene, og dermed er det nemmere at definere en aktion, som alle i teamet kan være enige om. </a:t>
            </a:r>
          </a:p>
          <a:p>
            <a:pPr marL="171450" indent="-171450">
              <a:buFont typeface="Arial" panose="020B0604020202020204" pitchFamily="34" charset="0"/>
              <a:buChar char="•"/>
            </a:pPr>
            <a:endParaRPr lang="da-DK" sz="900" b="0">
              <a:solidFill>
                <a:schemeClr val="tx1"/>
              </a:solidFill>
              <a:latin typeface="Verdana" panose="020B0604030504040204" pitchFamily="34" charset="0"/>
              <a:ea typeface="Verdana" panose="020B0604030504040204" pitchFamily="34" charset="0"/>
              <a:cs typeface="Amatic SC" panose="00000500000000000000" pitchFamily="2" charset="-79"/>
            </a:endParaRPr>
          </a:p>
          <a:p>
            <a:pPr marL="171450" indent="-171450">
              <a:buFont typeface="Arial" panose="020B0604020202020204" pitchFamily="34" charset="0"/>
              <a:buChar char="•"/>
            </a:pPr>
            <a:r>
              <a:rPr lang="da-DK" sz="900" b="1">
                <a:solidFill>
                  <a:schemeClr val="tx1"/>
                </a:solidFill>
                <a:latin typeface="Verdana" panose="020B0604030504040204" pitchFamily="34" charset="0"/>
                <a:ea typeface="Verdana" panose="020B0604030504040204" pitchFamily="34" charset="0"/>
                <a:cs typeface="Amatic SC" panose="00000500000000000000" pitchFamily="2" charset="-79"/>
              </a:rPr>
              <a:t>Man følger op og evaluerer i samarbejde med kollegaer: </a:t>
            </a:r>
            <a:r>
              <a:rPr lang="da-DK" sz="900" b="0">
                <a:solidFill>
                  <a:schemeClr val="tx1"/>
                </a:solidFill>
                <a:latin typeface="Verdana" panose="020B0604030504040204" pitchFamily="34" charset="0"/>
                <a:ea typeface="Verdana" panose="020B0604030504040204" pitchFamily="34" charset="0"/>
                <a:cs typeface="Amatic SC" panose="00000500000000000000" pitchFamily="2" charset="-79"/>
              </a:rPr>
              <a:t>Flere lærere fortæller, at opsamlinger og evalueringer af prøvehandlinger skaber motivation. det pædagogiske personale på en skole beskriver, hvordan de fx arbejder med et individuelt evalueringsskema, hvor de systematisk kan danne sig et overblik over egen udvikling. På samme måde fortæller lærere, at særligt forløbet efter en aktionslæring/prøvehandling er vigtig, fordi evalueringen har betydning for, hvordan man arbejder med eleven fremadrettet, og evt. hvordan man iværksætter nye prøvehandlinger.</a:t>
            </a:r>
          </a:p>
          <a:p>
            <a:pPr marL="171450" indent="-171450">
              <a:buFont typeface="Arial" panose="020B0604020202020204" pitchFamily="34" charset="0"/>
              <a:buChar char="•"/>
            </a:pPr>
            <a:endParaRPr lang="da-DK" sz="900" b="1">
              <a:solidFill>
                <a:schemeClr val="tx1"/>
              </a:solidFill>
              <a:latin typeface="Verdana" panose="020B0604030504040204" pitchFamily="34" charset="0"/>
              <a:ea typeface="Verdana" panose="020B0604030504040204" pitchFamily="34" charset="0"/>
              <a:cs typeface="Amatic SC" panose="00000500000000000000" pitchFamily="2" charset="-79"/>
            </a:endParaRPr>
          </a:p>
          <a:p>
            <a:pPr marL="171450" indent="-171450">
              <a:buFont typeface="Arial" panose="020B0604020202020204" pitchFamily="34" charset="0"/>
              <a:buChar char="•"/>
            </a:pPr>
            <a:r>
              <a:rPr lang="da-DK" sz="900" b="1">
                <a:solidFill>
                  <a:schemeClr val="tx1"/>
                </a:solidFill>
                <a:latin typeface="Verdana" panose="020B0604030504040204" pitchFamily="34" charset="0"/>
                <a:ea typeface="Verdana" panose="020B0604030504040204" pitchFamily="34" charset="0"/>
                <a:cs typeface="Amatic SC" panose="00000500000000000000" pitchFamily="2" charset="-79"/>
              </a:rPr>
              <a:t>Det kobles til eksisterende mødeaktiviteter frem for at være noget ”ekstra”: </a:t>
            </a:r>
            <a:r>
              <a:rPr lang="da-DK" sz="900" b="0">
                <a:solidFill>
                  <a:schemeClr val="tx1"/>
                </a:solidFill>
                <a:latin typeface="Verdana" panose="020B0604030504040204" pitchFamily="34" charset="0"/>
                <a:ea typeface="Verdana" panose="020B0604030504040204" pitchFamily="34" charset="0"/>
                <a:cs typeface="Amatic SC" panose="00000500000000000000" pitchFamily="2" charset="-79"/>
              </a:rPr>
              <a:t>Det motiverer det pædagogiske personale, når arbejdet med aktionslæring bliver en metode til at samarbejde frem for en aktivitet, som skal gennemføres på særskilte møder. Det hænger også tæt sammen med ovenstående pointe om, at genstandsfeltet skal være en praksisnær udfordring, som personalet kan genkende. </a:t>
            </a:r>
          </a:p>
          <a:p>
            <a:pPr marL="171450" indent="-171450">
              <a:buFont typeface="Arial" panose="020B0604020202020204" pitchFamily="34" charset="0"/>
              <a:buChar char="•"/>
            </a:pPr>
            <a:endParaRPr lang="da-DK" sz="900" b="1">
              <a:solidFill>
                <a:schemeClr val="tx1"/>
              </a:solidFill>
              <a:latin typeface="Verdana" panose="020B0604030504040204" pitchFamily="34" charset="0"/>
              <a:ea typeface="Verdana" panose="020B0604030504040204" pitchFamily="34" charset="0"/>
              <a:cs typeface="Amatic SC" panose="00000500000000000000" pitchFamily="2" charset="-79"/>
            </a:endParaRPr>
          </a:p>
          <a:p>
            <a:pPr marL="171450" indent="-171450">
              <a:buFont typeface="Arial" panose="020B0604020202020204" pitchFamily="34" charset="0"/>
              <a:buChar char="•"/>
            </a:pPr>
            <a:r>
              <a:rPr lang="da-DK" sz="900" b="1">
                <a:solidFill>
                  <a:schemeClr val="tx1"/>
                </a:solidFill>
                <a:latin typeface="Verdana" panose="020B0604030504040204" pitchFamily="34" charset="0"/>
                <a:ea typeface="Verdana" panose="020B0604030504040204" pitchFamily="34" charset="0"/>
                <a:cs typeface="Amatic SC" panose="00000500000000000000" pitchFamily="2" charset="-79"/>
              </a:rPr>
              <a:t>Man får inputs udefra til at afprøve nye metoder: </a:t>
            </a:r>
            <a:r>
              <a:rPr lang="da-DK" sz="900" b="0">
                <a:solidFill>
                  <a:schemeClr val="tx1"/>
                </a:solidFill>
                <a:latin typeface="Verdana" panose="020B0604030504040204" pitchFamily="34" charset="0"/>
                <a:ea typeface="Verdana" panose="020B0604030504040204" pitchFamily="34" charset="0"/>
                <a:cs typeface="Amatic SC" panose="00000500000000000000" pitchFamily="2" charset="-79"/>
              </a:rPr>
              <a:t>Det opleves som motiverende, når det pædagogiske personale bliver introduceret til nye konkrete metoder, som de kan omsætte i praksis. Eksempelvis er det motiverende, når personalet får inputs til, hvordan de med nye greb de kan løse aktuelle inklusionsudfordringer. </a:t>
            </a:r>
          </a:p>
          <a:p>
            <a:pPr marL="0" indent="0">
              <a:buFont typeface="Arial" panose="020B0604020202020204" pitchFamily="34" charset="0"/>
              <a:buNone/>
            </a:pPr>
            <a:endParaRPr lang="da-DK" sz="900" b="1">
              <a:solidFill>
                <a:schemeClr val="tx1"/>
              </a:solidFill>
              <a:latin typeface="Verdana" panose="020B0604030504040204" pitchFamily="34" charset="0"/>
              <a:ea typeface="Verdana" panose="020B0604030504040204" pitchFamily="34" charset="0"/>
              <a:cs typeface="Amatic SC" panose="00000500000000000000" pitchFamily="2" charset="-79"/>
            </a:endParaRPr>
          </a:p>
          <a:p>
            <a:pPr marL="171450" indent="-171450">
              <a:buFont typeface="Arial" panose="020B0604020202020204" pitchFamily="34" charset="0"/>
              <a:buChar char="•"/>
            </a:pPr>
            <a:r>
              <a:rPr lang="da-DK" sz="900" b="1">
                <a:solidFill>
                  <a:schemeClr val="tx1"/>
                </a:solidFill>
                <a:latin typeface="Verdana" panose="020B0604030504040204" pitchFamily="34" charset="0"/>
                <a:ea typeface="Verdana" panose="020B0604030504040204" pitchFamily="34" charset="0"/>
                <a:cs typeface="Amatic SC" panose="00000500000000000000" pitchFamily="2" charset="-79"/>
              </a:rPr>
              <a:t>Eksterne stiller spørgsmålstegn ved praksis: </a:t>
            </a:r>
            <a:r>
              <a:rPr lang="da-DK" sz="900" b="0">
                <a:solidFill>
                  <a:schemeClr val="tx1"/>
                </a:solidFill>
                <a:latin typeface="Verdana" panose="020B0604030504040204" pitchFamily="34" charset="0"/>
                <a:ea typeface="Verdana" panose="020B0604030504040204" pitchFamily="34" charset="0"/>
                <a:cs typeface="Amatic SC" panose="00000500000000000000" pitchFamily="2" charset="-79"/>
              </a:rPr>
              <a:t>Enkelte blandt det pædagogiske personale fortæller, at det kan være grænseoverskridende at åbne op for egen praksis. Samtidig kan det være svært at stille spørgsmålstegn ved den måde, ens kollegaer gennemfører undervisning på. Det er dog en vigtig forudsætning for, at man kan udvikle praksis, at man tør at være nysgerrig sammen. Når eksterne som fx UCN deltager på møderne, bidrager det til, at teams åbner mere op og er mere nysgerrig på, hvordan praksis kan forbedres.</a:t>
            </a:r>
            <a:endParaRPr lang="da-DK" sz="900" b="0">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fld id="{1B1D025B-ACD2-45C1-B156-1DDB470CE319}" type="slidenum">
              <a:rPr lang="da-DK" smtClean="0"/>
              <a:pPr/>
              <a:t>24</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1259345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900" b="0">
                <a:effectLst/>
                <a:latin typeface="Verdana" panose="020B0604030504040204" pitchFamily="34" charset="0"/>
                <a:ea typeface="Verdana" panose="020B0604030504040204" pitchFamily="34" charset="0"/>
                <a:cs typeface="Times New Roman" panose="02020603050405020304" pitchFamily="18" charset="0"/>
              </a:rPr>
              <a:t>Uddybende noter: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b="0">
              <a:effectLst/>
              <a:latin typeface="Verdana" panose="020B0604030504040204" pitchFamily="34" charset="0"/>
              <a:ea typeface="Verdana" panose="020B060403050404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900" b="0">
                <a:effectLst/>
                <a:latin typeface="Verdana" panose="020B0604030504040204" pitchFamily="34" charset="0"/>
                <a:ea typeface="Verdana" panose="020B0604030504040204" pitchFamily="34" charset="0"/>
                <a:cs typeface="Times New Roman" panose="02020603050405020304" pitchFamily="18" charset="0"/>
              </a:rPr>
              <a:t>det pædagogiske personale peger på en række barrierer, som kan spænde ben for udbyttet af aktionslæringsforløbene. Det er fx, når: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b="0">
              <a:effectLst/>
              <a:latin typeface="Verdana" panose="020B0604030504040204" pitchFamily="34" charset="0"/>
              <a:ea typeface="Verdana" panose="020B0604030504040204" pitchFamily="34" charset="0"/>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Quicksand" panose="020B0604020202020204" charset="0"/>
              </a:rPr>
              <a:t>Processen opfattes som unødvendigt kompliceret eller opstillet:  </a:t>
            </a:r>
            <a:r>
              <a:rPr lang="da-DK" sz="900" b="0">
                <a:latin typeface="Verdana" panose="020B0604030504040204" pitchFamily="34" charset="0"/>
                <a:ea typeface="Verdana" panose="020B0604030504040204" pitchFamily="34" charset="0"/>
                <a:cs typeface="Quicksand" panose="020B0604020202020204" charset="0"/>
              </a:rPr>
              <a:t>En lærer siger bl.a.</a:t>
            </a:r>
            <a:r>
              <a:rPr lang="da-DK" sz="900" b="1">
                <a:latin typeface="Verdana" panose="020B0604030504040204" pitchFamily="34" charset="0"/>
                <a:ea typeface="Verdana" panose="020B0604030504040204" pitchFamily="34" charset="0"/>
                <a:cs typeface="Quicksand" panose="020B0604020202020204" charset="0"/>
              </a:rPr>
              <a:t> </a:t>
            </a:r>
            <a:r>
              <a:rPr lang="da-DK" sz="900">
                <a:latin typeface="Verdana" panose="020B0604030504040204" pitchFamily="34" charset="0"/>
                <a:ea typeface="Verdana" panose="020B0604030504040204" pitchFamily="34" charset="0"/>
                <a:cs typeface="Quicksand" panose="020B0604020202020204" charset="0"/>
              </a:rPr>
              <a:t>”Når jeg går i gang med aktionslæringsforløb ifm. kursus, så bliver det lidt kunstigt. Jeg har slet ikke tid til det i hverdagen.”. Det peger i retning af, at aktionslæringsprocesserne kan opfattes som noget, man gør i forbindelse med et kursusforløb eller lign., men som er svært at omsætte i den daglige praksis, fordi personalet ikke er vant til at arbejde på den måde. </a:t>
            </a:r>
            <a:endParaRPr lang="da-DK" sz="900">
              <a:latin typeface="Verdana" panose="020B0604030504040204" pitchFamily="34" charset="0"/>
              <a:ea typeface="Verdana" panose="020B0604030504040204" pitchFamily="34" charset="0"/>
            </a:endParaRPr>
          </a:p>
          <a:p>
            <a:pPr marL="0" indent="0">
              <a:buFont typeface="Arial" panose="020B0604020202020204" pitchFamily="34" charset="0"/>
              <a:buNone/>
            </a:pPr>
            <a:endParaRPr lang="da-DK" sz="900" b="1">
              <a:latin typeface="Verdana" panose="020B0604030504040204" pitchFamily="34" charset="0"/>
              <a:ea typeface="Verdana" panose="020B0604030504040204" pitchFamily="34" charset="0"/>
              <a:cs typeface="Quicksand" panose="020B0604020202020204" charset="0"/>
            </a:endParaRPr>
          </a:p>
          <a:p>
            <a:pPr marL="171450" indent="-171450">
              <a:buFont typeface="Arial" panose="020B0604020202020204" pitchFamily="34" charset="0"/>
              <a:buChar char="•"/>
            </a:pPr>
            <a:r>
              <a:rPr lang="da-DK" sz="900" b="1">
                <a:solidFill>
                  <a:schemeClr val="tx1"/>
                </a:solidFill>
                <a:latin typeface="Verdana" panose="020B0604030504040204" pitchFamily="34" charset="0"/>
                <a:ea typeface="Verdana" panose="020B0604030504040204" pitchFamily="34" charset="0"/>
                <a:cs typeface="Amatic SC" panose="00000500000000000000" pitchFamily="2" charset="-79"/>
              </a:rPr>
              <a:t>D</a:t>
            </a:r>
            <a:r>
              <a:rPr lang="da-DK" sz="900" b="1">
                <a:latin typeface="Verdana" panose="020B0604030504040204" pitchFamily="34" charset="0"/>
                <a:ea typeface="Verdana" panose="020B0604030504040204" pitchFamily="34" charset="0"/>
                <a:cs typeface="Quicksand" panose="020B0604020202020204" charset="0"/>
              </a:rPr>
              <a:t>er ikke er sammenhængende tid til at forberede prøvehandlinger: </a:t>
            </a:r>
            <a:r>
              <a:rPr lang="da-DK" sz="900" b="0">
                <a:latin typeface="Verdana" panose="020B0604030504040204" pitchFamily="34" charset="0"/>
                <a:ea typeface="Verdana" panose="020B0604030504040204" pitchFamily="34" charset="0"/>
                <a:cs typeface="Quicksand" panose="020B0604020202020204" charset="0"/>
              </a:rPr>
              <a:t>En lærer siger bl.a. </a:t>
            </a:r>
            <a:r>
              <a:rPr lang="da-DK" sz="900">
                <a:latin typeface="Verdana" panose="020B0604030504040204" pitchFamily="34" charset="0"/>
                <a:ea typeface="Verdana" panose="020B0604030504040204" pitchFamily="34" charset="0"/>
                <a:cs typeface="Quicksand" panose="020B0604020202020204" charset="0"/>
              </a:rPr>
              <a:t>”Man skal også have tid til det. Jeg oplevede, at det blev proppet ind lidt tilfældigt, og det fungerede ikke.”. Det er med andre ord afgørende, at der er afsat tid til at forberede prøvehandlinger, så der er tid til at finde de gode løsninger sammen.</a:t>
            </a:r>
            <a:br>
              <a:rPr lang="da-DK" sz="900">
                <a:latin typeface="Verdana" panose="020B0604030504040204" pitchFamily="34" charset="0"/>
                <a:ea typeface="Verdana" panose="020B0604030504040204" pitchFamily="34" charset="0"/>
                <a:cs typeface="Quicksand" panose="020B0604020202020204" charset="0"/>
              </a:rPr>
            </a:br>
            <a:r>
              <a:rPr lang="da-DK" sz="900">
                <a:latin typeface="Verdana" panose="020B0604030504040204" pitchFamily="34" charset="0"/>
                <a:ea typeface="Verdana" panose="020B0604030504040204" pitchFamily="34" charset="0"/>
                <a:cs typeface="Quicksand" panose="020B0604020202020204" charset="0"/>
              </a:rPr>
              <a:t> </a:t>
            </a:r>
            <a:endParaRPr lang="da-DK" sz="900" b="0">
              <a:latin typeface="Verdana" panose="020B0604030504040204" pitchFamily="34" charset="0"/>
              <a:ea typeface="Verdana" panose="020B0604030504040204" pitchFamily="34" charset="0"/>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M</a:t>
            </a:r>
            <a:r>
              <a:rPr lang="da-DK" sz="900" b="1">
                <a:latin typeface="Verdana" panose="020B0604030504040204" pitchFamily="34" charset="0"/>
                <a:ea typeface="Verdana" panose="020B0604030504040204" pitchFamily="34" charset="0"/>
                <a:cs typeface="Quicksand" panose="020B0604020202020204" charset="0"/>
              </a:rPr>
              <a:t>an efterfølgende falder tilbage i ‘plejer’:  </a:t>
            </a:r>
            <a:r>
              <a:rPr lang="da-DK" sz="900" b="0">
                <a:latin typeface="Verdana" panose="020B0604030504040204" pitchFamily="34" charset="0"/>
                <a:ea typeface="Verdana" panose="020B0604030504040204" pitchFamily="34" charset="0"/>
                <a:cs typeface="Quicksand" panose="020B0604020202020204" charset="0"/>
              </a:rPr>
              <a:t>En lærer siger bl.a.</a:t>
            </a:r>
            <a:r>
              <a:rPr lang="da-DK" sz="900" b="1">
                <a:latin typeface="Verdana" panose="020B0604030504040204" pitchFamily="34" charset="0"/>
                <a:ea typeface="Verdana" panose="020B0604030504040204" pitchFamily="34" charset="0"/>
                <a:cs typeface="Quicksand" panose="020B0604020202020204" charset="0"/>
              </a:rPr>
              <a:t> </a:t>
            </a:r>
            <a:r>
              <a:rPr lang="da-DK" sz="900">
                <a:latin typeface="Verdana" panose="020B0604030504040204" pitchFamily="34" charset="0"/>
                <a:ea typeface="Verdana" panose="020B0604030504040204" pitchFamily="34" charset="0"/>
                <a:cs typeface="Quicksand" panose="020B0604020202020204" charset="0"/>
              </a:rPr>
              <a:t>”Da jeg efterfølgende talte med lærerne, spurgte jeg ind til, hvad de havde gjort anderledes, nu når de var to i undervisningen. Der kom vi jo til at tale om, at de gjorde mere af det samme, som hvis de var en. De havde ikke planlagt det anderledes.”. Det peger i retning af, at det kan være svært at ændre ens praksis, selvom rammerne er der, fordi man er tilbøjelig til at falde tilbage i vante roller, og opfatter det som nemmere at fortsætte på den måde, man ‘plejer’. </a:t>
            </a:r>
            <a:br>
              <a:rPr lang="da-DK" sz="900">
                <a:latin typeface="Verdana" panose="020B0604030504040204" pitchFamily="34" charset="0"/>
                <a:ea typeface="Verdana" panose="020B0604030504040204" pitchFamily="34" charset="0"/>
                <a:cs typeface="Quicksand" panose="020B0604020202020204" charset="0"/>
              </a:rPr>
            </a:br>
            <a:endParaRPr lang="da-DK" sz="900">
              <a:latin typeface="Verdana" panose="020B0604030504040204" pitchFamily="34" charset="0"/>
              <a:ea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Quicksand" panose="020B0604020202020204" charset="0"/>
              </a:rPr>
              <a:t>Refleksion opfattes som langtrukkent:  </a:t>
            </a:r>
            <a:r>
              <a:rPr lang="da-DK" sz="900" b="0">
                <a:latin typeface="Verdana" panose="020B0604030504040204" pitchFamily="34" charset="0"/>
                <a:ea typeface="Verdana" panose="020B0604030504040204" pitchFamily="34" charset="0"/>
                <a:cs typeface="Quicksand" panose="020B0604020202020204" charset="0"/>
              </a:rPr>
              <a:t>En lærer siger bl.a.</a:t>
            </a:r>
            <a:r>
              <a:rPr lang="da-DK" sz="900" b="1">
                <a:latin typeface="Verdana" panose="020B0604030504040204" pitchFamily="34" charset="0"/>
                <a:ea typeface="Verdana" panose="020B0604030504040204" pitchFamily="34" charset="0"/>
                <a:cs typeface="Quicksand" panose="020B0604020202020204" charset="0"/>
              </a:rPr>
              <a:t> </a:t>
            </a:r>
            <a:r>
              <a:rPr lang="da-DK" sz="900">
                <a:latin typeface="Verdana" panose="020B0604030504040204" pitchFamily="34" charset="0"/>
                <a:ea typeface="Verdana" panose="020B0604030504040204" pitchFamily="34" charset="0"/>
                <a:cs typeface="Quicksand" panose="020B0604020202020204" charset="0"/>
              </a:rPr>
              <a:t>”Der er et clash mellem refleksion og dybden ved aktionslæring, og den praksis, vi lever i. Hvis vi altid skal reflektere så meget, så får vi ikke handlet. Vi bliver nødt til at handle.”. Det peger i retning af, at det pædagogiske personale nogle gange kan opfatte aktionslæringsprocessen som unødvendigt langtrukken og som en metode, der strider imod deres oplevelse af, at problemstillingerne skal løses her og nu. </a:t>
            </a:r>
            <a:br>
              <a:rPr lang="da-DK" sz="900">
                <a:latin typeface="Verdana" panose="020B0604030504040204" pitchFamily="34" charset="0"/>
                <a:ea typeface="Verdana" panose="020B0604030504040204" pitchFamily="34" charset="0"/>
                <a:cs typeface="Quicksand" panose="020B0604020202020204" charset="0"/>
              </a:rPr>
            </a:br>
            <a:endParaRPr lang="da-DK" sz="900">
              <a:latin typeface="Verdana" panose="020B0604030504040204" pitchFamily="34" charset="0"/>
              <a:ea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Quicksand" panose="020B0604020202020204" charset="0"/>
              </a:rPr>
              <a:t>Genstandsfelt opleves som uvedkommende: </a:t>
            </a:r>
            <a:r>
              <a:rPr lang="da-DK" sz="900" b="0">
                <a:latin typeface="Verdana" panose="020B0604030504040204" pitchFamily="34" charset="0"/>
                <a:ea typeface="Verdana" panose="020B0604030504040204" pitchFamily="34" charset="0"/>
                <a:cs typeface="Quicksand" panose="020B0604020202020204" charset="0"/>
              </a:rPr>
              <a:t>En lærer siger bl.a.</a:t>
            </a:r>
            <a:r>
              <a:rPr lang="da-DK" sz="900" b="1">
                <a:latin typeface="Verdana" panose="020B0604030504040204" pitchFamily="34" charset="0"/>
                <a:ea typeface="Verdana" panose="020B0604030504040204" pitchFamily="34" charset="0"/>
                <a:cs typeface="Quicksand" panose="020B0604020202020204" charset="0"/>
              </a:rPr>
              <a:t> </a:t>
            </a:r>
            <a:r>
              <a:rPr lang="da-DK" sz="900">
                <a:latin typeface="Verdana" panose="020B0604030504040204" pitchFamily="34" charset="0"/>
                <a:ea typeface="Verdana" panose="020B0604030504040204" pitchFamily="34" charset="0"/>
                <a:cs typeface="Quicksand" panose="020B0604020202020204" charset="0"/>
              </a:rPr>
              <a:t>”Nogle gange skal vi finde noget, der er stort nok til, at vi kan snakke om det. Det bliver så søgt. Men hvis nogle kollegaer brænder for, at et problem bliver løst, så føler jeg, at jeg hjælper dem.”. Det er med andre ord vigtigt, at omdrejningspunktet for aktionslæringsforløbet er et presserende problem, da diskussionerne alternativt kan blive for søgte at tale om i en længere period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a:latin typeface="Verdana" panose="020B0604030504040204" pitchFamily="34" charset="0"/>
              <a:ea typeface="Verdana" panose="020B0604030504040204" pitchFamily="34" charset="0"/>
              <a:cs typeface="Quicksand" panose="020B060402020202020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solidFill>
                  <a:schemeClr val="bg1"/>
                </a:solidFill>
                <a:latin typeface="Verdana" panose="020B0604030504040204" pitchFamily="34" charset="0"/>
                <a:ea typeface="Verdana" panose="020B0604030504040204" pitchFamily="34" charset="0"/>
                <a:cs typeface="Amatic SC" panose="00000500000000000000" pitchFamily="2" charset="-79"/>
              </a:rPr>
              <a:t>De fysiske rammer på skolen opleves at skabe begrænsninger for kreativitet og variation: </a:t>
            </a:r>
            <a:r>
              <a:rPr lang="da-DK" sz="900" b="0">
                <a:solidFill>
                  <a:schemeClr val="bg1"/>
                </a:solidFill>
                <a:latin typeface="Verdana" panose="020B0604030504040204" pitchFamily="34" charset="0"/>
                <a:ea typeface="Verdana" panose="020B0604030504040204" pitchFamily="34" charset="0"/>
                <a:cs typeface="Amatic SC" panose="00000500000000000000" pitchFamily="2" charset="-79"/>
              </a:rPr>
              <a:t>En lærer fortæller: </a:t>
            </a:r>
            <a:r>
              <a:rPr lang="da-DK" sz="900">
                <a:solidFill>
                  <a:schemeClr val="bg1"/>
                </a:solidFill>
                <a:latin typeface="Verdana" panose="020B0604030504040204" pitchFamily="34" charset="0"/>
                <a:ea typeface="Verdana" panose="020B0604030504040204" pitchFamily="34" charset="0"/>
                <a:cs typeface="Amatic SC" panose="00000500000000000000" pitchFamily="2" charset="-79"/>
              </a:rPr>
              <a:t>”Vi mangler plads på skolen, og det sætter store begrænsninger for at eksperimentere.” Generelt opfattes fysiske rammer som en relativt stor barriere for at skabe deltagelsesmuligheder for alle elever. Halvdelen af det pædagogiske personale på skolerne oplever, at de fysiske rammer i mindre grad eller slet ikke fremmer deltagelsesmuligheder for alle elev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a:solidFill>
                <a:schemeClr val="bg1"/>
              </a:solidFill>
              <a:latin typeface="Verdana" panose="020B0604030504040204" pitchFamily="34" charset="0"/>
              <a:ea typeface="Verdana" panose="020B0604030504040204" pitchFamily="34" charset="0"/>
              <a:cs typeface="Amatic SC"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Quicksand" panose="020B0604020202020204" charset="0"/>
              </a:rPr>
              <a:t>Teamet ikke oplever fremgang hos eleverne trods forsøg på at skabe flere deltagelsesmuligheder. </a:t>
            </a:r>
            <a:r>
              <a:rPr lang="da-DK" sz="900" b="0">
                <a:latin typeface="Verdana" panose="020B0604030504040204" pitchFamily="34" charset="0"/>
                <a:ea typeface="Verdana" panose="020B0604030504040204" pitchFamily="34" charset="0"/>
                <a:cs typeface="Quicksand" panose="020B0604020202020204" charset="0"/>
              </a:rPr>
              <a:t>En lærer fortæller: </a:t>
            </a:r>
            <a:r>
              <a:rPr lang="da-DK" sz="900" b="0">
                <a:solidFill>
                  <a:schemeClr val="bg1"/>
                </a:solidFill>
                <a:latin typeface="Verdana" panose="020B0604030504040204" pitchFamily="34" charset="0"/>
                <a:ea typeface="Verdana" panose="020B0604030504040204" pitchFamily="34" charset="0"/>
                <a:cs typeface="Amatic SC" panose="00000500000000000000" pitchFamily="2" charset="-79"/>
              </a:rPr>
              <a:t>”</a:t>
            </a:r>
            <a:r>
              <a:rPr lang="da-DK" sz="900">
                <a:solidFill>
                  <a:schemeClr val="bg1"/>
                </a:solidFill>
                <a:latin typeface="Verdana" panose="020B0604030504040204" pitchFamily="34" charset="0"/>
                <a:ea typeface="Verdana" panose="020B0604030504040204" pitchFamily="34" charset="0"/>
                <a:cs typeface="Amatic SC" panose="00000500000000000000" pitchFamily="2" charset="-79"/>
              </a:rPr>
              <a:t>Jeg har en elev med meget store læsevanskeligheder, og vi har gjort meget for, at hun ikke er ekskluderet fra fællesskabet. Men jeg synes, det er svært at have hende. Jeg ser ikke en fremgang og, det er utroligt svært at lave lige deltagelsesmuligheder for hende i læsningen.”. På samme måde som succesoplevelser kan fremme motivationen, kan det mindske motivationen for at udvikle praksis, når ændringerne ikke skaber den forventede effekt. Samtidig kan det udfordre at finde de rette ”værktøjer” i værktøjskassen, når dem man anvender, ikke virk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1">
              <a:latin typeface="Verdana" panose="020B0604030504040204" pitchFamily="34" charset="0"/>
              <a:ea typeface="Verdana" panose="020B0604030504040204" pitchFamily="34" charset="0"/>
              <a:cs typeface="Quicksand" panose="020B060402020202020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a:solidFill>
                <a:schemeClr val="bg1"/>
              </a:solidFill>
              <a:latin typeface="Verdana" panose="020B0604030504040204" pitchFamily="34" charset="0"/>
              <a:ea typeface="Verdana" panose="020B0604030504040204" pitchFamily="34" charset="0"/>
              <a:cs typeface="Amatic SC"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a:latin typeface="Verdana" panose="020B0604030504040204" pitchFamily="34" charset="0"/>
              <a:ea typeface="Verdana" panose="020B0604030504040204" pitchFamily="34" charset="0"/>
              <a:cs typeface="Quicksand" panose="020B0604020202020204" charset="0"/>
            </a:endParaRPr>
          </a:p>
          <a:p>
            <a:pPr marL="171450" indent="-171450">
              <a:buFont typeface="Arial" panose="020B0604020202020204" pitchFamily="34" charset="0"/>
              <a:buChar char="•"/>
            </a:pPr>
            <a:endParaRPr lang="da-DK" sz="900" b="0">
              <a:solidFill>
                <a:schemeClr val="tx1"/>
              </a:solidFill>
              <a:effectLst/>
              <a:latin typeface="Verdana" panose="020B0604030504040204" pitchFamily="34" charset="0"/>
              <a:ea typeface="Verdana" panose="020B0604030504040204" pitchFamily="34" charset="0"/>
              <a:cs typeface="Times New Roman" panose="02020603050405020304" pitchFamily="18" charset="0"/>
            </a:endParaRPr>
          </a:p>
          <a:p>
            <a:pPr marL="0" indent="0">
              <a:buFont typeface="Arial" panose="020B0604020202020204" pitchFamily="34" charset="0"/>
              <a:buNone/>
            </a:pPr>
            <a:endParaRPr lang="da-DK" b="0"/>
          </a:p>
        </p:txBody>
      </p:sp>
      <p:sp>
        <p:nvSpPr>
          <p:cNvPr id="4" name="Slide Number Placeholder 3"/>
          <p:cNvSpPr>
            <a:spLocks noGrp="1"/>
          </p:cNvSpPr>
          <p:nvPr>
            <p:ph type="sldNum" sz="quarter" idx="5"/>
          </p:nvPr>
        </p:nvSpPr>
        <p:spPr/>
        <p:txBody>
          <a:bodyPr/>
          <a:lstStyle/>
          <a:p>
            <a:fld id="{1B1D025B-ACD2-45C1-B156-1DDB470CE319}" type="slidenum">
              <a:rPr lang="da-DK" smtClean="0"/>
              <a:pPr/>
              <a:t>25</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3971991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43510" indent="-143510"/>
            <a:r>
              <a:rPr lang="da-DK" sz="900" b="0">
                <a:effectLst/>
                <a:latin typeface="Verdana" panose="020B0604030504040204" pitchFamily="34" charset="0"/>
                <a:ea typeface="Verdana" panose="020B0604030504040204" pitchFamily="34" charset="0"/>
                <a:cs typeface="Times New Roman" panose="02020603050405020304" pitchFamily="18" charset="0"/>
              </a:rPr>
              <a:t>Uddybende noter: </a:t>
            </a:r>
          </a:p>
          <a:p>
            <a:pPr marL="143510" indent="-143510"/>
            <a:endParaRPr lang="da-DK" sz="900" b="0">
              <a:solidFill>
                <a:schemeClr val="tx1"/>
              </a:solidFill>
              <a:effectLst/>
              <a:latin typeface="Verdana" panose="020B0604030504040204" pitchFamily="34" charset="0"/>
              <a:ea typeface="Verdana" panose="020B0604030504040204" pitchFamily="34" charset="0"/>
              <a:cs typeface="Times New Roman" panose="02020603050405020304" pitchFamily="18" charset="0"/>
            </a:endParaRPr>
          </a:p>
          <a:p>
            <a:pPr marL="143510" indent="-143510"/>
            <a:r>
              <a:rPr lang="da-DK" sz="900" b="0">
                <a:effectLst/>
                <a:latin typeface="Verdana" panose="020B0604030504040204" pitchFamily="34" charset="0"/>
                <a:ea typeface="Verdana" panose="020B0604030504040204" pitchFamily="34" charset="0"/>
                <a:cs typeface="Times New Roman" panose="02020603050405020304" pitchFamily="18" charset="0"/>
              </a:rPr>
              <a:t>Det kan styrke arbejdet med aktionslæring fremadrettet, at: </a:t>
            </a:r>
            <a:br>
              <a:rPr lang="da-DK" sz="900" b="0">
                <a:effectLst/>
                <a:latin typeface="Verdana" panose="020B0604030504040204" pitchFamily="34" charset="0"/>
                <a:ea typeface="Verdana" panose="020B0604030504040204" pitchFamily="34" charset="0"/>
                <a:cs typeface="Times New Roman" panose="02020603050405020304" pitchFamily="18" charset="0"/>
              </a:rPr>
            </a:br>
            <a:endParaRPr lang="da-DK" sz="900" b="0">
              <a:effectLst/>
              <a:latin typeface="Verdana" panose="020B0604030504040204" pitchFamily="34" charset="0"/>
              <a:ea typeface="Verdana" panose="020B0604030504040204" pitchFamily="34" charset="0"/>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Videndele om erfaringer med aktionslæring på tværs af teams og årgange: </a:t>
            </a:r>
            <a:r>
              <a:rPr lang="da-DK" sz="900" b="0">
                <a:latin typeface="Verdana" panose="020B0604030504040204" pitchFamily="34" charset="0"/>
                <a:ea typeface="Verdana" panose="020B0604030504040204" pitchFamily="34" charset="0"/>
                <a:cs typeface="Amatic SC" panose="00000500000000000000" pitchFamily="2" charset="-79"/>
              </a:rPr>
              <a:t>det pædagogiske personale fremhæver overordnet, at mens sparring og videndeling internt i eget team fungerer godt, halter det ift. sparring og videndeling på tværs af teams og årgange. Struktur og organisering af teams på skolerne kan gøre det vanskeligt at sparre med hinanden i hverdagen, fordi personalet fysisk ikke omgås hinanden i løbet af dagen, og derfor opstår der heller ikke naturlige rum for sparring. Flere blandt det pædagogiske personale fremhæver dog, at de synes, det er vigtigt med vidensdeling på tværs af teams og årgange, fordi de kan inspirere hinanden og skabe synlighed omkring god praksis på tværs. Samtidig ser mange lærere også en stor værdi i at videndele mere på tværs af årgange ifm. at eleverne rykker op i klassetrin og får nye lærere, så eleverne oplever en mere ensartet prak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0">
              <a:latin typeface="Verdana" panose="020B0604030504040204" pitchFamily="34" charset="0"/>
              <a:ea typeface="Verdana" panose="020B0604030504040204" pitchFamily="34" charset="0"/>
              <a:cs typeface="Amatic SC"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Prioritere tid til at evaluere prøvehandlinger: </a:t>
            </a:r>
            <a:r>
              <a:rPr lang="da-DK" sz="900" b="0">
                <a:latin typeface="Verdana" panose="020B0604030504040204" pitchFamily="34" charset="0"/>
                <a:ea typeface="Verdana" panose="020B0604030504040204" pitchFamily="34" charset="0"/>
                <a:cs typeface="Amatic SC" panose="00000500000000000000" pitchFamily="2" charset="-79"/>
              </a:rPr>
              <a:t>Blandt de skoler, som arbejder aktivt med aktionslæringsforløb, bliver evaluering fremhævet som væsentligt for fremdriften i arbejdet. Evalueringen af prøvehandlinger opfattes som en anledning til at vurdere, om man er på rette vej eller skal justere til. Flere lærere fortæller, at evaluering enten ikke sker, og hvis det sker, er det ikke systematisk. Det foregår ofte mere ad hoc – eksempelvis som små samtaler på gangene. Det peger i retningen af, at der med fordel bør prioriteres tid til at evaluere prøvehandlinger systematis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0">
              <a:latin typeface="Verdana" panose="020B0604030504040204" pitchFamily="34" charset="0"/>
              <a:ea typeface="Verdana" panose="020B0604030504040204" pitchFamily="34" charset="0"/>
              <a:cs typeface="Amatic SC"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Indsamle data til at vurdere, hvorvidt aktionerne har den ønskede effekt: </a:t>
            </a:r>
            <a:r>
              <a:rPr lang="da-DK" sz="900" b="0">
                <a:latin typeface="Verdana" panose="020B0604030504040204" pitchFamily="34" charset="0"/>
                <a:ea typeface="Verdana" panose="020B0604030504040204" pitchFamily="34" charset="0"/>
                <a:cs typeface="Amatic SC" panose="00000500000000000000" pitchFamily="2" charset="-79"/>
              </a:rPr>
              <a:t>På samme måde som det pædagogiske personale sjældent evaluerer deres arbejde med konkrete prøvehandlinger, er der også få, som har indsamlet data til at vurdere, hvorvidt aktionerne har haft den ønskede effekt. Der er dog et stort potentiale i at inddrage data, da det ligesom evalueringen kan indikere, om handlingerne rent faktisk skaber forandringer, frem for blot at basere vurderingen på ”synsninger”. </a:t>
            </a:r>
            <a:endParaRPr lang="da-DK" sz="900" b="1">
              <a:latin typeface="Verdana" panose="020B0604030504040204" pitchFamily="34" charset="0"/>
              <a:ea typeface="Verdana" panose="020B0604030504040204" pitchFamily="34" charset="0"/>
              <a:cs typeface="Amatic SC"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1">
              <a:latin typeface="Verdana" panose="020B0604030504040204" pitchFamily="34" charset="0"/>
              <a:ea typeface="Verdana" panose="020B0604030504040204" pitchFamily="34" charset="0"/>
              <a:cs typeface="Amatic SC"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Inddrage eleverne i udviklingen af læringsmiljøet og få deres perspektiver på prøvehandlingerne: </a:t>
            </a:r>
            <a:r>
              <a:rPr lang="da-DK" sz="900" b="0">
                <a:latin typeface="Verdana" panose="020B0604030504040204" pitchFamily="34" charset="0"/>
                <a:ea typeface="Verdana" panose="020B0604030504040204" pitchFamily="34" charset="0"/>
                <a:cs typeface="Amatic SC" panose="00000500000000000000" pitchFamily="2" charset="-79"/>
              </a:rPr>
              <a:t>Få teams inddrager eleverne aktivt i udviklingen af læringsmiljøet. På de skoler, hvor teams har erfaring med at inddrage eleverne, peger de imidlertid på, at det gør dem klogere på elevernes tanker og refleksioner omkring læring, ligesom eleverne værdsætter at blive hørt og inddraget aktivt. </a:t>
            </a:r>
            <a:endParaRPr lang="da-DK" sz="900" b="1">
              <a:latin typeface="Verdana" panose="020B0604030504040204" pitchFamily="34" charset="0"/>
              <a:ea typeface="Verdana" panose="020B0604030504040204" pitchFamily="34" charset="0"/>
              <a:cs typeface="Amatic SC"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1">
              <a:latin typeface="Verdana" panose="020B0604030504040204" pitchFamily="34" charset="0"/>
              <a:ea typeface="Verdana" panose="020B0604030504040204" pitchFamily="34" charset="0"/>
              <a:cs typeface="Amatic SC"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Observere hinandens undervisning for at finde nye løsninger på udfordringer: </a:t>
            </a:r>
            <a:r>
              <a:rPr lang="da-DK" sz="900" b="0">
                <a:latin typeface="Verdana" panose="020B0604030504040204" pitchFamily="34" charset="0"/>
                <a:ea typeface="Verdana" panose="020B0604030504040204" pitchFamily="34" charset="0"/>
                <a:cs typeface="Amatic SC" panose="00000500000000000000" pitchFamily="2" charset="-79"/>
              </a:rPr>
              <a:t>det pædagogiske personale peger på, at det er inspirerende at observere hinandens undervisning, fordi man ser undervisningen fra en anden vinkel, end man er vant til. Samtidig kan det nye blik på en undervisningssituation gøre, at der opstår nye løsninger på de udfordringer, det pædagogiske personale står overfor, fordi flere kollegaer har observeret de situationer, der kan være vanskelige.</a:t>
            </a:r>
            <a:endParaRPr lang="da-DK" sz="900" b="1">
              <a:latin typeface="Verdana" panose="020B0604030504040204" pitchFamily="34" charset="0"/>
              <a:ea typeface="Verdana" panose="020B0604030504040204" pitchFamily="34" charset="0"/>
              <a:cs typeface="Amatic SC" panose="00000500000000000000" pitchFamily="2" charset="-79"/>
            </a:endParaRPr>
          </a:p>
          <a:p>
            <a:pPr marL="0" indent="0">
              <a:buFont typeface="Arial" panose="020B0604020202020204" pitchFamily="34" charset="0"/>
              <a:buNone/>
            </a:pPr>
            <a:endParaRPr lang="da-DK" b="0"/>
          </a:p>
        </p:txBody>
      </p:sp>
      <p:sp>
        <p:nvSpPr>
          <p:cNvPr id="4" name="Slide Number Placeholder 3"/>
          <p:cNvSpPr>
            <a:spLocks noGrp="1"/>
          </p:cNvSpPr>
          <p:nvPr>
            <p:ph type="sldNum" sz="quarter" idx="5"/>
          </p:nvPr>
        </p:nvSpPr>
        <p:spPr/>
        <p:txBody>
          <a:bodyPr/>
          <a:lstStyle/>
          <a:p>
            <a:fld id="{1B1D025B-ACD2-45C1-B156-1DDB470CE319}" type="slidenum">
              <a:rPr lang="da-DK" smtClean="0"/>
              <a:pPr/>
              <a:t>26</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6389912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27</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4568704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28</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7743540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43510" indent="-143510"/>
            <a:r>
              <a:rPr lang="da-DK" sz="900" b="0">
                <a:latin typeface="Verdana" panose="020B0604030504040204" pitchFamily="34" charset="0"/>
                <a:ea typeface="Verdana" panose="020B0604030504040204" pitchFamily="34" charset="0"/>
              </a:rPr>
              <a:t>Uddybende noter: </a:t>
            </a:r>
          </a:p>
          <a:p>
            <a:pPr marL="143510" indent="-143510"/>
            <a:endParaRPr lang="da-DK" sz="900" b="0">
              <a:latin typeface="Verdana" panose="020B0604030504040204" pitchFamily="34" charset="0"/>
              <a:ea typeface="Verdana" panose="020B0604030504040204" pitchFamily="34" charset="0"/>
            </a:endParaRPr>
          </a:p>
          <a:p>
            <a:pPr marL="143510" indent="-143510"/>
            <a:r>
              <a:rPr lang="da-DK" sz="900" b="0">
                <a:latin typeface="Verdana" panose="020B0604030504040204" pitchFamily="34" charset="0"/>
                <a:ea typeface="Verdana" panose="020B0604030504040204" pitchFamily="34" charset="0"/>
              </a:rPr>
              <a:t>Det pædagogiske personale oplever generelt, at teamsamarbejde er centralt i arbejdet med at udvikle praksis. I den forbindelse oplever de, at: </a:t>
            </a:r>
          </a:p>
          <a:p>
            <a:pPr marL="171450" indent="-171450">
              <a:buFont typeface="Arial" panose="020B0604020202020204" pitchFamily="34" charset="0"/>
              <a:buChar char="•"/>
            </a:pPr>
            <a:endParaRPr lang="da-DK" sz="900" b="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900" b="1">
                <a:solidFill>
                  <a:schemeClr val="tx1"/>
                </a:solidFill>
                <a:latin typeface="Verdana" panose="020B0604030504040204" pitchFamily="34" charset="0"/>
                <a:ea typeface="Verdana" panose="020B0604030504040204" pitchFamily="34" charset="0"/>
                <a:cs typeface="Amatic SC" panose="00000500000000000000" pitchFamily="2" charset="-79"/>
              </a:rPr>
              <a:t>Være motiverede for at samarbejde i teams om at skabe deltagelsesmuligheder for alle</a:t>
            </a:r>
            <a:r>
              <a:rPr lang="da-DK" sz="900" b="1">
                <a:latin typeface="Verdana" panose="020B0604030504040204" pitchFamily="34" charset="0"/>
                <a:ea typeface="Verdana" panose="020B0604030504040204" pitchFamily="34" charset="0"/>
                <a:cs typeface="Amatic SC" panose="00000500000000000000" pitchFamily="2" charset="-79"/>
              </a:rPr>
              <a:t>: </a:t>
            </a:r>
            <a:r>
              <a:rPr lang="da-DK" sz="900">
                <a:latin typeface="Verdana" panose="020B0604030504040204" pitchFamily="34" charset="0"/>
                <a:ea typeface="Verdana" panose="020B0604030504040204" pitchFamily="34" charset="0"/>
                <a:cs typeface="Amatic SC" panose="00000500000000000000" pitchFamily="2" charset="-79"/>
              </a:rPr>
              <a:t>Blandt andet udtrykker 88 pct. af det pædagogiske personale, at de og deres team er motiverede for at samarbejde om at skabe deltagelsesmuligheder for alle elever. Mange steder oplever det pædagogiske personale en klar vilje til at arbejde sammen, herunder at samarbejde om aktionslæring og dele erfaringer med hinanden. </a:t>
            </a:r>
            <a:endParaRPr lang="da-DK" sz="900" b="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endParaRPr lang="da-DK" sz="900" b="0">
              <a:latin typeface="Verdana" panose="020B0604030504040204" pitchFamily="34" charset="0"/>
              <a:ea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Deres team har viden og kompetencerne til at skabe deltagelsesmuligheder for alle: </a:t>
            </a:r>
            <a:r>
              <a:rPr lang="da-DK" sz="900" b="0">
                <a:latin typeface="Verdana" panose="020B0604030504040204" pitchFamily="34" charset="0"/>
                <a:ea typeface="Verdana" panose="020B0604030504040204" pitchFamily="34" charset="0"/>
                <a:cs typeface="Amatic SC" panose="00000500000000000000" pitchFamily="2" charset="-79"/>
              </a:rPr>
              <a:t>Blandt andet udtrykker 78 pct. af det pædagogiske personale, at deres team har viden og kompetencer til at organisere læringsmiljøer, så alle elever kan deltage uanset faglige forudsætninger. </a:t>
            </a:r>
            <a:r>
              <a:rPr lang="da-DK" sz="900">
                <a:latin typeface="Verdana" panose="020B0604030504040204" pitchFamily="34" charset="0"/>
                <a:ea typeface="Verdana" panose="020B0604030504040204" pitchFamily="34" charset="0"/>
                <a:cs typeface="Amatic SC" panose="00000500000000000000" pitchFamily="2" charset="-79"/>
              </a:rPr>
              <a:t>Spørgeskemaundersøgelsen viser også, at det pædagogiske personale i høj grad oplever, at deres team besidder den nødvendige viden og de nødvendige kompetencer til at danne stærke relationer til alle elever, uanset elevernes individuelle faglige eller sociale baggrund.</a:t>
            </a:r>
            <a:br>
              <a:rPr lang="da-DK" sz="900">
                <a:latin typeface="Verdana" panose="020B0604030504040204" pitchFamily="34" charset="0"/>
                <a:ea typeface="Verdana" panose="020B0604030504040204" pitchFamily="34" charset="0"/>
                <a:cs typeface="Amatic SC" panose="00000500000000000000" pitchFamily="2" charset="-79"/>
              </a:rPr>
            </a:br>
            <a:endParaRPr lang="da-DK" sz="900" b="1">
              <a:latin typeface="Verdana" panose="020B0604030504040204" pitchFamily="34" charset="0"/>
              <a:ea typeface="Verdana" panose="020B0604030504040204" pitchFamily="34" charset="0"/>
              <a:cs typeface="Amatic SC"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Et velfungerende teamsamarbejde er en forudsætning for at lykkes med at udvikle praksis: </a:t>
            </a:r>
            <a:r>
              <a:rPr lang="da-DK" sz="900" b="0">
                <a:latin typeface="Verdana" panose="020B0604030504040204" pitchFamily="34" charset="0"/>
                <a:ea typeface="Verdana" panose="020B0604030504040204" pitchFamily="34" charset="0"/>
                <a:cs typeface="Amatic SC" panose="00000500000000000000" pitchFamily="2" charset="-79"/>
              </a:rPr>
              <a:t>Flere blandt det pædagogiske personale udtaler, at de oplever kollegialt sammenhold og samarbejde som en forudsætning for at lykkedes med deres kerneopgaver. Flere fortæller, at tæt sparring med kollegaer gør, at der bliver etableret den nødvendige tryghed, som er en forudsætning for at kunne dele både succeshistorier og udfordringer fra praksis med hinanden. </a:t>
            </a:r>
            <a:endParaRPr lang="da-DK" sz="900" b="1">
              <a:latin typeface="Verdana" panose="020B0604030504040204" pitchFamily="34" charset="0"/>
              <a:ea typeface="Verdana" panose="020B0604030504040204" pitchFamily="34" charset="0"/>
              <a:cs typeface="Amatic SC" panose="00000500000000000000" pitchFamily="2" charset="-79"/>
            </a:endParaRPr>
          </a:p>
        </p:txBody>
      </p:sp>
      <p:sp>
        <p:nvSpPr>
          <p:cNvPr id="4" name="Slide Number Placeholder 3"/>
          <p:cNvSpPr>
            <a:spLocks noGrp="1"/>
          </p:cNvSpPr>
          <p:nvPr>
            <p:ph type="sldNum" sz="quarter" idx="5"/>
          </p:nvPr>
        </p:nvSpPr>
        <p:spPr/>
        <p:txBody>
          <a:bodyPr/>
          <a:lstStyle/>
          <a:p>
            <a:fld id="{1B1D025B-ACD2-45C1-B156-1DDB470CE319}" type="slidenum">
              <a:rPr lang="da-DK" smtClean="0"/>
              <a:pPr/>
              <a:t>29</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1928897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da-DK" sz="900" b="0">
                <a:latin typeface="Verdana" panose="020B0604030504040204" pitchFamily="34" charset="0"/>
                <a:ea typeface="Verdana" panose="020B0604030504040204" pitchFamily="34" charset="0"/>
                <a:cs typeface="Amatic SC" panose="00000500000000000000" pitchFamily="2" charset="-79"/>
              </a:rPr>
              <a:t>Uddybende noter: </a:t>
            </a:r>
            <a:br>
              <a:rPr lang="da-DK" sz="900" b="1">
                <a:latin typeface="Verdana" panose="020B0604030504040204" pitchFamily="34" charset="0"/>
                <a:ea typeface="Verdana" panose="020B0604030504040204" pitchFamily="34" charset="0"/>
                <a:cs typeface="Amatic SC" panose="00000500000000000000" pitchFamily="2" charset="-79"/>
              </a:rPr>
            </a:br>
            <a:endParaRPr lang="da-DK" sz="900" b="1">
              <a:latin typeface="Verdana" panose="020B0604030504040204" pitchFamily="34" charset="0"/>
              <a:ea typeface="Verdana" panose="020B0604030504040204" pitchFamily="34" charset="0"/>
              <a:cs typeface="Amatic SC" panose="00000500000000000000" pitchFamily="2" charset="-79"/>
            </a:endParaRPr>
          </a:p>
          <a:p>
            <a:pPr algn="l"/>
            <a:r>
              <a:rPr lang="da-DK" sz="900" b="0">
                <a:latin typeface="Verdana" panose="020B0604030504040204" pitchFamily="34" charset="0"/>
                <a:ea typeface="Verdana" panose="020B0604030504040204" pitchFamily="34" charset="0"/>
                <a:cs typeface="Amatic SC" panose="00000500000000000000" pitchFamily="2" charset="-79"/>
              </a:rPr>
              <a:t>Det pædagogiske personale har peget på en række forhold, der kan styrke samarbejde om udvikling af praksis. De peger på, at der er særligt motiverende at samarbejde, når: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b="1">
              <a:latin typeface="Verdana" panose="020B0604030504040204" pitchFamily="34" charset="0"/>
              <a:ea typeface="Verdana" panose="020B0604030504040204" pitchFamily="34" charset="0"/>
              <a:cs typeface="Amatic SC" panose="00000500000000000000" pitchFamily="2" charset="-79"/>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Teamet </a:t>
            </a:r>
            <a:r>
              <a:rPr lang="da-DK" sz="900" b="1">
                <a:latin typeface="Verdana" panose="020B0604030504040204" pitchFamily="34" charset="0"/>
                <a:ea typeface="Verdana" panose="020B0604030504040204" pitchFamily="34" charset="0"/>
              </a:rPr>
              <a:t>systematisk følger op på og drøfter, hvordan praksis kan forbedres: </a:t>
            </a:r>
            <a:r>
              <a:rPr lang="da-DK" sz="900" b="0">
                <a:latin typeface="Verdana" panose="020B0604030504040204" pitchFamily="34" charset="0"/>
                <a:ea typeface="Verdana" panose="020B0604030504040204" pitchFamily="34" charset="0"/>
              </a:rPr>
              <a:t>Få blandt det pædagogiske personale arbejder systematisk med opfølgning af prøvehandlinger i praksis. Dog peger flere på, at de ser en stor værdi i at arbejde mere systematisk med opfølgning og drøftelser efter en prøvehandling. Den systematiske opfølgning på arbejdet med prøvehandlinger bidrager til at holde ”gryden i kog”, og gør, at man føler sig mere forpligtet til at iværksætte en ny handling.</a:t>
            </a:r>
            <a:endParaRPr lang="da-DK" sz="900" b="1">
              <a:latin typeface="Verdana" panose="020B0604030504040204" pitchFamily="34" charset="0"/>
              <a:ea typeface="Verdana" panose="020B0604030504040204" pitchFamily="34" charset="0"/>
              <a:cs typeface="Amatic SC" panose="00000500000000000000" pitchFamily="2" charset="-79"/>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1">
              <a:latin typeface="Verdana" panose="020B0604030504040204" pitchFamily="34" charset="0"/>
              <a:ea typeface="Verdana" panose="020B0604030504040204" pitchFamily="34" charset="0"/>
              <a:cs typeface="Amatic SC" panose="00000500000000000000" pitchFamily="2" charset="-79"/>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Quicksand" panose="020B0604020202020204" charset="0"/>
              </a:rPr>
              <a:t>Man reflekterer over praksis på tværs af teams</a:t>
            </a:r>
            <a:r>
              <a:rPr lang="da-DK" sz="900" b="1">
                <a:latin typeface="Verdana" panose="020B0604030504040204" pitchFamily="34" charset="0"/>
                <a:ea typeface="Verdana" panose="020B0604030504040204" pitchFamily="34" charset="0"/>
                <a:cs typeface="Amatic SC" panose="00000500000000000000" pitchFamily="2" charset="-79"/>
              </a:rPr>
              <a:t>: </a:t>
            </a:r>
            <a:r>
              <a:rPr lang="da-DK" sz="900" b="0">
                <a:latin typeface="Verdana" panose="020B0604030504040204" pitchFamily="34" charset="0"/>
                <a:ea typeface="Verdana" panose="020B0604030504040204" pitchFamily="34" charset="0"/>
                <a:cs typeface="Amatic SC" panose="00000500000000000000" pitchFamily="2" charset="-79"/>
              </a:rPr>
              <a:t>Evalueringen viser, at det er vigtigt at prioritere tid til refleksion på tværs af teams. Det bidrager til at styrke den samlede praksis på skolen og sikre, at effektive løsninger kan spredes til gavn for hele personalet. Det understøtter også følelsen af, at "Den Mangfoldige Folkeskole" er en fælles indsats for hele skolen og ikke blot et enkeltstående projekt eller teambaseret udvikling. En lærer fortæller bl.a.: ”</a:t>
            </a:r>
            <a:r>
              <a:rPr lang="da-DK" sz="900">
                <a:latin typeface="Verdana" panose="020B0604030504040204" pitchFamily="34" charset="0"/>
                <a:ea typeface="Verdana" panose="020B0604030504040204" pitchFamily="34" charset="0"/>
                <a:cs typeface="Quicksand" panose="020B0604020202020204" charset="0"/>
              </a:rPr>
              <a:t>I klasseteamet skal vi have fundet ud af, hvem skal sidde hvor, hvornår er lejrskole osv. Det er drift. Det er, når vi har fælles reflektion på tværs af teams, at der sker noget.” </a:t>
            </a:r>
            <a:endParaRPr lang="da-DK" sz="900" b="0">
              <a:latin typeface="Verdana" panose="020B0604030504040204" pitchFamily="34" charset="0"/>
              <a:ea typeface="Verdana" panose="020B0604030504040204" pitchFamily="34" charset="0"/>
              <a:cs typeface="Amatic SC" panose="00000500000000000000" pitchFamily="2" charset="-79"/>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0">
              <a:latin typeface="Verdana" panose="020B0604030504040204" pitchFamily="34" charset="0"/>
              <a:ea typeface="Verdana" panose="020B0604030504040204" pitchFamily="34" charset="0"/>
              <a:cs typeface="Amatic SC" panose="00000500000000000000" pitchFamily="2" charset="-79"/>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rPr>
              <a:t>Teamet arbejder med konkrete værktøjer til at analysere en problemstilling: </a:t>
            </a:r>
            <a:r>
              <a:rPr lang="da-DK" sz="900" b="0">
                <a:latin typeface="Verdana" panose="020B0604030504040204" pitchFamily="34" charset="0"/>
                <a:ea typeface="Verdana" panose="020B0604030504040204" pitchFamily="34" charset="0"/>
                <a:cs typeface="Amatic SC" panose="00000500000000000000" pitchFamily="2" charset="-79"/>
              </a:rPr>
              <a:t>Vigtigheden af at arbejde med konkrete værktøjer i praksisudviklingen er et andet punkt, som træder tydeligt frem i evalueringen. Flere peger på, at værktøjerne kan bidrage til at gøre det nemmere at omsætte kompetenceudviklingen ind i praksis bagefter og hjælpe til at bringe specialpædagogiske kompetencer i spil. En lærer fortæller bl.a.: ”</a:t>
            </a:r>
            <a:r>
              <a:rPr lang="da-DK" sz="900">
                <a:latin typeface="Verdana" panose="020B0604030504040204" pitchFamily="34" charset="0"/>
                <a:ea typeface="Verdana" panose="020B0604030504040204" pitchFamily="34" charset="0"/>
              </a:rPr>
              <a:t>Hvis vi skal analysere en problemstilling, så flytter det noget, når der er værktøjer, som man kan arbejde systematisk med.”</a:t>
            </a:r>
            <a:endParaRPr lang="da-DK" sz="900" b="0">
              <a:latin typeface="Verdana" panose="020B0604030504040204" pitchFamily="34" charset="0"/>
              <a:ea typeface="Verdana" panose="020B0604030504040204" pitchFamily="34" charset="0"/>
              <a:cs typeface="Amatic SC" panose="00000500000000000000" pitchFamily="2" charset="-79"/>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0">
              <a:latin typeface="Verdana" panose="020B0604030504040204" pitchFamily="34" charset="0"/>
              <a:ea typeface="Verdana" panose="020B0604030504040204" pitchFamily="34" charset="0"/>
              <a:cs typeface="Amatic SC" panose="00000500000000000000" pitchFamily="2" charset="-79"/>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rPr>
              <a:t>Teamet</a:t>
            </a:r>
            <a:r>
              <a:rPr lang="da-DK" sz="900" b="1">
                <a:latin typeface="Verdana" panose="020B0604030504040204" pitchFamily="34" charset="0"/>
                <a:ea typeface="Verdana" panose="020B0604030504040204" pitchFamily="34" charset="0"/>
                <a:cs typeface="Quicksand" panose="020B0604020202020204" charset="0"/>
              </a:rPr>
              <a:t> indsamler og anvender data til at vurdere deres eksisterende praksis, og hvordan den kan forbedres</a:t>
            </a:r>
            <a:r>
              <a:rPr lang="da-DK" sz="900" b="1">
                <a:latin typeface="Verdana" panose="020B0604030504040204" pitchFamily="34" charset="0"/>
                <a:ea typeface="Verdana" panose="020B0604030504040204" pitchFamily="34" charset="0"/>
                <a:cs typeface="Amatic SC" panose="00000500000000000000" pitchFamily="2" charset="-79"/>
              </a:rPr>
              <a:t>: </a:t>
            </a:r>
            <a:r>
              <a:rPr lang="da-DK" sz="900" b="0">
                <a:latin typeface="Verdana" panose="020B0604030504040204" pitchFamily="34" charset="0"/>
                <a:ea typeface="Verdana" panose="020B0604030504040204" pitchFamily="34" charset="0"/>
                <a:cs typeface="Amatic SC" panose="00000500000000000000" pitchFamily="2" charset="-79"/>
              </a:rPr>
              <a:t>Evalueringen viser, at indsamling af og refleksion over data fra prøvehandlingerne er centralt for udviklingen af praksis, fordi det pædagogiske personale dermed bevæger sig fra ‘synsninger’ til mere objektivt at vurdere praksis. En lærer siger bl.a.: </a:t>
            </a:r>
            <a:r>
              <a:rPr lang="da-DK" sz="900">
                <a:latin typeface="Verdana" panose="020B0604030504040204" pitchFamily="34" charset="0"/>
                <a:ea typeface="Verdana" panose="020B0604030504040204" pitchFamily="34" charset="0"/>
                <a:cs typeface="Quicksand" panose="020B0604020202020204" charset="0"/>
              </a:rPr>
              <a:t>”Det er vigtigt at indsamle data, fordi ‘synsninger’ ikke er nok. Vi er nødt til også at finde ud af, hvor vi er, og hvor vi skal hen. ”</a:t>
            </a:r>
            <a:endParaRPr lang="da-DK" sz="900" b="0">
              <a:latin typeface="Verdana" panose="020B0604030504040204" pitchFamily="34" charset="0"/>
              <a:ea typeface="Verdana" panose="020B0604030504040204" pitchFamily="34" charset="0"/>
              <a:cs typeface="Amatic SC" panose="00000500000000000000" pitchFamily="2" charset="-79"/>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0">
              <a:latin typeface="Verdana" panose="020B0604030504040204" pitchFamily="34" charset="0"/>
              <a:ea typeface="Verdana" panose="020B0604030504040204" pitchFamily="34" charset="0"/>
              <a:cs typeface="Amatic SC" panose="00000500000000000000" pitchFamily="2" charset="-79"/>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Quicksand" panose="020B0604020202020204" charset="0"/>
              </a:rPr>
              <a:t>Der er psykologisk tryghed i teamet, så man tør at åbne op om egne udfordringer: </a:t>
            </a:r>
            <a:r>
              <a:rPr lang="da-DK" sz="900" b="0">
                <a:latin typeface="Verdana" panose="020B0604030504040204" pitchFamily="34" charset="0"/>
                <a:ea typeface="Verdana" panose="020B0604030504040204" pitchFamily="34" charset="0"/>
                <a:cs typeface="Amatic SC" panose="00000500000000000000" pitchFamily="2" charset="-79"/>
              </a:rPr>
              <a:t>Evalueringen viser, at det pædagogiske personale anser psykologisk tryghed for at være en essentiel drivkraft i det systematiske samarbejde omkring udviklingen af praksis. Det fremgår, at et trygt miljø, hvor ledelsen støtter tydeligt op om dem og også åbner op om egne udfordringer, er en forudsætning for, at personalet føler sig komfortabelt med at dele erfaringer, bekymringer og give hinanden feedback. Trygheden styrker også mod til at eksperimentere med nye undervisningsformer og prøvehandlinger. En lærer siger bl.a.: </a:t>
            </a:r>
            <a:r>
              <a:rPr lang="da-DK" sz="900">
                <a:latin typeface="Verdana" panose="020B0604030504040204" pitchFamily="34" charset="0"/>
                <a:ea typeface="Verdana" panose="020B0604030504040204" pitchFamily="34" charset="0"/>
                <a:cs typeface="Quicksand" panose="020B0604020202020204" charset="0"/>
              </a:rPr>
              <a:t>”Det har også noget med tryghed at gøre, for hvis man er tryg, så er det nemt at løse det i det daglige. Hvis der er nogle man ikke er tryg ved, så får man ikke i lige så høj grad talt om det ”</a:t>
            </a:r>
            <a:endParaRPr lang="da-DK" sz="900">
              <a:latin typeface="Verdana" panose="020B0604030504040204" pitchFamily="34" charset="0"/>
              <a:ea typeface="Verdana" panose="020B0604030504040204" pitchFamily="34" charset="0"/>
            </a:endParaRPr>
          </a:p>
          <a:p>
            <a:pPr marL="0" indent="0">
              <a:buFont typeface="Arial" panose="020B0604020202020204" pitchFamily="34" charset="0"/>
              <a:buNone/>
            </a:pPr>
            <a:endParaRPr lang="da-DK" sz="900" b="0">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fld id="{1B1D025B-ACD2-45C1-B156-1DDB470CE319}" type="slidenum">
              <a:rPr lang="da-DK" smtClean="0"/>
              <a:pPr/>
              <a:t>30</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686286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3</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0039139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da-DK" sz="900" b="0">
                <a:latin typeface="Verdana" panose="020B0604030504040204" pitchFamily="34" charset="0"/>
                <a:ea typeface="Verdana" panose="020B0604030504040204" pitchFamily="34" charset="0"/>
                <a:cs typeface="Amatic SC" panose="00000500000000000000" pitchFamily="2" charset="-79"/>
              </a:rPr>
              <a:t>Uddybende noter: </a:t>
            </a:r>
            <a:br>
              <a:rPr lang="da-DK" sz="900" b="0">
                <a:latin typeface="Verdana" panose="020B0604030504040204" pitchFamily="34" charset="0"/>
                <a:ea typeface="Verdana" panose="020B0604030504040204" pitchFamily="34" charset="0"/>
                <a:cs typeface="Amatic SC" panose="00000500000000000000" pitchFamily="2" charset="-79"/>
              </a:rPr>
            </a:br>
            <a:endParaRPr lang="da-DK" sz="900" b="0">
              <a:latin typeface="Verdana" panose="020B0604030504040204" pitchFamily="34" charset="0"/>
              <a:ea typeface="Verdana" panose="020B0604030504040204" pitchFamily="34" charset="0"/>
              <a:cs typeface="Amatic SC" panose="00000500000000000000" pitchFamily="2" charset="-79"/>
            </a:endParaRPr>
          </a:p>
          <a:p>
            <a:pPr algn="l"/>
            <a:r>
              <a:rPr lang="da-DK" sz="900" b="0">
                <a:latin typeface="Verdana" panose="020B0604030504040204" pitchFamily="34" charset="0"/>
                <a:ea typeface="Verdana" panose="020B0604030504040204" pitchFamily="34" charset="0"/>
                <a:cs typeface="Amatic SC" panose="00000500000000000000" pitchFamily="2" charset="-79"/>
              </a:rPr>
              <a:t>Det pædagogiske personale har peget på en række barrierer, der kan vanskeliggøre det systematiske samarbejde om udvikling af deres praksis. Det sker særligt, når:</a:t>
            </a:r>
          </a:p>
          <a:p>
            <a:pPr algn="l"/>
            <a:endParaRPr lang="da-DK" sz="900" b="0">
              <a:latin typeface="Verdana" panose="020B0604030504040204" pitchFamily="34" charset="0"/>
              <a:ea typeface="Verdana" panose="020B0604030504040204" pitchFamily="34" charset="0"/>
              <a:cs typeface="Amatic SC" panose="00000500000000000000" pitchFamily="2" charset="-79"/>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Quicksand" panose="020B0604020202020204" charset="0"/>
              </a:rPr>
              <a:t>Drøftelserne om udvikling af læringsmiljøet ikke er systematiseret</a:t>
            </a:r>
            <a:r>
              <a:rPr lang="da-DK" sz="900">
                <a:latin typeface="Verdana" panose="020B0604030504040204" pitchFamily="34" charset="0"/>
                <a:ea typeface="Verdana" panose="020B0604030504040204" pitchFamily="34" charset="0"/>
                <a:cs typeface="Quicksand" panose="020B0604020202020204" charset="0"/>
              </a:rPr>
              <a:t>. </a:t>
            </a:r>
            <a:r>
              <a:rPr lang="da-DK" sz="900" b="0" i="0">
                <a:solidFill>
                  <a:srgbClr val="D1D5DB"/>
                </a:solidFill>
                <a:effectLst/>
                <a:latin typeface="Verdana" panose="020B0604030504040204" pitchFamily="34" charset="0"/>
                <a:ea typeface="Verdana" panose="020B0604030504040204" pitchFamily="34" charset="0"/>
              </a:rPr>
              <a:t>På mange skoler mangler en systematisk tilgang til samarbejdet om at udvikle praksis. Cirka en tredjedel af det pædagogiske personale bruger kun i mindre grad data til at analysere elevernes læring og trivsel. De afsætter heller ikke systematisk tid til at analysere praksis og inddrage hinanden i udviklingen af deres egen praksis. Der er behov for en mere struktureret tilgang til teamsamarbejdet, hvor tid til fælles refleksion og analyse prioriteres og planlægges systematisk. </a:t>
            </a:r>
            <a:br>
              <a:rPr lang="da-DK" sz="900" b="0" i="0">
                <a:solidFill>
                  <a:srgbClr val="D1D5DB"/>
                </a:solidFill>
                <a:effectLst/>
                <a:latin typeface="Verdana" panose="020B0604030504040204" pitchFamily="34" charset="0"/>
                <a:ea typeface="Verdana" panose="020B0604030504040204" pitchFamily="34" charset="0"/>
              </a:rPr>
            </a:br>
            <a:endParaRPr lang="da-DK" sz="900" b="1">
              <a:latin typeface="Verdana" panose="020B0604030504040204" pitchFamily="34" charset="0"/>
              <a:ea typeface="Verdana" panose="020B0604030504040204" pitchFamily="34" charset="0"/>
            </a:endParaRPr>
          </a:p>
          <a:p>
            <a:pPr marL="171450" indent="-171450" algn="l">
              <a:buFont typeface="Arial" panose="020B0604020202020204" pitchFamily="34" charset="0"/>
              <a:buChar char="•"/>
            </a:pPr>
            <a:r>
              <a:rPr lang="da-DK" sz="900" b="1">
                <a:latin typeface="Verdana" panose="020B0604030504040204" pitchFamily="34" charset="0"/>
                <a:ea typeface="Verdana" panose="020B0604030504040204" pitchFamily="34" charset="0"/>
              </a:rPr>
              <a:t>Teamet ikke har et fælles mindset og børnesyn: </a:t>
            </a:r>
            <a:r>
              <a:rPr lang="da-DK" sz="900" b="0" i="0">
                <a:solidFill>
                  <a:srgbClr val="D1D5DB"/>
                </a:solidFill>
                <a:effectLst/>
                <a:latin typeface="Verdana" panose="020B0604030504040204" pitchFamily="34" charset="0"/>
                <a:ea typeface="Verdana" panose="020B0604030504040204" pitchFamily="34" charset="0"/>
              </a:rPr>
              <a:t>Det pædagogiske personale påpeger, at teamsamarbejde ikke altid er baseret på et fælles børnesyn og en fælles vision. En lærer udtaler: "Meget af evalueringen af undervisningen i mit team går på narrativer om børnene, og det kan jeg ikke klare. 'Jeg synes, jeg føler, jeg mener'. Vi har brug for at se på, hvad vi ser." Det kan skabe udfordringer for samarbejdet, når der ikke er et fælles børnesyn, fordi kollegaer kan opleve at se børnene forskelligt og ikke være enige om, hvilke løsninger der er på problemerne. Det kan fx skabe udfordringer, hvis man har forskelligt syn på, om fællesskabet eller det enkelte barn bør være i fokus. Nogen peger også på, at der eksisterer et fælles børnesyn, men at udmøntningen af børnesynet varierer meget. </a:t>
            </a:r>
            <a:br>
              <a:rPr lang="da-DK" sz="900">
                <a:latin typeface="Verdana" panose="020B0604030504040204" pitchFamily="34" charset="0"/>
                <a:ea typeface="Verdana" panose="020B0604030504040204" pitchFamily="34" charset="0"/>
                <a:cs typeface="Quicksand" panose="020B0604020202020204" charset="0"/>
              </a:rPr>
            </a:br>
            <a:endParaRPr lang="da-DK" sz="900">
              <a:latin typeface="Verdana" panose="020B0604030504040204" pitchFamily="34" charset="0"/>
              <a:ea typeface="Verdana" panose="020B0604030504040204" pitchFamily="34" charset="0"/>
              <a:cs typeface="Quicksand" panose="020B060402020202020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Hele teamet ikke har fælles viden fra kompetenceudvikling</a:t>
            </a:r>
            <a:r>
              <a:rPr lang="da-DK" sz="900" b="0">
                <a:latin typeface="Verdana" panose="020B0604030504040204" pitchFamily="34" charset="0"/>
                <a:ea typeface="Verdana" panose="020B0604030504040204" pitchFamily="34" charset="0"/>
                <a:cs typeface="Amatic SC" panose="00000500000000000000" pitchFamily="2" charset="-79"/>
              </a:rPr>
              <a:t>: Det pædagogiske personale ser det som en stor fordel, at hele teamet har fælles viden fra kompetenceudvikling, så en eller to teammedlemmer ikke skal overlevere indsigter fra kompetenceudviklingen til det øvrige team. Det skaber en fælles forståelse og referenceramme og bidrager til, at alle er motiveret for at arbejde på nye måder. En lærer fortæller bl.a.: ”</a:t>
            </a:r>
            <a:r>
              <a:rPr lang="da-DK" sz="900">
                <a:latin typeface="Verdana" panose="020B0604030504040204" pitchFamily="34" charset="0"/>
                <a:ea typeface="Verdana" panose="020B0604030504040204" pitchFamily="34" charset="0"/>
              </a:rPr>
              <a:t>Jeg vil ønske, at vores pædagog også havde været med, for så kunne jeg forestille mig, at vi kom til at arbejde mere struktureret, og så er vi alle lidt mere tændte på det.” </a:t>
            </a:r>
            <a:br>
              <a:rPr lang="da-DK" sz="900">
                <a:latin typeface="Verdana" panose="020B0604030504040204" pitchFamily="34" charset="0"/>
                <a:ea typeface="Verdana" panose="020B0604030504040204" pitchFamily="34" charset="0"/>
              </a:rPr>
            </a:br>
            <a:endParaRPr lang="da-DK" sz="900" b="0">
              <a:latin typeface="Verdana" panose="020B0604030504040204" pitchFamily="34" charset="0"/>
              <a:ea typeface="Verdana" panose="020B0604030504040204" pitchFamily="34" charset="0"/>
              <a:cs typeface="Amatic SC" panose="00000500000000000000" pitchFamily="2" charset="-79"/>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Det er svært at få sparring fra vejledere eller PPR: </a:t>
            </a:r>
            <a:r>
              <a:rPr lang="da-DK" sz="900" b="0">
                <a:latin typeface="Verdana" panose="020B0604030504040204" pitchFamily="34" charset="0"/>
                <a:ea typeface="Verdana" panose="020B0604030504040204" pitchFamily="34" charset="0"/>
                <a:cs typeface="Amatic SC" panose="00000500000000000000" pitchFamily="2" charset="-79"/>
              </a:rPr>
              <a:t>En stor del af det pædagogiske personale efterspørger mere specialpædagogisk viden, som de hurtigt kan trække på, når de sidder med dilemmaer i forhold til at skabe deltagelsesmuligheder for alle. Vejledningen kan både komme fra vejledere eller PPR. En pædagog fortæller bl.a.: </a:t>
            </a:r>
            <a:r>
              <a:rPr lang="da-DK" sz="900">
                <a:latin typeface="Verdana" panose="020B0604030504040204" pitchFamily="34" charset="0"/>
                <a:ea typeface="Verdana" panose="020B0604030504040204" pitchFamily="34" charset="0"/>
                <a:cs typeface="Quicksand" panose="020B0604020202020204" charset="0"/>
              </a:rPr>
              <a:t>”En gang imellem så står man der, hvor man tænker, hvad kan man så gøre? Og når vi ikke ved, hvad vi skal gøre, så ville det være rart, at vi kunne få hurtig hjælp.”</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a:latin typeface="Verdana" panose="020B0604030504040204" pitchFamily="34" charset="0"/>
              <a:ea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Dag-til-dag-udfordringer presser sig på: </a:t>
            </a:r>
            <a:r>
              <a:rPr lang="da-DK" sz="900" b="0">
                <a:latin typeface="Verdana" panose="020B0604030504040204" pitchFamily="34" charset="0"/>
                <a:ea typeface="Verdana" panose="020B0604030504040204" pitchFamily="34" charset="0"/>
                <a:cs typeface="Amatic SC" panose="00000500000000000000" pitchFamily="2" charset="-79"/>
              </a:rPr>
              <a:t>Evalueringen viser, at mange lærere kæmper med at finde tid til samarbejde og aktionslæring i en travl hverdag. Et opmærksomhedspunkt bliver derfor at finde løsninger på, hvordan det systematiske arbejde i teams kan organiseres, så teams prioriterer tid til refleksion over praksis. En lærer fortæller bl.a.: </a:t>
            </a:r>
            <a:r>
              <a:rPr lang="da-DK" sz="900">
                <a:latin typeface="Verdana" panose="020B0604030504040204" pitchFamily="34" charset="0"/>
                <a:ea typeface="Verdana" panose="020B0604030504040204" pitchFamily="34" charset="0"/>
                <a:cs typeface="Quicksand" panose="020B0604020202020204" charset="0"/>
              </a:rPr>
              <a:t>”Når der kommer for mange opgaver ind over, som skal løses her og nu, så er der ikke tid til at samarbejde med kollegaer om, at få en god hverdag op at køre sammen med eleverne.”</a:t>
            </a:r>
            <a:endParaRPr lang="da-DK" sz="900">
              <a:latin typeface="Verdana" panose="020B0604030504040204" pitchFamily="34" charset="0"/>
              <a:ea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0">
              <a:latin typeface="Verdana" panose="020B0604030504040204" pitchFamily="34" charset="0"/>
              <a:ea typeface="Verdana" panose="020B0604030504040204" pitchFamily="34" charset="0"/>
              <a:cs typeface="Amatic SC" panose="00000500000000000000" pitchFamily="2" charset="-79"/>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Teamet ikke anvender observationer som genstand for læring</a:t>
            </a:r>
            <a:r>
              <a:rPr lang="da-DK" sz="900" b="0">
                <a:latin typeface="Verdana" panose="020B0604030504040204" pitchFamily="34" charset="0"/>
                <a:ea typeface="Verdana" panose="020B0604030504040204" pitchFamily="34" charset="0"/>
                <a:cs typeface="Amatic SC" panose="00000500000000000000" pitchFamily="2" charset="-79"/>
              </a:rPr>
              <a:t>: Evalueringen tegner et billede af, at observation af undervisningen ikke altid bliver anvendt som genstand for læring. En lærer fortæller bl.a.: </a:t>
            </a:r>
            <a:r>
              <a:rPr lang="da-DK" sz="900">
                <a:latin typeface="Verdana" panose="020B0604030504040204" pitchFamily="34" charset="0"/>
                <a:ea typeface="Verdana" panose="020B0604030504040204" pitchFamily="34" charset="0"/>
                <a:cs typeface="Quicksand" panose="020B0604020202020204" charset="0"/>
              </a:rPr>
              <a:t>” Vores leder har været med i undervisningen og oplevet udfordringerne, men vi kunne godt blive bedre til at bruge de observationer til noget konkret efterfølgende.”</a:t>
            </a:r>
            <a:endParaRPr lang="da-DK" sz="900">
              <a:latin typeface="Verdana" panose="020B0604030504040204" pitchFamily="34" charset="0"/>
              <a:ea typeface="Verdana" panose="020B0604030504040204" pitchFamily="34" charset="0"/>
            </a:endParaRPr>
          </a:p>
          <a:p>
            <a:pPr marL="0" indent="0" algn="l">
              <a:buFont typeface="Arial" panose="020B0604020202020204" pitchFamily="34" charset="0"/>
              <a:buNone/>
            </a:pPr>
            <a:endParaRPr lang="da-DK" sz="900" b="0">
              <a:latin typeface="Verdana" panose="020B0604030504040204" pitchFamily="34" charset="0"/>
              <a:ea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rPr>
              <a:t>Teammedlemmer ikke er forandringsparate</a:t>
            </a:r>
            <a:r>
              <a:rPr lang="da-DK" sz="900" b="0">
                <a:latin typeface="Verdana" panose="020B0604030504040204" pitchFamily="34" charset="0"/>
                <a:ea typeface="Verdana" panose="020B0604030504040204" pitchFamily="34" charset="0"/>
              </a:rPr>
              <a:t>: Evalueringens resultater indikerer, at ikke alle teammedlemmer er indstillet på at afprøve nye metoder og eksperimentere med nye undervisningsformer, fordi man kan opleve, at der bliver sået tvivl om kvaliteten af ens eksisterende praksis. En lærer fortæller bl.a.: </a:t>
            </a:r>
            <a:r>
              <a:rPr lang="da-DK" sz="900">
                <a:latin typeface="Verdana" panose="020B0604030504040204" pitchFamily="34" charset="0"/>
                <a:ea typeface="Verdana" panose="020B0604030504040204" pitchFamily="34" charset="0"/>
                <a:cs typeface="Quicksand" panose="020B0604020202020204" charset="0"/>
              </a:rPr>
              <a:t>”Jeg synes, der skal være mere systematik. Vi har forsøgt at lave en spørgemodel, men den slår folk sig på. Jeg forstår det ikke.”</a:t>
            </a:r>
            <a:endParaRPr lang="da-DK" sz="900">
              <a:latin typeface="Verdana" panose="020B0604030504040204" pitchFamily="34" charset="0"/>
              <a:ea typeface="Verdana" panose="020B0604030504040204" pitchFamily="34" charset="0"/>
            </a:endParaRPr>
          </a:p>
          <a:p>
            <a:pPr marL="228600" indent="-228600" algn="l">
              <a:buAutoNum type="arabicPeriod"/>
            </a:pPr>
            <a:endParaRPr lang="da-DK" sz="900" b="1">
              <a:latin typeface="Verdana" panose="020B0604030504040204" pitchFamily="34" charset="0"/>
              <a:ea typeface="Verdana" panose="020B0604030504040204" pitchFamily="34" charset="0"/>
              <a:cs typeface="Amatic SC" panose="00000500000000000000" pitchFamily="2" charset="-79"/>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b="1">
              <a:latin typeface="Verdana" panose="020B0604030504040204" pitchFamily="34" charset="0"/>
              <a:ea typeface="Verdana" panose="020B0604030504040204" pitchFamily="34" charset="0"/>
              <a:cs typeface="Amatic SC" panose="00000500000000000000" pitchFamily="2" charset="-79"/>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b="1">
              <a:latin typeface="Verdana" panose="020B0604030504040204" pitchFamily="34" charset="0"/>
              <a:ea typeface="Verdana" panose="020B0604030504040204" pitchFamily="34" charset="0"/>
              <a:cs typeface="Amatic SC" panose="00000500000000000000" pitchFamily="2" charset="-79"/>
            </a:endParaRPr>
          </a:p>
          <a:p>
            <a:pPr marL="0" indent="0">
              <a:buFont typeface="Arial" panose="020B0604020202020204" pitchFamily="34" charset="0"/>
              <a:buNone/>
            </a:pPr>
            <a:endParaRPr lang="da-DK" b="0"/>
          </a:p>
        </p:txBody>
      </p:sp>
      <p:sp>
        <p:nvSpPr>
          <p:cNvPr id="4" name="Slide Number Placeholder 3"/>
          <p:cNvSpPr>
            <a:spLocks noGrp="1"/>
          </p:cNvSpPr>
          <p:nvPr>
            <p:ph type="sldNum" sz="quarter" idx="5"/>
          </p:nvPr>
        </p:nvSpPr>
        <p:spPr/>
        <p:txBody>
          <a:bodyPr/>
          <a:lstStyle/>
          <a:p>
            <a:fld id="{1B1D025B-ACD2-45C1-B156-1DDB470CE319}" type="slidenum">
              <a:rPr lang="da-DK" smtClean="0"/>
              <a:pPr/>
              <a:t>31</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4586621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900" b="0">
                <a:latin typeface="Verdana" panose="020B0604030504040204" pitchFamily="34" charset="0"/>
                <a:ea typeface="Verdana" panose="020B0604030504040204" pitchFamily="34" charset="0"/>
                <a:cs typeface="Amatic SC" panose="00000500000000000000" pitchFamily="2" charset="-79"/>
              </a:rPr>
              <a:t>Uddybende noter: </a:t>
            </a:r>
            <a:br>
              <a:rPr lang="da-DK" sz="900" b="0">
                <a:latin typeface="Verdana" panose="020B0604030504040204" pitchFamily="34" charset="0"/>
                <a:ea typeface="Verdana" panose="020B0604030504040204" pitchFamily="34" charset="0"/>
                <a:cs typeface="Amatic SC" panose="00000500000000000000" pitchFamily="2" charset="-79"/>
              </a:rPr>
            </a:br>
            <a:endParaRPr lang="da-DK" sz="900" b="0">
              <a:latin typeface="Verdana" panose="020B0604030504040204" pitchFamily="34" charset="0"/>
              <a:ea typeface="Verdana" panose="020B0604030504040204" pitchFamily="34" charset="0"/>
              <a:cs typeface="Amatic SC" panose="00000500000000000000" pitchFamily="2" charset="-79"/>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900" b="0">
                <a:effectLst/>
                <a:latin typeface="Verdana" panose="020B0604030504040204" pitchFamily="34" charset="0"/>
                <a:ea typeface="Verdana" panose="020B0604030504040204" pitchFamily="34" charset="0"/>
                <a:cs typeface="Times New Roman" panose="02020603050405020304" pitchFamily="18" charset="0"/>
              </a:rPr>
              <a:t>Det kan styrke teamsamarbejdet fremadrettet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b="0">
              <a:effectLst/>
              <a:latin typeface="Verdana" panose="020B0604030504040204" pitchFamily="34" charset="0"/>
              <a:ea typeface="Verdana" panose="020B0604030504040204" pitchFamily="34" charset="0"/>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Udarbejde et fælles børnesyn og drøfte, hvordan børnesynet omsættes i praksis: </a:t>
            </a:r>
            <a:r>
              <a:rPr lang="da-DK" sz="900" b="0" i="0">
                <a:solidFill>
                  <a:srgbClr val="D1D5DB"/>
                </a:solidFill>
                <a:effectLst/>
                <a:latin typeface="Verdana" panose="020B0604030504040204" pitchFamily="34" charset="0"/>
                <a:ea typeface="Verdana" panose="020B0604030504040204" pitchFamily="34" charset="0"/>
                <a:cs typeface="Amatic SC" panose="00000500000000000000" pitchFamily="2" charset="-79"/>
              </a:rPr>
              <a:t>Evalueringen indikerer, at skolerne bør arbejde med at </a:t>
            </a:r>
            <a:r>
              <a:rPr lang="da-DK" sz="900" b="0" i="0">
                <a:solidFill>
                  <a:srgbClr val="D1D5DB"/>
                </a:solidFill>
                <a:effectLst/>
                <a:latin typeface="Verdana" panose="020B0604030504040204" pitchFamily="34" charset="0"/>
                <a:ea typeface="Verdana" panose="020B0604030504040204" pitchFamily="34" charset="0"/>
              </a:rPr>
              <a:t>udarbejde et fælles børnesyn, da det er afgørende for teamsamarbejdet om at skabe deltagelsesmuligheder for alle. I den forbindelse er det vigtigt, at det pædagogiske personale bliver inddraget i arbejdet og drøfter, hvordan deres børnesyn omsættes i praksis. Mange peger nemlig på, at deres skole har et fælles børnesyn, men at børnesynet ikke bliver omsat i deres dialoger på teammøder og i udviklingen af praksi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1">
              <a:latin typeface="Verdana" panose="020B0604030504040204" pitchFamily="34" charset="0"/>
              <a:ea typeface="Verdana" panose="020B0604030504040204" pitchFamily="34" charset="0"/>
              <a:cs typeface="Amatic SC"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Udarbejde en observationskontrakt for at overkomme frygten for at blive observeret: </a:t>
            </a:r>
            <a:r>
              <a:rPr lang="da-DK" sz="900" b="0" i="0">
                <a:solidFill>
                  <a:srgbClr val="D1D5DB"/>
                </a:solidFill>
                <a:effectLst/>
                <a:latin typeface="Verdana" panose="020B0604030504040204" pitchFamily="34" charset="0"/>
                <a:ea typeface="Verdana" panose="020B0604030504040204" pitchFamily="34" charset="0"/>
              </a:rPr>
              <a:t>Nogle blandt det pædagogiske personale finder det ubehageligt at lade andre (fx vejledere eller ledelsen) observere deres undervisning. En leder siger: "De stod på bagben, da jeg sagde, at jeg ville observere undervisningen. De troede, det var for at finde fejl." På skoler hvor observation fungerer godt, har ledelsen klart kommunikeret, at målet ikke er at finde fejl eller kritisere, men derimod at støtte undervisernes arbejde med at nytænke og udvikle deres praksis. For at overkomme frygten for at blive observeret, fortæller enkelte skoler også, hvordan de har arbejdet med en observationskontrakt, som de anvender til at afklare, hvad genstandsfeltet er for observationen. Ifølge vejlederne er det afgørende for, at observationen er tryg og værdifuld for begge parter.</a:t>
            </a:r>
            <a:br>
              <a:rPr lang="da-DK" sz="900" b="1">
                <a:latin typeface="Verdana" panose="020B0604030504040204" pitchFamily="34" charset="0"/>
                <a:ea typeface="Verdana" panose="020B0604030504040204" pitchFamily="34" charset="0"/>
                <a:cs typeface="Amatic SC" panose="00000500000000000000" pitchFamily="2" charset="-79"/>
              </a:rPr>
            </a:br>
            <a:endParaRPr lang="da-DK" sz="900" b="1">
              <a:latin typeface="Verdana" panose="020B0604030504040204" pitchFamily="34" charset="0"/>
              <a:ea typeface="Verdana" panose="020B0604030504040204" pitchFamily="34" charset="0"/>
              <a:cs typeface="Amatic SC"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Indsamle og anvende data til vurdere praksis og at nå frem til ”næste bedste skridt” i udviklingsprocessen: </a:t>
            </a:r>
            <a:r>
              <a:rPr lang="da-DK" sz="900" b="0" i="0">
                <a:solidFill>
                  <a:srgbClr val="D1D5DB"/>
                </a:solidFill>
                <a:effectLst/>
                <a:latin typeface="Verdana" panose="020B0604030504040204" pitchFamily="34" charset="0"/>
                <a:ea typeface="Verdana" panose="020B0604030504040204" pitchFamily="34" charset="0"/>
                <a:cs typeface="Amatic SC" panose="00000500000000000000" pitchFamily="2" charset="-79"/>
              </a:rPr>
              <a:t>Teams bør fremadrettet arbejde med at</a:t>
            </a:r>
            <a:r>
              <a:rPr lang="da-DK" sz="900" b="0" i="0">
                <a:solidFill>
                  <a:srgbClr val="D1D5DB"/>
                </a:solidFill>
                <a:effectLst/>
                <a:latin typeface="Verdana" panose="020B0604030504040204" pitchFamily="34" charset="0"/>
                <a:ea typeface="Verdana" panose="020B0604030504040204" pitchFamily="34" charset="0"/>
              </a:rPr>
              <a:t> indsamle og anvende data til at vurdere deres eksisterende praksis. Evalueringen viser, at indsamling og refleksion over data fra prøvehandlingerne er motiverende og vigtigt for at sikre fremdrift i praksisudviklingen. </a:t>
            </a:r>
            <a:br>
              <a:rPr lang="da-DK" sz="900" b="1">
                <a:latin typeface="Verdana" panose="020B0604030504040204" pitchFamily="34" charset="0"/>
                <a:ea typeface="Verdana" panose="020B0604030504040204" pitchFamily="34" charset="0"/>
                <a:cs typeface="Amatic SC" panose="00000500000000000000" pitchFamily="2" charset="-79"/>
              </a:rPr>
            </a:br>
            <a:endParaRPr lang="da-DK" sz="900" b="1">
              <a:latin typeface="Verdana" panose="020B0604030504040204" pitchFamily="34" charset="0"/>
              <a:ea typeface="Verdana" panose="020B0604030504040204" pitchFamily="34" charset="0"/>
              <a:cs typeface="Amatic SC"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Dele viden på tværs af teams om gode værktøjer og metoder til at systematisere drøftelser på møder: </a:t>
            </a:r>
            <a:r>
              <a:rPr lang="da-DK" sz="900" b="0">
                <a:latin typeface="Verdana" panose="020B0604030504040204" pitchFamily="34" charset="0"/>
                <a:ea typeface="Verdana" panose="020B0604030504040204" pitchFamily="34" charset="0"/>
                <a:cs typeface="Amatic SC" panose="00000500000000000000" pitchFamily="2" charset="-79"/>
              </a:rPr>
              <a:t>Evalueringen peger på, at der er behov for at videndele mere på tværs af teams. det pædagogiske personale peger også på, at det er motiverende at blive introduceret for nye værktøjer og metoder. Derfor kan skolerne med fordel fokusere på at videndele på skolen om konkrete og virkningsfulde værktøjer. En lærer påpeger i den forbindelse, at systematisk videndeling på tværs af teams styrker den fælles praksis og skaber genkendelighed for eleverne, når de skifter klassetrin.</a:t>
            </a:r>
            <a:br>
              <a:rPr lang="da-DK" sz="900" b="1">
                <a:latin typeface="Verdana" panose="020B0604030504040204" pitchFamily="34" charset="0"/>
                <a:ea typeface="Verdana" panose="020B0604030504040204" pitchFamily="34" charset="0"/>
                <a:cs typeface="Amatic SC" panose="00000500000000000000" pitchFamily="2" charset="-79"/>
              </a:rPr>
            </a:br>
            <a:endParaRPr lang="da-DK" sz="900" b="1">
              <a:latin typeface="Verdana" panose="020B0604030504040204" pitchFamily="34" charset="0"/>
              <a:ea typeface="Verdana" panose="020B0604030504040204" pitchFamily="34" charset="0"/>
              <a:cs typeface="Amatic SC"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Sætte tid af til at analysere praksis på teammøderne, så der skabes rum til refleksion: </a:t>
            </a:r>
            <a:r>
              <a:rPr lang="da-DK" sz="900" b="0">
                <a:latin typeface="Verdana" panose="020B0604030504040204" pitchFamily="34" charset="0"/>
                <a:ea typeface="Verdana" panose="020B0604030504040204" pitchFamily="34" charset="0"/>
                <a:cs typeface="Amatic SC" panose="00000500000000000000" pitchFamily="2" charset="-79"/>
              </a:rPr>
              <a:t>Teams kan fremadrettet arbejde med at sætte tid af til at analysere praksis på teammøder, så møderne bliver et refleksionsrum for at skabe forandringer i praksis. Det kan eksempelvis være ved hjælp af faste strukturer for teammøder eller refleksionsspørgsmål, som man arbejder med på teammøderne.</a:t>
            </a:r>
            <a:br>
              <a:rPr lang="da-DK" sz="900" b="1">
                <a:latin typeface="Verdana" panose="020B0604030504040204" pitchFamily="34" charset="0"/>
                <a:ea typeface="Verdana" panose="020B0604030504040204" pitchFamily="34" charset="0"/>
                <a:cs typeface="Amatic SC" panose="00000500000000000000" pitchFamily="2" charset="-79"/>
              </a:rPr>
            </a:br>
            <a:endParaRPr lang="da-DK" sz="900" b="1">
              <a:latin typeface="Verdana" panose="020B0604030504040204" pitchFamily="34" charset="0"/>
              <a:ea typeface="Verdana" panose="020B0604030504040204" pitchFamily="34" charset="0"/>
              <a:cs typeface="Amatic SC"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Styrke teamenes adgang til sparring fra vejledere og PPR: </a:t>
            </a:r>
            <a:r>
              <a:rPr lang="da-DK" sz="900" b="0" i="0">
                <a:solidFill>
                  <a:srgbClr val="D1D5DB"/>
                </a:solidFill>
                <a:effectLst/>
                <a:latin typeface="Verdana" panose="020B0604030504040204" pitchFamily="34" charset="0"/>
                <a:ea typeface="Verdana" panose="020B0604030504040204" pitchFamily="34" charset="0"/>
              </a:rPr>
              <a:t>Evalueringen indikerer, at skolerne bør arbejde aktivt på at styrke teamenes adgang til og samarbejde med vejledere og PPR. det pædagogiske personale oplever udfordringer med at omsætte deres viden og kompetencer i hverdagen - især når de arbejder med elever med fx autisme. Udfordringen bør fremadrettet imødekommes gennem øget samarbejde med UCN og PPR. Derudover er det tydeligt, at en målrettet indsats for at fremme specialpædagogisk viden og kompetencer vil have positive effekter på skolens praksis. Ledelsen på skolerne bør derfor understøtte teamenes samarbejde med vejledere og PPR for at sikre større tværfagligt samarbejde.</a:t>
            </a:r>
            <a:endParaRPr lang="da-DK" sz="900">
              <a:latin typeface="Verdana" panose="020B0604030504040204" pitchFamily="34" charset="0"/>
              <a:ea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b="0">
              <a:latin typeface="Verdana" panose="020B0604030504040204" pitchFamily="34" charset="0"/>
              <a:ea typeface="Verdana" panose="020B0604030504040204" pitchFamily="34" charset="0"/>
              <a:cs typeface="Amatic SC" panose="00000500000000000000" pitchFamily="2" charset="-79"/>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b="0">
              <a:latin typeface="Verdana" panose="020B0604030504040204" pitchFamily="34" charset="0"/>
              <a:ea typeface="Verdana" panose="020B0604030504040204" pitchFamily="34" charset="0"/>
              <a:cs typeface="Amatic SC" panose="00000500000000000000" pitchFamily="2" charset="-79"/>
            </a:endParaRPr>
          </a:p>
          <a:p>
            <a:pPr marL="0" indent="0">
              <a:buFont typeface="Arial" panose="020B0604020202020204" pitchFamily="34" charset="0"/>
              <a:buNone/>
            </a:pPr>
            <a:endParaRPr lang="da-DK" b="0"/>
          </a:p>
        </p:txBody>
      </p:sp>
      <p:sp>
        <p:nvSpPr>
          <p:cNvPr id="4" name="Slide Number Placeholder 3"/>
          <p:cNvSpPr>
            <a:spLocks noGrp="1"/>
          </p:cNvSpPr>
          <p:nvPr>
            <p:ph type="sldNum" sz="quarter" idx="5"/>
          </p:nvPr>
        </p:nvSpPr>
        <p:spPr/>
        <p:txBody>
          <a:bodyPr/>
          <a:lstStyle/>
          <a:p>
            <a:fld id="{1B1D025B-ACD2-45C1-B156-1DDB470CE319}" type="slidenum">
              <a:rPr lang="da-DK" smtClean="0"/>
              <a:pPr/>
              <a:t>32</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4741273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da-DK" b="0"/>
          </a:p>
        </p:txBody>
      </p:sp>
      <p:sp>
        <p:nvSpPr>
          <p:cNvPr id="4" name="Slide Number Placeholder 3"/>
          <p:cNvSpPr>
            <a:spLocks noGrp="1"/>
          </p:cNvSpPr>
          <p:nvPr>
            <p:ph type="sldNum" sz="quarter" idx="5"/>
          </p:nvPr>
        </p:nvSpPr>
        <p:spPr/>
        <p:txBody>
          <a:bodyPr/>
          <a:lstStyle/>
          <a:p>
            <a:fld id="{1B1D025B-ACD2-45C1-B156-1DDB470CE319}" type="slidenum">
              <a:rPr lang="da-DK" smtClean="0"/>
              <a:pPr/>
              <a:t>33</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8723054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0"/>
        <p:cNvGrpSpPr/>
        <p:nvPr/>
      </p:nvGrpSpPr>
      <p:grpSpPr>
        <a:xfrm>
          <a:off x="0" y="0"/>
          <a:ext cx="0" cy="0"/>
          <a:chOff x="0" y="0"/>
          <a:chExt cx="0" cy="0"/>
        </a:xfrm>
      </p:grpSpPr>
      <p:sp>
        <p:nvSpPr>
          <p:cNvPr id="691" name="Google Shape;691;g35f391192_00:notes"/>
          <p:cNvSpPr>
            <a:spLocks noGrp="1" noRot="1" noChangeAspect="1"/>
          </p:cNvSpPr>
          <p:nvPr>
            <p:ph type="sldImg" idx="2"/>
          </p:nvPr>
        </p:nvSpPr>
        <p:spPr>
          <a:xfrm>
            <a:off x="-349250" y="808038"/>
            <a:ext cx="7183438" cy="40417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2" name="Google Shape;692;g35f391192_00:notes"/>
          <p:cNvSpPr txBox="1">
            <a:spLocks noGrp="1"/>
          </p:cNvSpPr>
          <p:nvPr>
            <p:ph type="body" idx="1"/>
          </p:nvPr>
        </p:nvSpPr>
        <p:spPr>
          <a:xfrm>
            <a:off x="648539" y="5118725"/>
            <a:ext cx="5188303" cy="4849318"/>
          </a:xfrm>
          <a:prstGeom prst="rect">
            <a:avLst/>
          </a:prstGeom>
        </p:spPr>
        <p:txBody>
          <a:bodyPr spcFirstLastPara="1" wrap="square" lIns="91425" tIns="91425" rIns="91425" bIns="91425" anchor="t" anchorCtr="0">
            <a:noAutofit/>
          </a:bodyPr>
          <a:lstStyle/>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0" lvl="0" indent="0" algn="l">
              <a:spcBef>
                <a:spcPts val="0"/>
              </a:spcBef>
              <a:spcAft>
                <a:spcPts val="0"/>
              </a:spcAft>
              <a:buNone/>
            </a:pPr>
            <a:endParaRPr lang="da-DK"/>
          </a:p>
        </p:txBody>
      </p:sp>
    </p:spTree>
    <p:extLst>
      <p:ext uri="{BB962C8B-B14F-4D97-AF65-F5344CB8AC3E}">
        <p14:creationId xmlns:p14="http://schemas.microsoft.com/office/powerpoint/2010/main" val="10902879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900">
                <a:latin typeface="Verdana" panose="020B0604030504040204" pitchFamily="34" charset="0"/>
                <a:ea typeface="Verdana" panose="020B0604030504040204" pitchFamily="34" charset="0"/>
              </a:rPr>
              <a:t>Uddybende noter: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a:latin typeface="Verdana" panose="020B0604030504040204" pitchFamily="34" charset="0"/>
              <a:ea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900" b="0">
                <a:latin typeface="Verdana" panose="020B0604030504040204" pitchFamily="34" charset="0"/>
                <a:ea typeface="Verdana" panose="020B0604030504040204" pitchFamily="34" charset="0"/>
              </a:rPr>
              <a:t>I relation til ledelsens rolle i praksis, oplever det pædagogiske personale,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1">
              <a:solidFill>
                <a:schemeClr val="tx1"/>
              </a:solidFill>
              <a:latin typeface="Verdana" panose="020B0604030504040204" pitchFamily="34" charset="0"/>
              <a:ea typeface="Verdana" panose="020B0604030504040204" pitchFamily="34" charset="0"/>
              <a:cs typeface="Amatic SC"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solidFill>
                  <a:schemeClr val="tx1"/>
                </a:solidFill>
                <a:latin typeface="Verdana" panose="020B0604030504040204" pitchFamily="34" charset="0"/>
                <a:ea typeface="Verdana" panose="020B0604030504040204" pitchFamily="34" charset="0"/>
                <a:cs typeface="Amatic SC" panose="00000500000000000000" pitchFamily="2" charset="-79"/>
              </a:rPr>
              <a:t>Ledelsen bakker op om og sætter retning for arbejdet med at skabe deltagelsesmuligheder for alle: </a:t>
            </a:r>
            <a:r>
              <a:rPr lang="da-DK" sz="900" b="0">
                <a:solidFill>
                  <a:schemeClr val="tx1"/>
                </a:solidFill>
                <a:latin typeface="Verdana" panose="020B0604030504040204" pitchFamily="34" charset="0"/>
                <a:ea typeface="Verdana" panose="020B0604030504040204" pitchFamily="34" charset="0"/>
                <a:cs typeface="Amatic SC" panose="00000500000000000000" pitchFamily="2" charset="-79"/>
              </a:rPr>
              <a:t>Flere blandt det pædagogiske personale giver udtryk for, at l</a:t>
            </a:r>
            <a:r>
              <a:rPr lang="da-DK" sz="900" b="0" i="0">
                <a:solidFill>
                  <a:srgbClr val="D1D5DB"/>
                </a:solidFill>
                <a:effectLst/>
                <a:latin typeface="Verdana" panose="020B0604030504040204" pitchFamily="34" charset="0"/>
                <a:ea typeface="Verdana" panose="020B0604030504040204" pitchFamily="34" charset="0"/>
              </a:rPr>
              <a:t>edelsen spiller en central rolle i at sikre, at arbejdet med at skabe deltagelsesmuligheder for alle elever er en prioritet på skolen. Ifølge det pædagogiske personale er deres opbakning og evne til at sætte en klar retning afgørende for, at ”der ikke går hverdag i den som med mange andre projekter”. Der er også nogle eksempler på, at ledelsen ikke i tilstrækkelig grad informerer det pædagogiske personale om arbejdet med Den mangfoldige folkeskole, og det pædagogiske personale på disse skoler er generelt i tvivl om, hvad formålet med indsatsen er, og hvilken rolle de forventes at spille i arbejdet med at skabe deltagelsesmuligheder for alle. Det gælder særligt vejlederne på disse skoler.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b="1">
              <a:solidFill>
                <a:schemeClr val="tx1"/>
              </a:solidFill>
              <a:latin typeface="Verdana" panose="020B0604030504040204" pitchFamily="34" charset="0"/>
              <a:ea typeface="Verdana" panose="020B0604030504040204" pitchFamily="34" charset="0"/>
              <a:cs typeface="Amatic SC"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solidFill>
                  <a:schemeClr val="tx1"/>
                </a:solidFill>
                <a:latin typeface="Verdana" panose="020B0604030504040204" pitchFamily="34" charset="0"/>
                <a:ea typeface="Verdana" panose="020B0604030504040204" pitchFamily="34" charset="0"/>
                <a:cs typeface="Amatic SC" panose="00000500000000000000" pitchFamily="2" charset="-79"/>
              </a:rPr>
              <a:t>D</a:t>
            </a:r>
            <a:r>
              <a:rPr lang="da-DK" sz="900" b="1">
                <a:latin typeface="Verdana" panose="020B0604030504040204" pitchFamily="34" charset="0"/>
                <a:ea typeface="Verdana" panose="020B0604030504040204" pitchFamily="34" charset="0"/>
                <a:cs typeface="Amatic SC" panose="00000500000000000000" pitchFamily="2" charset="-79"/>
              </a:rPr>
              <a:t>eres nærmeste leder motiverer dem til at arbejde med at skabe deltagelsesmuligheder for alle elever: </a:t>
            </a:r>
            <a:r>
              <a:rPr lang="da-DK" sz="900" b="0">
                <a:latin typeface="Verdana" panose="020B0604030504040204" pitchFamily="34" charset="0"/>
                <a:ea typeface="Verdana" panose="020B0604030504040204" pitchFamily="34" charset="0"/>
                <a:cs typeface="Amatic SC" panose="00000500000000000000" pitchFamily="2" charset="-79"/>
              </a:rPr>
              <a:t>Spørgeskemaundersøgelsen viser, at t</a:t>
            </a:r>
            <a:r>
              <a:rPr lang="da-DK" sz="900" b="0">
                <a:latin typeface="Verdana" panose="020B0604030504040204" pitchFamily="34" charset="0"/>
                <a:ea typeface="Verdana" panose="020B0604030504040204" pitchFamily="34" charset="0"/>
                <a:cs typeface="+mn-cs"/>
                <a:sym typeface="Quicksand"/>
              </a:rPr>
              <a:t>o ud af tre medarbejdere, er enige i, at deres nærmeste leder motiverer dem til at arbejde med at skabe deltagelsesmuligheder for alle. I interviews fortæller det pædagogiske personale generelt, at de oplever, at ledelsen prioriterer arbejdet med at skabe deltagelsesmuligheder for alle og italesætter vigtigheden af det. </a:t>
            </a:r>
            <a:endParaRPr lang="da-DK" sz="900" b="1">
              <a:latin typeface="Verdana" panose="020B0604030504040204" pitchFamily="34" charset="0"/>
              <a:ea typeface="Verdana" panose="020B0604030504040204" pitchFamily="34" charset="0"/>
              <a:cs typeface="Amatic SC"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1">
              <a:latin typeface="Verdana" panose="020B0604030504040204" pitchFamily="34" charset="0"/>
              <a:ea typeface="Verdana" panose="020B0604030504040204" pitchFamily="34" charset="0"/>
              <a:cs typeface="Amatic SC"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Amatic SC" panose="00000500000000000000" pitchFamily="2" charset="-79"/>
              </a:rPr>
              <a:t>Der på deres skole er en klar vision eller et fælles mål for arbejdet med at skabe deltagelsesmuligheder for alle elever: </a:t>
            </a:r>
            <a:r>
              <a:rPr lang="da-DK" sz="900" b="0">
                <a:latin typeface="Verdana" panose="020B0604030504040204" pitchFamily="34" charset="0"/>
                <a:ea typeface="Verdana" panose="020B0604030504040204" pitchFamily="34" charset="0"/>
                <a:cs typeface="Amatic SC" panose="00000500000000000000" pitchFamily="2" charset="-79"/>
              </a:rPr>
              <a:t>Resultater fra evalueringen viser, at to tredjedele af det pædagogiske personale er enige </a:t>
            </a:r>
            <a:r>
              <a:rPr lang="da-DK" sz="900" b="0">
                <a:latin typeface="Verdana" panose="020B0604030504040204" pitchFamily="34" charset="0"/>
                <a:ea typeface="Verdana" panose="020B0604030504040204" pitchFamily="34" charset="0"/>
                <a:cs typeface="+mn-cs"/>
                <a:sym typeface="Quicksand"/>
              </a:rPr>
              <a:t>i, at der er en klar vision eller et fælles mål for arbejdet med at skabe deltagelsesmuligheder for alle elev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1">
              <a:latin typeface="Verdana" panose="020B0604030504040204" pitchFamily="34" charset="0"/>
              <a:ea typeface="Verdana" panose="020B0604030504040204" pitchFamily="34" charset="0"/>
              <a:cs typeface="Amatic SC" panose="00000500000000000000" pitchFamily="2" charset="-79"/>
            </a:endParaRPr>
          </a:p>
        </p:txBody>
      </p:sp>
      <p:sp>
        <p:nvSpPr>
          <p:cNvPr id="4" name="Slide Number Placeholder 3"/>
          <p:cNvSpPr>
            <a:spLocks noGrp="1"/>
          </p:cNvSpPr>
          <p:nvPr>
            <p:ph type="sldNum" sz="quarter" idx="5"/>
          </p:nvPr>
        </p:nvSpPr>
        <p:spPr/>
        <p:txBody>
          <a:bodyPr/>
          <a:lstStyle/>
          <a:p>
            <a:fld id="{1B1D025B-ACD2-45C1-B156-1DDB470CE319}" type="slidenum">
              <a:rPr lang="da-DK" smtClean="0"/>
              <a:pPr/>
              <a:t>35</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834901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ts val="1300"/>
              </a:lnSpc>
              <a:buFont typeface="Symbol" panose="05050102010706020507" pitchFamily="18" charset="2"/>
              <a:buNone/>
            </a:pPr>
            <a:r>
              <a:rPr lang="da-DK" sz="900">
                <a:latin typeface="Verdana" panose="020B0604030504040204" pitchFamily="34" charset="0"/>
                <a:ea typeface="Verdana" panose="020B0604030504040204" pitchFamily="34" charset="0"/>
              </a:rPr>
              <a:t>Uddybende noter: </a:t>
            </a:r>
          </a:p>
          <a:p>
            <a:pPr marL="0" lvl="0" indent="0" algn="l">
              <a:spcBef>
                <a:spcPts val="0"/>
              </a:spcBef>
              <a:spcAft>
                <a:spcPts val="0"/>
              </a:spcAft>
              <a:buFont typeface="Arial" panose="020B0604020202020204" pitchFamily="34" charset="0"/>
              <a:buNone/>
            </a:pPr>
            <a:endParaRPr lang="da-DK" sz="900" b="0">
              <a:latin typeface="Verdana" panose="020B0604030504040204" pitchFamily="34" charset="0"/>
              <a:ea typeface="Verdana" panose="020B0604030504040204" pitchFamily="34" charset="0"/>
              <a:cs typeface="+mn-cs"/>
              <a:sym typeface="Quicksand"/>
            </a:endParaRPr>
          </a:p>
          <a:p>
            <a:pPr marL="0" lvl="0" indent="0" algn="l">
              <a:spcBef>
                <a:spcPts val="0"/>
              </a:spcBef>
              <a:spcAft>
                <a:spcPts val="0"/>
              </a:spcAft>
              <a:buFont typeface="Arial" panose="020B0604020202020204" pitchFamily="34" charset="0"/>
              <a:buNone/>
            </a:pPr>
            <a:r>
              <a:rPr lang="da-DK" sz="900" b="0">
                <a:latin typeface="Verdana" panose="020B0604030504040204" pitchFamily="34" charset="0"/>
                <a:ea typeface="Verdana" panose="020B0604030504040204" pitchFamily="34" charset="0"/>
                <a:cs typeface="+mn-cs"/>
                <a:sym typeface="Quicksand"/>
              </a:rPr>
              <a:t>Evalueringen peger på en række forhold omkring ledelsen, der har vist sig at fungere godt i udrulningen af Den Mangfoldige Folkeskole. Det fungerer bl.a. godt, når ledelsen: </a:t>
            </a:r>
          </a:p>
          <a:p>
            <a:pPr marL="0" lvl="0" indent="0" algn="l">
              <a:spcBef>
                <a:spcPts val="0"/>
              </a:spcBef>
              <a:spcAft>
                <a:spcPts val="0"/>
              </a:spcAft>
              <a:buFont typeface="Arial" panose="020B0604020202020204" pitchFamily="34" charset="0"/>
              <a:buNone/>
            </a:pPr>
            <a:endParaRPr lang="da-DK" sz="900" b="0">
              <a:latin typeface="Verdana" panose="020B0604030504040204" pitchFamily="34" charset="0"/>
              <a:ea typeface="Verdana" panose="020B0604030504040204" pitchFamily="34" charset="0"/>
              <a:cs typeface="+mn-cs"/>
              <a:sym typeface="Quicksand"/>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rPr>
              <a:t>Går tæt på praksis og involverer sig aktivt i udviklingen af læringsmiljøer, der skaber deltagelsesmuligheder for alle elever: </a:t>
            </a:r>
            <a:r>
              <a:rPr lang="da-DK" sz="900" b="0" i="0" u="none" strike="noStrike">
                <a:solidFill>
                  <a:srgbClr val="273F68"/>
                </a:solidFill>
                <a:effectLst/>
                <a:latin typeface="Verdana" panose="020B0604030504040204" pitchFamily="34" charset="0"/>
                <a:ea typeface="Verdana" panose="020B0604030504040204" pitchFamily="34" charset="0"/>
                <a:sym typeface="Quicksand"/>
              </a:rPr>
              <a:t>Resultaterne indikerer, at både ledere og det pædagogiske personale er enige om at skolelederne bør være tæt på praksisudviklingen. På den måde kan de bedst bidrage med sparring og vejledning, have en finger på pulsen af udviklingsarbejdet, og samtidig italesætte et </a:t>
            </a:r>
            <a:r>
              <a:rPr lang="da-DK" sz="900" b="0" i="0" u="none" strike="noStrike">
                <a:solidFill>
                  <a:srgbClr val="FFFFFF"/>
                </a:solidFill>
                <a:effectLst/>
                <a:latin typeface="Verdana" panose="020B0604030504040204" pitchFamily="34" charset="0"/>
                <a:ea typeface="Verdana" panose="020B0604030504040204" pitchFamily="34" charset="0"/>
              </a:rPr>
              <a:t>fælles sprog på skolen for, hvordan arbejdet med ”Den Mangfoldige Folkeskole” udvikler sig og fremadrettet kan styrk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0" i="0" u="none" strike="noStrike">
              <a:solidFill>
                <a:srgbClr val="FFFFFF"/>
              </a:solidFill>
              <a:effectLst/>
              <a:latin typeface="Verdana" panose="020B0604030504040204" pitchFamily="34" charset="0"/>
              <a:ea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rPr>
              <a:t>Gør det klart, hvordan arbejdet med "Den mangfoldige folkeskole" kvalificerer og understøtter skolens eksisterende fokus</a:t>
            </a:r>
            <a:r>
              <a:rPr lang="da-DK" sz="900" b="1">
                <a:latin typeface="Verdana" panose="020B0604030504040204" pitchFamily="34" charset="0"/>
                <a:ea typeface="Verdana" panose="020B0604030504040204" pitchFamily="34" charset="0"/>
                <a:cs typeface="+mn-cs"/>
                <a:sym typeface="Quicksand"/>
              </a:rPr>
              <a:t>: </a:t>
            </a:r>
            <a:r>
              <a:rPr lang="da-DK" sz="900" b="0">
                <a:latin typeface="Verdana" panose="020B0604030504040204" pitchFamily="34" charset="0"/>
                <a:ea typeface="Verdana" panose="020B0604030504040204" pitchFamily="34" charset="0"/>
                <a:cs typeface="+mn-cs"/>
                <a:sym typeface="Quicksand"/>
              </a:rPr>
              <a:t>Dette skaber en forståelse og motivation blandt personalet, når de kan se, hvordan projektet passer ind i og styrker deres nuværende praksis. Samtidig bidrager det også til en oplevelse af, at det handler om at udnytte deres allerede eksisterende kompetencer bedre, da de kan anvende deres nuværende færdigheder og viden i forbindelse med det nye initiativ. </a:t>
            </a:r>
          </a:p>
          <a:p>
            <a:pPr marL="0" marR="0" lvl="0" indent="0" algn="l" defTabSz="914400" rtl="0" eaLnBrk="1" fontAlgn="auto" latinLnBrk="0" hangingPunct="1">
              <a:lnSpc>
                <a:spcPts val="1300"/>
              </a:lnSpc>
              <a:spcBef>
                <a:spcPts val="0"/>
              </a:spcBef>
              <a:spcAft>
                <a:spcPts val="0"/>
              </a:spcAft>
              <a:buClrTx/>
              <a:buSzTx/>
              <a:buFont typeface="Symbol" panose="05050102010706020507" pitchFamily="18" charset="2"/>
              <a:buNone/>
              <a:tabLst/>
              <a:defRPr/>
            </a:pPr>
            <a:endParaRPr lang="da-DK" sz="900" b="1" noProof="0">
              <a:latin typeface="Verdana" panose="020B0604030504040204" pitchFamily="34" charset="0"/>
              <a:ea typeface="Verdana" panose="020B0604030504040204" pitchFamily="34" charset="0"/>
            </a:endParaRPr>
          </a:p>
          <a:p>
            <a:pPr marL="1714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lang="da-DK" sz="900" b="1" noProof="0">
                <a:latin typeface="Verdana" panose="020B0604030504040204" pitchFamily="34" charset="0"/>
                <a:ea typeface="Verdana" panose="020B0604030504040204" pitchFamily="34" charset="0"/>
              </a:rPr>
              <a:t>Tydeliggør, hvordan arbejdet med Den Mangfoldige Folkeskole konkret bidrager til at forbedre praksis: </a:t>
            </a:r>
            <a:r>
              <a:rPr lang="da-DK" sz="900" b="0" noProof="0">
                <a:latin typeface="Verdana" panose="020B0604030504040204" pitchFamily="34" charset="0"/>
                <a:ea typeface="Verdana" panose="020B0604030504040204" pitchFamily="34" charset="0"/>
              </a:rPr>
              <a:t>Det er vigtigt at fokusere på, hvordan arbejdet med aktionslæringsforløbene forbedrer praksis, da det hjælper det pædagogiske personale med at se formålet med og den umiddelbare relevans af deres indsats. </a:t>
            </a:r>
          </a:p>
          <a:p>
            <a:pPr marL="0" marR="0" lvl="0" indent="0" algn="l" defTabSz="914400" rtl="0" eaLnBrk="1" fontAlgn="auto" latinLnBrk="0" hangingPunct="1">
              <a:lnSpc>
                <a:spcPts val="1300"/>
              </a:lnSpc>
              <a:spcBef>
                <a:spcPts val="0"/>
              </a:spcBef>
              <a:spcAft>
                <a:spcPts val="0"/>
              </a:spcAft>
              <a:buClrTx/>
              <a:buSzTx/>
              <a:buFont typeface="Symbol" panose="05050102010706020507" pitchFamily="18" charset="2"/>
              <a:buNone/>
              <a:tabLst/>
              <a:defRPr/>
            </a:pPr>
            <a:endParaRPr lang="da-DK" sz="900" b="0" noProof="0">
              <a:latin typeface="Verdana" panose="020B0604030504040204" pitchFamily="34" charset="0"/>
              <a:ea typeface="Verdana" panose="020B0604030504040204" pitchFamily="34" charset="0"/>
            </a:endParaRPr>
          </a:p>
          <a:p>
            <a:pPr marL="1714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lang="da-DK" sz="900" b="1" noProof="0">
                <a:latin typeface="Verdana" panose="020B0604030504040204" pitchFamily="34" charset="0"/>
                <a:ea typeface="Verdana" panose="020B0604030504040204" pitchFamily="34" charset="0"/>
              </a:rPr>
              <a:t>Prioriterer, at medarbejderne kan dele succeser og udfordringer i arbejdet med aktionslæring på tværs af teams: </a:t>
            </a:r>
            <a:r>
              <a:rPr lang="da-DK" sz="900" b="0" noProof="0">
                <a:latin typeface="Verdana" panose="020B0604030504040204" pitchFamily="34" charset="0"/>
                <a:ea typeface="Verdana" panose="020B0604030504040204" pitchFamily="34" charset="0"/>
              </a:rPr>
              <a:t>Det er afgørende, at ledelsen prioriterer, at medarbejdere kan dele succeser og udfordringer i forbindelse med aktionslæring, da det styrker oplevelse af, at der er tale om et fælles fokus på udvikling. Et andet greb, som ledelsen kan tage for at vise at projektet prioriteres, er at gå foran og arbejde med egne prøvehandlinger, og fortælle skolens personale om egne erfaringer og læring.</a:t>
            </a:r>
            <a:br>
              <a:rPr lang="da-DK" sz="900" b="0" noProof="0">
                <a:latin typeface="Verdana" panose="020B0604030504040204" pitchFamily="34" charset="0"/>
                <a:ea typeface="Verdana" panose="020B0604030504040204" pitchFamily="34" charset="0"/>
              </a:rPr>
            </a:br>
            <a:endParaRPr lang="da-DK" sz="900" b="0" noProof="0">
              <a:latin typeface="Verdana" panose="020B0604030504040204" pitchFamily="34" charset="0"/>
              <a:ea typeface="Verdana" panose="020B0604030504040204" pitchFamily="34" charset="0"/>
            </a:endParaRPr>
          </a:p>
          <a:p>
            <a:pPr marL="1714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lang="da-DK" sz="900" b="1" noProof="0">
                <a:latin typeface="Verdana" panose="020B0604030504040204" pitchFamily="34" charset="0"/>
                <a:ea typeface="Verdana" panose="020B0604030504040204" pitchFamily="34" charset="0"/>
              </a:rPr>
              <a:t>Opfordrer medarbejdere til at dele viden fra kompetenceudvikling (fx kurser) på fælles møder. </a:t>
            </a:r>
            <a:r>
              <a:rPr lang="da-DK" sz="900" b="0" noProof="0">
                <a:latin typeface="Verdana" panose="020B0604030504040204" pitchFamily="34" charset="0"/>
                <a:ea typeface="Verdana" panose="020B0604030504040204" pitchFamily="34" charset="0"/>
              </a:rPr>
              <a:t>Det understøtter en kultur, hvor medarbejderne lærer af hinanden, og hvor de individuelle læringsoplevelser bliver til en fælles ressource. Skoleledelsen kan lede denne udvikling ved eksempelvis at indføre et fast dagsordenspunkt på fælles møder, hvor medarbejdere har mulighed for at dele vigtige indsigter og læring fra deres deltagelse i kurser eller anden form for kompetenceudvikling i regi af Den Mangfoldige Folkeskole.</a:t>
            </a:r>
          </a:p>
          <a:p>
            <a:pPr marL="0" marR="0" lvl="0" indent="0" algn="l" defTabSz="914400" rtl="0" eaLnBrk="1" fontAlgn="auto" latinLnBrk="0" hangingPunct="1">
              <a:lnSpc>
                <a:spcPts val="1300"/>
              </a:lnSpc>
              <a:spcBef>
                <a:spcPts val="0"/>
              </a:spcBef>
              <a:spcAft>
                <a:spcPts val="0"/>
              </a:spcAft>
              <a:buClrTx/>
              <a:buSzTx/>
              <a:buFont typeface="Symbol" panose="05050102010706020507" pitchFamily="18" charset="2"/>
              <a:buNone/>
              <a:tabLst/>
              <a:defRPr/>
            </a:pPr>
            <a:endParaRPr lang="da-DK" sz="900" b="0" noProof="0">
              <a:latin typeface="Verdana" panose="020B0604030504040204" pitchFamily="34" charset="0"/>
              <a:ea typeface="Verdana" panose="020B0604030504040204" pitchFamily="34" charset="0"/>
            </a:endParaRPr>
          </a:p>
          <a:p>
            <a:pPr marL="1714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lang="da-DK" sz="900" b="1" noProof="0">
                <a:latin typeface="Verdana" panose="020B0604030504040204" pitchFamily="34" charset="0"/>
                <a:ea typeface="Verdana" panose="020B0604030504040204" pitchFamily="34" charset="0"/>
              </a:rPr>
              <a:t>Tydeliggør, hvordan teams forventes at arbejde med aktionslæring: </a:t>
            </a:r>
            <a:r>
              <a:rPr lang="da-DK" sz="900" b="0" noProof="0">
                <a:latin typeface="Verdana" panose="020B0604030504040204" pitchFamily="34" charset="0"/>
                <a:ea typeface="Verdana" panose="020B0604030504040204" pitchFamily="34" charset="0"/>
              </a:rPr>
              <a:t>På nogle skoler oplever det pædagogiske personale at være i tvivl om, hvordan de forventes at arbejde med aktionslæring, herunder hvor ofte og hvordan. Det kan medføre, at aktionslæringsforløb nedprioriteres i hverdagen. I den forbindelse opleves det som en fordel, når ledelsen tydeliggør overfor det pædagogiske personale, hvad forventningerne er til deres arbejde med aktionslæring i det daglige arbejde og dermed tydeliggøre, at det skal prioriteres højt. </a:t>
            </a:r>
            <a:endParaRPr lang="da-DK" sz="900" b="0">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fld id="{1B1D025B-ACD2-45C1-B156-1DDB470CE319}" type="slidenum">
              <a:rPr lang="da-DK" smtClean="0"/>
              <a:pPr/>
              <a:t>36</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8167913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ts val="1300"/>
              </a:lnSpc>
              <a:buFont typeface="Symbol" panose="05050102010706020507" pitchFamily="18" charset="2"/>
              <a:buNone/>
            </a:pPr>
            <a:r>
              <a:rPr lang="da-DK" sz="900">
                <a:latin typeface="Verdana" panose="020B0604030504040204" pitchFamily="34" charset="0"/>
                <a:ea typeface="Verdana" panose="020B0604030504040204" pitchFamily="34" charset="0"/>
              </a:rPr>
              <a:t>Uddybende noter: </a:t>
            </a:r>
          </a:p>
          <a:p>
            <a:pPr marL="0" marR="0" lvl="0" indent="0" algn="l" defTabSz="914400" rtl="0" eaLnBrk="1" fontAlgn="auto" latinLnBrk="0" hangingPunct="1">
              <a:lnSpc>
                <a:spcPts val="1300"/>
              </a:lnSpc>
              <a:spcBef>
                <a:spcPts val="0"/>
              </a:spcBef>
              <a:spcAft>
                <a:spcPts val="0"/>
              </a:spcAft>
              <a:buClrTx/>
              <a:buSzTx/>
              <a:buFont typeface="Symbol" panose="05050102010706020507" pitchFamily="18" charset="2"/>
              <a:buNone/>
              <a:tabLst/>
              <a:defRPr/>
            </a:pPr>
            <a:endParaRPr lang="da-DK" sz="900" b="0">
              <a:latin typeface="Verdana" panose="020B0604030504040204" pitchFamily="34" charset="0"/>
              <a:ea typeface="Verdana" panose="020B0604030504040204" pitchFamily="34" charset="0"/>
              <a:cs typeface="Quicksand"/>
              <a:sym typeface="Quicksand"/>
            </a:endParaRPr>
          </a:p>
          <a:p>
            <a:pPr marL="0" marR="0" lvl="0" indent="0" algn="l" defTabSz="914400" rtl="0" eaLnBrk="1" fontAlgn="auto" latinLnBrk="0" hangingPunct="1">
              <a:lnSpc>
                <a:spcPts val="1300"/>
              </a:lnSpc>
              <a:spcBef>
                <a:spcPts val="0"/>
              </a:spcBef>
              <a:spcAft>
                <a:spcPts val="0"/>
              </a:spcAft>
              <a:buClrTx/>
              <a:buSzTx/>
              <a:buFont typeface="Symbol" panose="05050102010706020507" pitchFamily="18" charset="2"/>
              <a:buNone/>
              <a:tabLst/>
              <a:defRPr/>
            </a:pPr>
            <a:r>
              <a:rPr lang="da-DK" sz="900" b="0">
                <a:latin typeface="Verdana" panose="020B0604030504040204" pitchFamily="34" charset="0"/>
                <a:ea typeface="Verdana" panose="020B0604030504040204" pitchFamily="34" charset="0"/>
                <a:cs typeface="Quicksand"/>
                <a:sym typeface="Quicksand"/>
              </a:rPr>
              <a:t>Flere ledere fremhæver en række udfordringer, der kan gøre det vanskelige at drive pædagogisk ledelse. Pædagogisk ledelse kan udfordre, når: </a:t>
            </a:r>
          </a:p>
          <a:p>
            <a:endParaRPr lang="da-DK" sz="1400">
              <a:latin typeface="Quicksand" panose="020B0604020202020204" charset="0"/>
            </a:endParaRPr>
          </a:p>
          <a:p>
            <a:pPr marL="1714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cs typeface="Quicksand"/>
                <a:sym typeface="Quicksand"/>
              </a:rPr>
              <a:t>Lederne er i tvivl om, hvor tæt de skal gå på praksis: </a:t>
            </a:r>
            <a:r>
              <a:rPr lang="da-DK" sz="900" b="0">
                <a:latin typeface="Verdana" panose="020B0604030504040204" pitchFamily="34" charset="0"/>
                <a:ea typeface="Verdana" panose="020B0604030504040204" pitchFamily="34" charset="0"/>
                <a:cs typeface="Quicksand"/>
                <a:sym typeface="Quicksand"/>
              </a:rPr>
              <a:t>Lederne har forskellige opfattelser af, hvor tæt de bør være på praksis, og enkelte ledere er også i tvivl om, hvor højt de bør prioritere det i hverdagen. Når lederne er i tvivl om deres egen rolle, medfører det ofte, at de ikke prioriterer fx at deltage på teammøder, fordi ‘det pædagogiske personale ikke ønsker det’ eller ‘det pædagogiske personale skal have et ledelsesfrit refleksionsrum’. </a:t>
            </a:r>
            <a:endParaRPr lang="da-DK" sz="900" b="1">
              <a:latin typeface="Verdana" panose="020B0604030504040204" pitchFamily="34" charset="0"/>
              <a:ea typeface="Verdana" panose="020B0604030504040204" pitchFamily="34" charset="0"/>
              <a:cs typeface="Quicksand"/>
              <a:sym typeface="Quicksand"/>
            </a:endParaRPr>
          </a:p>
          <a:p>
            <a:pPr marL="1714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endParaRPr lang="da-DK" sz="900" b="1">
              <a:latin typeface="Verdana" panose="020B0604030504040204" pitchFamily="34" charset="0"/>
              <a:ea typeface="Verdana" panose="020B0604030504040204" pitchFamily="34" charset="0"/>
            </a:endParaRPr>
          </a:p>
          <a:p>
            <a:pPr marL="1714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rPr>
              <a:t>Det pædagogiske personale forventer, at ledelsen har svarene, frem for at indgå ligeværdigt i dialog om løsninger: </a:t>
            </a:r>
            <a:r>
              <a:rPr lang="da-DK" sz="900">
                <a:latin typeface="Verdana" panose="020B0604030504040204" pitchFamily="34" charset="0"/>
                <a:ea typeface="Verdana" panose="020B0604030504040204" pitchFamily="34" charset="0"/>
              </a:rPr>
              <a:t>Mange ledere bemærker, at det pædagogiske personale ofte vender sig mod dem og forventer svar, når de står over for udfordringer i deres daglige arbejde, i stedet for at forsøge at engagere sig i en dialog hvor de bringer deres egne indsigter og løsningsforslag i spil. Nogen ledere oplever også, at det pædagogiske personale rækker ud til dem for sparring, inden de selv har arbejdet med problemstillingen i teamet. Et udviklingspunkt her er, at ledelsen bliver bedre til at kommunikere og opfordre det pædagogiske personale til at se dem i en sparrende og vejledende rolle, hvor man er fælles om at nå frem til initiativer, der kan styrke deltagelsesmuligheder for alle.</a:t>
            </a:r>
            <a:br>
              <a:rPr lang="da-DK" sz="900">
                <a:latin typeface="Verdana" panose="020B0604030504040204" pitchFamily="34" charset="0"/>
                <a:ea typeface="Verdana" panose="020B0604030504040204" pitchFamily="34" charset="0"/>
              </a:rPr>
            </a:br>
            <a:endParaRPr lang="da-DK" sz="900">
              <a:latin typeface="Verdana" panose="020B0604030504040204" pitchFamily="34" charset="0"/>
              <a:ea typeface="Verdana" panose="020B0604030504040204" pitchFamily="34" charset="0"/>
            </a:endParaRPr>
          </a:p>
          <a:p>
            <a:pPr marL="1714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rPr>
              <a:t>Ledelsen ikke har tid nok til at gå tæt på praksis i alle teams: </a:t>
            </a:r>
            <a:r>
              <a:rPr lang="da-DK" sz="900" b="0">
                <a:latin typeface="Verdana" panose="020B0604030504040204" pitchFamily="34" charset="0"/>
                <a:ea typeface="Verdana" panose="020B0604030504040204" pitchFamily="34" charset="0"/>
              </a:rPr>
              <a:t>Flere ledere oplever, at deres arbejdsbyrde gør det vanskeligt at komme helt tæt på det pædagogiske personales praksisudvikling. Det medfører ifølge lederne, at de nedprioriterer at deltage på teammøder og lede tæt på praksis, fordi praktiske opgaver fylder. I den forbindelse kan vejlederne spille en særlig rolle og hjælpe med at understøtte det pædagogiske personale i udviklingen af deres daglige praksis. Derudover kan afdelingslederne også fungere som delegerede ledere, da de oftest er tættere på praksis end den øverste ledelse.</a:t>
            </a:r>
            <a:br>
              <a:rPr lang="da-DK" sz="900" b="0">
                <a:latin typeface="Verdana" panose="020B0604030504040204" pitchFamily="34" charset="0"/>
                <a:ea typeface="Verdana" panose="020B0604030504040204" pitchFamily="34" charset="0"/>
              </a:rPr>
            </a:br>
            <a:endParaRPr lang="da-DK" sz="900" b="1">
              <a:latin typeface="Verdana" panose="020B0604030504040204" pitchFamily="34" charset="0"/>
              <a:ea typeface="Verdana" panose="020B0604030504040204" pitchFamily="34" charset="0"/>
            </a:endParaRPr>
          </a:p>
          <a:p>
            <a:pPr marL="1714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rPr>
              <a:t>det pædagogiske personale ikke ønsker, at lederne observerer eller deltager i teammøder: </a:t>
            </a:r>
            <a:r>
              <a:rPr lang="da-DK" sz="900">
                <a:latin typeface="Verdana" panose="020B0604030504040204" pitchFamily="34" charset="0"/>
                <a:ea typeface="Verdana" panose="020B0604030504040204" pitchFamily="34" charset="0"/>
              </a:rPr>
              <a:t>Flere ledere tilkendegiver, at der kan være en vis tilbageholdenhed blandt teams over for at lade ledelsen tage del i eller iagttage deres undervisning. I de tilfælde er det særligt vigtigt, at ledelsen gennem åben og transparent kommunikation tilkendegiver, at hensigten med deltagelsen er at støtte underviserne i deres praksis, ikke at kritisere. Her kan observationsskemaet også bidrage til at afklare rammerne for observationen. </a:t>
            </a:r>
            <a:br>
              <a:rPr lang="da-DK" sz="900">
                <a:latin typeface="Verdana" panose="020B0604030504040204" pitchFamily="34" charset="0"/>
                <a:ea typeface="Verdana" panose="020B0604030504040204" pitchFamily="34" charset="0"/>
              </a:rPr>
            </a:br>
            <a:endParaRPr lang="da-DK" sz="900" b="1">
              <a:latin typeface="Verdana" panose="020B0604030504040204" pitchFamily="34" charset="0"/>
              <a:ea typeface="Verdana" panose="020B0604030504040204" pitchFamily="34" charset="0"/>
              <a:sym typeface="Quicksand"/>
            </a:endParaRPr>
          </a:p>
          <a:p>
            <a:pPr marL="1714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rPr>
              <a:t>Ledere savner viden om, hvordan man skaber deltagelsesmuligheder for alle elever:</a:t>
            </a:r>
            <a:r>
              <a:rPr lang="da-DK" sz="900">
                <a:latin typeface="Verdana" panose="020B0604030504040204" pitchFamily="34" charset="0"/>
                <a:ea typeface="Verdana" panose="020B0604030504040204" pitchFamily="34" charset="0"/>
              </a:rPr>
              <a:t> </a:t>
            </a:r>
            <a:r>
              <a:rPr lang="da-DK" sz="900" b="0" i="0">
                <a:solidFill>
                  <a:srgbClr val="D1D5DB"/>
                </a:solidFill>
                <a:effectLst/>
                <a:latin typeface="Verdana" panose="020B0604030504040204" pitchFamily="34" charset="0"/>
                <a:ea typeface="Verdana" panose="020B0604030504040204" pitchFamily="34" charset="0"/>
              </a:rPr>
              <a:t>Nogle ledere efterspørger mere viden om, hvordan man kan skabe deltagelsesmuligheder for alle, og oplever, at det er komplekst at finde de gode løsninger, når det pædagogiske personale opsøger sparring hos dem. De efterspørger viden, som kan klæde dem på til denne opgave. I den forbindelse er videnscentret en vigtig – men overset – ressource, som lederne kan trække på, ligesom videnscentret med fordel kan udarbejde mere materiale målrettet lederne. </a:t>
            </a:r>
          </a:p>
          <a:p>
            <a:pPr marL="143510" indent="-143510"/>
            <a:endParaRPr lang="da-DK" b="0"/>
          </a:p>
        </p:txBody>
      </p:sp>
      <p:sp>
        <p:nvSpPr>
          <p:cNvPr id="4" name="Slide Number Placeholder 3"/>
          <p:cNvSpPr>
            <a:spLocks noGrp="1"/>
          </p:cNvSpPr>
          <p:nvPr>
            <p:ph type="sldNum" sz="quarter" idx="5"/>
          </p:nvPr>
        </p:nvSpPr>
        <p:spPr/>
        <p:txBody>
          <a:bodyPr/>
          <a:lstStyle/>
          <a:p>
            <a:fld id="{1B1D025B-ACD2-45C1-B156-1DDB470CE319}" type="slidenum">
              <a:rPr lang="da-DK" smtClean="0"/>
              <a:pPr/>
              <a:t>37</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41931844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43510" indent="-143510"/>
            <a:r>
              <a:rPr lang="da-DK" sz="900" b="0">
                <a:latin typeface="Verdana" panose="020B0604030504040204" pitchFamily="34" charset="0"/>
                <a:ea typeface="Verdana" panose="020B0604030504040204" pitchFamily="34" charset="0"/>
              </a:rPr>
              <a:t>Uddybende noter:</a:t>
            </a:r>
          </a:p>
          <a:p>
            <a:pPr marL="143510" indent="-143510"/>
            <a:endParaRPr lang="da-DK" sz="900" b="0">
              <a:latin typeface="Verdana" panose="020B0604030504040204" pitchFamily="34" charset="0"/>
              <a:ea typeface="Verdana" panose="020B0604030504040204" pitchFamily="34" charset="0"/>
            </a:endParaRPr>
          </a:p>
          <a:p>
            <a:pPr marL="143510" marR="0" lvl="0" indent="-14351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900" b="0">
                <a:effectLst/>
                <a:latin typeface="Verdana" panose="020B0604030504040204" pitchFamily="34" charset="0"/>
                <a:ea typeface="Verdana" panose="020B0604030504040204" pitchFamily="34" charset="0"/>
                <a:cs typeface="Times New Roman" panose="02020603050405020304" pitchFamily="18" charset="0"/>
              </a:rPr>
              <a:t>Det kan styrke ledelsesarbejdet fremadrettet, når ledelsen: </a:t>
            </a:r>
          </a:p>
          <a:p>
            <a:pPr marL="143510" marR="0" lvl="0" indent="-14351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b="0">
              <a:effectLst/>
              <a:latin typeface="Verdana" panose="020B0604030504040204" pitchFamily="34" charset="0"/>
              <a:ea typeface="Verdana" panose="020B0604030504040204" pitchFamily="34" charset="0"/>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rPr>
              <a:t>Prioriterer tid til kontinuerligt at deltage i praksisudvikling sammen med det pædagogiske personale: </a:t>
            </a:r>
            <a:r>
              <a:rPr lang="da-DK" sz="900" b="0">
                <a:latin typeface="Verdana" panose="020B0604030504040204" pitchFamily="34" charset="0"/>
                <a:ea typeface="Verdana" panose="020B0604030504040204" pitchFamily="34" charset="0"/>
              </a:rPr>
              <a:t>Evalueringen viser, at ledelsen opnår en dybere forståelse for de udfordringer, det pædagogiske personale står overfor, når de engagerer sig mere aktivt i udviklingsprocessen. I den forbindelse kan ledelsen med fordel deltage i teammøder eller aktionslæringsprocesser, eller have tæt dialog med vejlederne om fremdriften i udviklingsprocessen.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900" b="1">
              <a:latin typeface="Verdana" panose="020B0604030504040204" pitchFamily="34" charset="0"/>
              <a:ea typeface="Verdana" panose="020B060403050404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rPr>
              <a:t>Skaber en organisering, der fremmer teamsamarbejde med fokus på deltagelsesmuligheder for alle: </a:t>
            </a:r>
            <a:r>
              <a:rPr lang="da-DK" sz="900" b="0">
                <a:latin typeface="Verdana" panose="020B0604030504040204" pitchFamily="34" charset="0"/>
                <a:ea typeface="Verdana" panose="020B0604030504040204" pitchFamily="34" charset="0"/>
              </a:rPr>
              <a:t>En styrkelse af rammerne for teamsamarbejdet om aktionslæring kan bidrage til mere systematisk i samarbejdet om udvikling af praksis. Ledelsen kan eksempelvis organisere regelmæssig videndeling på tværs af teams, hvor det pædagogiske personale, hvor de kan diskuterer succeser, udfordringer og gode eksempler fra aktionslæringskurser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1">
              <a:latin typeface="Verdana" panose="020B0604030504040204" pitchFamily="34" charset="0"/>
              <a:ea typeface="Verdana" panose="020B060403050404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rPr>
              <a:t>Tilrettelægger systematisk sparring og feedback i forbindelse med aktionslæring: </a:t>
            </a:r>
            <a:r>
              <a:rPr lang="da-DK" sz="900" b="0">
                <a:latin typeface="Verdana" panose="020B0604030504040204" pitchFamily="34" charset="0"/>
                <a:ea typeface="Verdana" panose="020B0604030504040204" pitchFamily="34" charset="0"/>
              </a:rPr>
              <a:t>Resultaterne peger i retning af, at ledelsens observation af undervisningen ikke altid anvendes til at reflektere sammen over praksis. det pædagogiske personale efterspørger blandt andet, at ledelsen i højere grad deler sine refleksioner, når de fx har observeret undervisning og bruger det som anledning til at lære og udvikle praksi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900" b="1">
              <a:latin typeface="Verdana" panose="020B0604030504040204" pitchFamily="34" charset="0"/>
              <a:ea typeface="Verdana" panose="020B060403050404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900" b="1">
                <a:latin typeface="Verdana" panose="020B0604030504040204" pitchFamily="34" charset="0"/>
                <a:ea typeface="Verdana" panose="020B0604030504040204" pitchFamily="34" charset="0"/>
              </a:rPr>
              <a:t>Styrker distribueret ledelse til vejledere/nøglepersoner ved at:</a:t>
            </a:r>
          </a:p>
          <a:p>
            <a:pPr marL="725850" lvl="0" indent="-171450">
              <a:buFont typeface="Arial" panose="020B0604020202020204" pitchFamily="34" charset="0"/>
              <a:buChar char="•"/>
            </a:pPr>
            <a:r>
              <a:rPr lang="da-DK" sz="900" noProof="0">
                <a:latin typeface="Verdana" panose="020B0604030504040204" pitchFamily="34" charset="0"/>
                <a:ea typeface="Verdana" panose="020B0604030504040204" pitchFamily="34" charset="0"/>
              </a:rPr>
              <a:t>Drøfte med vejlederne, hvordan de bedst kan bringes i spil i arbejdet med at skabe deltagelsesmuligheder for alle: </a:t>
            </a:r>
            <a:r>
              <a:rPr lang="da-DK" sz="900" b="0" noProof="0">
                <a:latin typeface="Verdana" panose="020B0604030504040204" pitchFamily="34" charset="0"/>
                <a:ea typeface="Verdana" panose="020B0604030504040204" pitchFamily="34" charset="0"/>
              </a:rPr>
              <a:t>Evalueringen viser, at det kan styrke praksis, når skoleledelsen sammen med vejlederne drøfter og aftaler deres roller og ansvar i forhold til den distribuerede ledelse. Det er essentielt, at samarbejdet med lederne foregår tæt og kontinuerligt for at afklare eventuelle tvivlsspørgsmål omkring vejledernes rolle. I denne sammenhæng er det vigtigt at finde den rette balance, hvor vejlederne føler, at de har et rum til at træffe og udføre beslutninger, hvilket giver dem ejerskab over forandringsprocessen, samtidig med at ledelsen fortsat har en vigtig rolle i løbende at understøtte og bane vejen for udviklingsarbejdet. </a:t>
            </a:r>
            <a:endParaRPr lang="da-DK" sz="900" noProof="0">
              <a:latin typeface="Verdana" panose="020B0604030504040204" pitchFamily="34" charset="0"/>
              <a:ea typeface="Verdana" panose="020B0604030504040204" pitchFamily="34" charset="0"/>
            </a:endParaRPr>
          </a:p>
          <a:p>
            <a:pPr marL="725850" lvl="0" indent="-171450">
              <a:buFont typeface="Arial" panose="020B0604020202020204" pitchFamily="34" charset="0"/>
              <a:buChar char="•"/>
            </a:pPr>
            <a:r>
              <a:rPr lang="da-DK" sz="900">
                <a:latin typeface="Verdana" panose="020B0604030504040204" pitchFamily="34" charset="0"/>
                <a:ea typeface="Verdana" panose="020B0604030504040204" pitchFamily="34" charset="0"/>
              </a:rPr>
              <a:t>Kommunikerer til det pædagogiske personale hvordan de kan inddrage vejlederne i arbejdet med at skabe deltagelsesmuligheder for alle: </a:t>
            </a:r>
            <a:r>
              <a:rPr lang="da-DK" sz="900" b="0">
                <a:latin typeface="Verdana" panose="020B0604030504040204" pitchFamily="34" charset="0"/>
                <a:ea typeface="Verdana" panose="020B0604030504040204" pitchFamily="34" charset="0"/>
              </a:rPr>
              <a:t>Nogle vejledere oplever, at deres rolle ikke i tilstrækkelig grad er blevet kommunikeret til det pædagogiske personale. Det gør det svært for vejlederne at byde sig til som vejledere, da de kan opleve, at de ‘presser sig på’. </a:t>
            </a:r>
            <a:endParaRPr lang="da-DK" sz="900" noProof="0">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fld id="{1B1D025B-ACD2-45C1-B156-1DDB470CE319}" type="slidenum">
              <a:rPr lang="da-DK" smtClean="0"/>
              <a:pPr/>
              <a:t>38</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9899612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39</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9077252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40</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4112640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a:t>Uddybende noter:</a:t>
            </a:r>
          </a:p>
          <a:p>
            <a:endParaRPr lang="da-DK"/>
          </a:p>
          <a:p>
            <a:pPr marL="228600" indent="-228600">
              <a:buFont typeface="+mj-lt"/>
              <a:buAutoNum type="arabicPeriod"/>
            </a:pPr>
            <a:r>
              <a:rPr lang="da-DK"/>
              <a:t>Evalueringen giver først og fremmest indblik i </a:t>
            </a:r>
            <a:r>
              <a:rPr lang="da-DK" b="1"/>
              <a:t>elevernes perspektiver og beskriver</a:t>
            </a:r>
            <a:r>
              <a:rPr lang="da-DK" b="0"/>
              <a:t>, hvad eleverne forstår ved en skole, som skaber deltagelsesmuligheder for alle. </a:t>
            </a:r>
          </a:p>
          <a:p>
            <a:pPr marL="228600" indent="-228600">
              <a:buFont typeface="+mj-lt"/>
              <a:buAutoNum type="arabicPeriod"/>
            </a:pPr>
            <a:endParaRPr lang="da-DK" b="0"/>
          </a:p>
          <a:p>
            <a:pPr marL="228600" indent="-228600">
              <a:buFont typeface="+mj-lt"/>
              <a:buAutoNum type="arabicPeriod"/>
            </a:pPr>
            <a:r>
              <a:rPr lang="da-DK"/>
              <a:t>Dernæst forholder evalueringen sig til, hvilke </a:t>
            </a:r>
            <a:r>
              <a:rPr lang="da-DK" b="1"/>
              <a:t>tegn på forandring</a:t>
            </a:r>
            <a:r>
              <a:rPr lang="da-DK"/>
              <a:t>, som kan identificeres i praksis, og der stilles skarpt på de tværgående erfaringer med og perspektiver på, hvad der skaber forandringer i praksis. Arbejdet med Den Mangfoldige Folkeskole er fortsat nyt på mange skoler, og derfor skal ”tegn på forandring i praksis” i dette evalueringsrul læses med det ‘in mente’.</a:t>
            </a:r>
            <a:br>
              <a:rPr lang="da-DK"/>
            </a:br>
            <a:endParaRPr lang="da-DK"/>
          </a:p>
          <a:p>
            <a:pPr marL="228600" indent="-228600">
              <a:buFont typeface="+mj-lt"/>
              <a:buAutoNum type="arabicPeriod"/>
            </a:pPr>
            <a:r>
              <a:rPr lang="da-DK"/>
              <a:t>Som det tredje ser evalueringen på betydningen af </a:t>
            </a:r>
            <a:r>
              <a:rPr lang="da-DK" b="1"/>
              <a:t>samarbejde og kapacitet</a:t>
            </a:r>
            <a:r>
              <a:rPr lang="da-DK"/>
              <a:t> til at arbejde i professionelle læringsfællesskaber, og hvilken betydning det har for, at det pædagogiske personale kan skabe forandringer i praksis.</a:t>
            </a:r>
            <a:br>
              <a:rPr lang="da-DK"/>
            </a:br>
            <a:endParaRPr lang="da-DK"/>
          </a:p>
          <a:p>
            <a:pPr marL="228600" indent="-228600">
              <a:buFont typeface="+mj-lt"/>
              <a:buAutoNum type="arabicPeriod"/>
            </a:pPr>
            <a:r>
              <a:rPr lang="da-DK"/>
              <a:t>Som det fjerde er der fokus på </a:t>
            </a:r>
            <a:r>
              <a:rPr lang="da-DK" b="1"/>
              <a:t>rammer, organisering og ledelse, </a:t>
            </a:r>
            <a:r>
              <a:rPr lang="da-DK"/>
              <a:t>og hvordan der på skolerne arbejdes med at sætte ledelsesmæssig retning og meningsskabelse på skolerne. Derudover indeholder dette punkt en kort beskrivelse af, hvordan videnscenteret understøtter praksisudvikling.</a:t>
            </a:r>
            <a:br>
              <a:rPr lang="da-DK"/>
            </a:br>
            <a:endParaRPr lang="da-DK"/>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4</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52318027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41</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4132832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42</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3953279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43</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45738003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44</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6056210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45</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6299413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a:t>Uddybende noter:</a:t>
            </a:r>
          </a:p>
          <a:p>
            <a:endParaRPr lang="da-DK"/>
          </a:p>
          <a:p>
            <a:r>
              <a:rPr lang="da-DK"/>
              <a:t>Følgende 2 bilag indeholder et lytteark og et dialogredskab, som kan anvendes i forbindelse med at skolen arbejder med evalueringens resultater.</a:t>
            </a:r>
          </a:p>
          <a:p>
            <a:endParaRPr lang="da-DK"/>
          </a:p>
          <a:p>
            <a:r>
              <a:rPr lang="da-DK"/>
              <a:t>I finder beskrivelser af de enkelte øvelser under pakken ”Sådan arbejder I med resultaterne”. </a:t>
            </a:r>
          </a:p>
          <a:p>
            <a:endParaRPr lang="da-DK" sz="1200" b="0" kern="0">
              <a:solidFill>
                <a:srgbClr val="FFFFFF"/>
              </a:solidFill>
              <a:latin typeface="Quicksand"/>
            </a:endParaRPr>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46</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5660771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da-DK"/>
              <a:t>Uddybende noter: </a:t>
            </a:r>
            <a:br>
              <a:rPr lang="da-DK"/>
            </a:br>
            <a:br>
              <a:rPr lang="da-DK"/>
            </a:br>
            <a:r>
              <a:rPr lang="da-DK"/>
              <a:t>Dette lytteark er tiltænkt som note-og dialogredskab, som kan anvendes i forbindelse med at det pædagogiske personale præsenteres for evalueringens resultater.</a:t>
            </a:r>
          </a:p>
          <a:p>
            <a:pPr algn="l"/>
            <a:endParaRPr lang="da-DK"/>
          </a:p>
          <a:p>
            <a:pPr algn="l"/>
            <a:r>
              <a:rPr lang="da-DK"/>
              <a:t>I finder beskrivelsen af øvelsen på </a:t>
            </a:r>
            <a:r>
              <a:rPr lang="da-DK" b="1"/>
              <a:t>slide 7 </a:t>
            </a:r>
            <a:r>
              <a:rPr lang="da-DK" b="0"/>
              <a:t>under pakken ”Sådan arbejder I med resultaterne”.</a:t>
            </a:r>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47</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58829879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a:t>Uddybende noter: </a:t>
            </a:r>
          </a:p>
          <a:p>
            <a:endParaRPr lang="da-DK"/>
          </a:p>
          <a:p>
            <a:pPr algn="l"/>
            <a:r>
              <a:rPr lang="da-DK"/>
              <a:t>Denne word-cloud er tiltænkt som et dialogredskab, som både ledelsen og </a:t>
            </a:r>
            <a:r>
              <a:rPr lang="da-DK" sz="1200" b="0" kern="0">
                <a:solidFill>
                  <a:srgbClr val="FFFFFF"/>
                </a:solidFill>
                <a:latin typeface="Quicksand"/>
              </a:rPr>
              <a:t>det pædagogiske personale kan anvende med henblik på at skabe spændende dialoger om lokale børnesyn og arbejdet med børnsyn i praksis. </a:t>
            </a:r>
            <a:br>
              <a:rPr lang="da-DK" sz="1200" b="0" kern="0">
                <a:solidFill>
                  <a:srgbClr val="FFFFFF"/>
                </a:solidFill>
                <a:latin typeface="Quicksand"/>
              </a:rPr>
            </a:br>
            <a:endParaRPr lang="da-DK"/>
          </a:p>
          <a:p>
            <a:pPr algn="l"/>
            <a:r>
              <a:rPr lang="da-DK"/>
              <a:t>I finder beskrivelsen af </a:t>
            </a:r>
            <a:r>
              <a:rPr lang="da-DK" b="0"/>
              <a:t>øvelsen på </a:t>
            </a:r>
            <a:r>
              <a:rPr lang="da-DK" b="1"/>
              <a:t>slide 10 </a:t>
            </a:r>
            <a:r>
              <a:rPr lang="da-DK" b="0"/>
              <a:t>under pakken ”Sådan arbejder I med resultaterne”.</a:t>
            </a:r>
          </a:p>
        </p:txBody>
      </p:sp>
      <p:sp>
        <p:nvSpPr>
          <p:cNvPr id="4" name="Slide Number Placeholder 3"/>
          <p:cNvSpPr>
            <a:spLocks noGrp="1"/>
          </p:cNvSpPr>
          <p:nvPr>
            <p:ph type="sldNum" sz="quarter" idx="5"/>
          </p:nvPr>
        </p:nvSpPr>
        <p:spPr/>
        <p:txBody>
          <a:bodyPr/>
          <a:lstStyle/>
          <a:p>
            <a:fld id="{1B1D025B-ACD2-45C1-B156-1DDB470CE319}" type="slidenum">
              <a:rPr lang="da-DK" smtClean="0"/>
              <a:pPr/>
              <a:t>48</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784016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0"/>
        <p:cNvGrpSpPr/>
        <p:nvPr/>
      </p:nvGrpSpPr>
      <p:grpSpPr>
        <a:xfrm>
          <a:off x="0" y="0"/>
          <a:ext cx="0" cy="0"/>
          <a:chOff x="0" y="0"/>
          <a:chExt cx="0" cy="0"/>
        </a:xfrm>
      </p:grpSpPr>
      <p:sp>
        <p:nvSpPr>
          <p:cNvPr id="691" name="Google Shape;691;g35f391192_00:notes"/>
          <p:cNvSpPr>
            <a:spLocks noGrp="1" noRot="1" noChangeAspect="1"/>
          </p:cNvSpPr>
          <p:nvPr>
            <p:ph type="sldImg" idx="2"/>
          </p:nvPr>
        </p:nvSpPr>
        <p:spPr>
          <a:xfrm>
            <a:off x="-349250" y="808038"/>
            <a:ext cx="7183438" cy="40417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2" name="Google Shape;692;g35f391192_00:notes"/>
          <p:cNvSpPr txBox="1">
            <a:spLocks noGrp="1"/>
          </p:cNvSpPr>
          <p:nvPr>
            <p:ph type="body" idx="1"/>
          </p:nvPr>
        </p:nvSpPr>
        <p:spPr>
          <a:xfrm>
            <a:off x="648539" y="5118725"/>
            <a:ext cx="5188303" cy="4849318"/>
          </a:xfrm>
          <a:prstGeom prst="rect">
            <a:avLst/>
          </a:prstGeom>
        </p:spPr>
        <p:txBody>
          <a:bodyPr spcFirstLastPara="1" wrap="square" lIns="91425" tIns="91425" rIns="91425" bIns="91425" anchor="t" anchorCtr="0">
            <a:noAutofit/>
          </a:bodyPr>
          <a:lstStyle/>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0" lvl="0" indent="0" algn="l">
              <a:spcBef>
                <a:spcPts val="0"/>
              </a:spcBef>
              <a:spcAft>
                <a:spcPts val="0"/>
              </a:spcAft>
              <a:buNone/>
            </a:pPr>
            <a:endParaRPr lang="da-DK"/>
          </a:p>
        </p:txBody>
      </p:sp>
    </p:spTree>
    <p:extLst>
      <p:ext uri="{BB962C8B-B14F-4D97-AF65-F5344CB8AC3E}">
        <p14:creationId xmlns:p14="http://schemas.microsoft.com/office/powerpoint/2010/main" val="2448361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0" indent="0">
              <a:buNone/>
            </a:pPr>
            <a:r>
              <a:rPr lang="da-DK">
                <a:latin typeface="Verdana" panose="020B0604030504040204" pitchFamily="34" charset="0"/>
                <a:ea typeface="Verdana" panose="020B0604030504040204" pitchFamily="34" charset="0"/>
              </a:rPr>
              <a:t>Uddybende noter:</a:t>
            </a:r>
          </a:p>
          <a:p>
            <a:pPr marL="139700" indent="0">
              <a:buNone/>
            </a:pPr>
            <a:endParaRPr lang="da-DK">
              <a:latin typeface="Verdana" panose="020B0604030504040204" pitchFamily="34" charset="0"/>
              <a:ea typeface="Verdana" panose="020B0604030504040204" pitchFamily="34" charset="0"/>
            </a:endParaRPr>
          </a:p>
          <a:p>
            <a:pPr marL="139700" indent="0">
              <a:buNone/>
            </a:pPr>
            <a:r>
              <a:rPr lang="da-DK">
                <a:latin typeface="Verdana" panose="020B0604030504040204" pitchFamily="34" charset="0"/>
                <a:ea typeface="Verdana" panose="020B0604030504040204" pitchFamily="34" charset="0"/>
              </a:rPr>
              <a:t>Evalueringen fokuserer på de ni kommuner, som både deltager i kompetenceudvikling (spor 1) og tværgående videndeling (spor 2) i projektet. </a:t>
            </a:r>
          </a:p>
          <a:p>
            <a:pPr marL="139700" indent="0">
              <a:buNone/>
            </a:pPr>
            <a:endParaRPr lang="da-DK">
              <a:latin typeface="Verdana" panose="020B0604030504040204" pitchFamily="34" charset="0"/>
              <a:ea typeface="Verdana" panose="020B0604030504040204" pitchFamily="34" charset="0"/>
            </a:endParaRPr>
          </a:p>
          <a:p>
            <a:pPr marL="139700" indent="0">
              <a:buNone/>
            </a:pPr>
            <a:r>
              <a:rPr lang="da-DK" b="1">
                <a:latin typeface="Verdana" panose="020B0604030504040204" pitchFamily="34" charset="0"/>
                <a:ea typeface="Verdana" panose="020B0604030504040204" pitchFamily="34" charset="0"/>
              </a:rPr>
              <a:t>Kvantitativ data </a:t>
            </a:r>
            <a:r>
              <a:rPr lang="da-DK" b="0">
                <a:latin typeface="Verdana" panose="020B0604030504040204" pitchFamily="34" charset="0"/>
                <a:ea typeface="Verdana" panose="020B0604030504040204" pitchFamily="34" charset="0"/>
              </a:rPr>
              <a:t>(spørgeskemaundersøgelse) er indsamlet blandt pædagogiske personale i alle ni kommuner </a:t>
            </a:r>
            <a:r>
              <a:rPr lang="da-DK">
                <a:highlight>
                  <a:srgbClr val="FFFF00"/>
                </a:highlight>
                <a:latin typeface="Verdana" panose="020B0604030504040204" pitchFamily="34" charset="0"/>
                <a:ea typeface="Verdana" panose="020B0604030504040204" pitchFamily="34" charset="0"/>
              </a:rPr>
              <a:t>(Brønderslev, Frederikshavn, Hjørring, Jammerbugt, Mariagerfjord, Morsø, Rebild, Vesthimmerland, Aalborg).</a:t>
            </a:r>
          </a:p>
          <a:p>
            <a:pPr marL="139700" indent="0">
              <a:buNone/>
            </a:pPr>
            <a:endParaRPr lang="da-DK" b="1">
              <a:latin typeface="Verdana" panose="020B0604030504040204" pitchFamily="34" charset="0"/>
              <a:ea typeface="Verdana" panose="020B0604030504040204" pitchFamily="34" charset="0"/>
            </a:endParaRPr>
          </a:p>
          <a:p>
            <a:pPr marL="139700" indent="0">
              <a:buNone/>
            </a:pPr>
            <a:r>
              <a:rPr lang="da-DK" b="1">
                <a:latin typeface="Verdana" panose="020B0604030504040204" pitchFamily="34" charset="0"/>
                <a:ea typeface="Verdana" panose="020B0604030504040204" pitchFamily="34" charset="0"/>
              </a:rPr>
              <a:t>Kvalitativ data </a:t>
            </a:r>
            <a:r>
              <a:rPr lang="da-DK" b="0">
                <a:latin typeface="Verdana" panose="020B0604030504040204" pitchFamily="34" charset="0"/>
                <a:ea typeface="Verdana" panose="020B0604030504040204" pitchFamily="34" charset="0"/>
              </a:rPr>
              <a:t>(interviews og observationer) </a:t>
            </a:r>
            <a:r>
              <a:rPr lang="da-DK">
                <a:latin typeface="Verdana" panose="020B0604030504040204" pitchFamily="34" charset="0"/>
                <a:ea typeface="Verdana" panose="020B0604030504040204" pitchFamily="34" charset="0"/>
              </a:rPr>
              <a:t>er indsamlet i </a:t>
            </a:r>
            <a:r>
              <a:rPr lang="da-DK" b="1">
                <a:latin typeface="Verdana" panose="020B0604030504040204" pitchFamily="34" charset="0"/>
                <a:ea typeface="Verdana" panose="020B0604030504040204" pitchFamily="34" charset="0"/>
              </a:rPr>
              <a:t>seks</a:t>
            </a:r>
            <a:r>
              <a:rPr lang="da-DK">
                <a:latin typeface="Verdana" panose="020B0604030504040204" pitchFamily="34" charset="0"/>
                <a:ea typeface="Verdana" panose="020B0604030504040204" pitchFamily="34" charset="0"/>
              </a:rPr>
              <a:t> </a:t>
            </a:r>
            <a:r>
              <a:rPr lang="da-DK" b="1">
                <a:latin typeface="Verdana" panose="020B0604030504040204" pitchFamily="34" charset="0"/>
                <a:ea typeface="Verdana" panose="020B0604030504040204" pitchFamily="34" charset="0"/>
              </a:rPr>
              <a:t>udvalgte</a:t>
            </a:r>
            <a:r>
              <a:rPr lang="da-DK">
                <a:latin typeface="Verdana" panose="020B0604030504040204" pitchFamily="34" charset="0"/>
                <a:ea typeface="Verdana" panose="020B0604030504040204" pitchFamily="34" charset="0"/>
              </a:rPr>
              <a:t> </a:t>
            </a:r>
            <a:r>
              <a:rPr lang="da-DK" b="1">
                <a:latin typeface="Verdana" panose="020B0604030504040204" pitchFamily="34" charset="0"/>
                <a:ea typeface="Verdana" panose="020B0604030504040204" pitchFamily="34" charset="0"/>
              </a:rPr>
              <a:t>nordjyske kommuner </a:t>
            </a:r>
            <a:r>
              <a:rPr lang="da-DK" b="0">
                <a:latin typeface="Verdana" panose="020B0604030504040204" pitchFamily="34" charset="0"/>
                <a:ea typeface="Verdana" panose="020B0604030504040204" pitchFamily="34" charset="0"/>
              </a:rPr>
              <a:t>(</a:t>
            </a:r>
            <a:r>
              <a:rPr lang="da-DK">
                <a:highlight>
                  <a:srgbClr val="FFFF00"/>
                </a:highlight>
                <a:latin typeface="Verdana" panose="020B0604030504040204" pitchFamily="34" charset="0"/>
                <a:ea typeface="Verdana" panose="020B0604030504040204" pitchFamily="34" charset="0"/>
              </a:rPr>
              <a:t>Brønderslev, Hjørring, Jammerbugt, Morsø, Vesthimmerland og Aalborg).</a:t>
            </a:r>
            <a:endParaRPr lang="da-DK">
              <a:latin typeface="Verdana" panose="020B0604030504040204" pitchFamily="34" charset="0"/>
              <a:ea typeface="Verdana" panose="020B0604030504040204" pitchFamily="34" charset="0"/>
            </a:endParaRPr>
          </a:p>
          <a:p>
            <a:pPr marL="139700" indent="0">
              <a:buNone/>
            </a:pPr>
            <a:endParaRPr lang="da-DK">
              <a:latin typeface="Verdana" panose="020B0604030504040204" pitchFamily="34" charset="0"/>
              <a:ea typeface="Verdana" panose="020B0604030504040204" pitchFamily="34" charset="0"/>
            </a:endParaRPr>
          </a:p>
          <a:p>
            <a:pPr marL="139700" indent="0">
              <a:buNone/>
            </a:pPr>
            <a:r>
              <a:rPr lang="da-DK">
                <a:latin typeface="Verdana" panose="020B0604030504040204" pitchFamily="34" charset="0"/>
                <a:ea typeface="Verdana" panose="020B0604030504040204" pitchFamily="34" charset="0"/>
              </a:rPr>
              <a:t>Kvalitativ data er indsamlet vha. en række forskellige datakilder, som har haft til formål at komme tæt på praksis:</a:t>
            </a:r>
          </a:p>
          <a:p>
            <a:pPr marL="311150" indent="-171450">
              <a:buFont typeface="Arial" panose="020B0604020202020204" pitchFamily="34" charset="0"/>
              <a:buChar char="•"/>
            </a:pPr>
            <a:r>
              <a:rPr lang="da-DK" b="1">
                <a:latin typeface="Verdana" panose="020B0604030504040204" pitchFamily="34" charset="0"/>
                <a:ea typeface="Verdana" panose="020B0604030504040204" pitchFamily="34" charset="0"/>
              </a:rPr>
              <a:t>På casebesøg </a:t>
            </a:r>
            <a:r>
              <a:rPr lang="da-DK" b="0">
                <a:latin typeface="Verdana" panose="020B0604030504040204" pitchFamily="34" charset="0"/>
                <a:ea typeface="Verdana" panose="020B0604030504040204" pitchFamily="34" charset="0"/>
              </a:rPr>
              <a:t>(laboratorieskoler) </a:t>
            </a:r>
            <a:r>
              <a:rPr lang="da-DK">
                <a:latin typeface="Verdana" panose="020B0604030504040204" pitchFamily="34" charset="0"/>
                <a:ea typeface="Verdana" panose="020B0604030504040204" pitchFamily="34" charset="0"/>
              </a:rPr>
              <a:t>har Rambøll talt med elever, det pædagogiske personale, vejledere og skoleledelse. Interviews er gennemført som fokusgruppeinterviews i workshopformat med forskellige øvelser. Rambøll har gennemført casebesøg på følgende skoler: Søndergade Skole (Brønderslev), Aalestrup Skole (Vesthimmerland), Nørhalne Skole (Jammerbugt), Øster Jølby Skole (Morsø), Ferslev Skole (Aalborg) og Tårs Skole (Hjørring).</a:t>
            </a:r>
          </a:p>
          <a:p>
            <a:pPr marL="3111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b="1">
                <a:latin typeface="Verdana" panose="020B0604030504040204" pitchFamily="34" charset="0"/>
                <a:ea typeface="Verdana" panose="020B0604030504040204" pitchFamily="34" charset="0"/>
              </a:rPr>
              <a:t>På valideringsworkshops </a:t>
            </a:r>
            <a:r>
              <a:rPr lang="da-DK">
                <a:latin typeface="Verdana" panose="020B0604030504040204" pitchFamily="34" charset="0"/>
                <a:ea typeface="Verdana" panose="020B0604030504040204" pitchFamily="34" charset="0"/>
              </a:rPr>
              <a:t>har Rambøll talt med det pædagogiske personale, vejledere og skoleledelse fra 5-6 forskellige skoler inden for de seks kommuner. Det vil sige, at Rambøll har udført seks valideringsworkshops, hvor 5-6 repræsentanter inden for de tre grupper (det pædagogiske personale, vejledere og skoleledelse) er interviewet om deres perspektiver på Den Mangfoldige Folkeskole, samt blev bedt om at validere en række generelle tendenser udledt på baggrund af den viden, Rambøll indsamlede på laboratorieskolerne.</a:t>
            </a:r>
          </a:p>
          <a:p>
            <a:pPr marL="311150" indent="-171450">
              <a:buFont typeface="Arial" panose="020B0604020202020204" pitchFamily="34" charset="0"/>
              <a:buChar char="•"/>
            </a:pPr>
            <a:r>
              <a:rPr lang="da-DK" b="1">
                <a:latin typeface="Verdana" panose="020B0604030504040204" pitchFamily="34" charset="0"/>
                <a:ea typeface="Verdana" panose="020B0604030504040204" pitchFamily="34" charset="0"/>
              </a:rPr>
              <a:t>Observation</a:t>
            </a:r>
            <a:r>
              <a:rPr lang="da-DK">
                <a:latin typeface="Verdana" panose="020B0604030504040204" pitchFamily="34" charset="0"/>
                <a:ea typeface="Verdana" panose="020B0604030504040204" pitchFamily="34" charset="0"/>
              </a:rPr>
              <a:t> af undervisning er sket som led i casebesøg på skolerne, hvor Rambøll har deltaget i udvalgte undervisningslektioner</a:t>
            </a:r>
          </a:p>
          <a:p>
            <a:pPr marL="139700" indent="0">
              <a:buFont typeface="Arial" panose="020B0604020202020204" pitchFamily="34" charset="0"/>
              <a:buNone/>
            </a:pPr>
            <a:endParaRPr lang="da-DK">
              <a:latin typeface="Verdana" panose="020B0604030504040204" pitchFamily="34" charset="0"/>
              <a:ea typeface="Verdana" panose="020B0604030504040204" pitchFamily="34" charset="0"/>
            </a:endParaRPr>
          </a:p>
          <a:p>
            <a:pPr marL="139700" indent="0">
              <a:buFont typeface="Arial" panose="020B0604020202020204" pitchFamily="34" charset="0"/>
              <a:buNone/>
            </a:pPr>
            <a:r>
              <a:rPr lang="da-DK">
                <a:latin typeface="Verdana" panose="020B0604030504040204" pitchFamily="34" charset="0"/>
                <a:ea typeface="Verdana" panose="020B0604030504040204" pitchFamily="34" charset="0"/>
              </a:rPr>
              <a:t>Denne dataindsamling er den første af tre evalueringsrul, som tilsammen skal bidrage med tilbageløb af viden om projektet ”Den Mangfoldige Folkeskole i Nordjylland”. </a:t>
            </a:r>
          </a:p>
        </p:txBody>
      </p:sp>
      <p:sp>
        <p:nvSpPr>
          <p:cNvPr id="4" name="Slide Number Placeholder 3"/>
          <p:cNvSpPr>
            <a:spLocks noGrp="1"/>
          </p:cNvSpPr>
          <p:nvPr>
            <p:ph type="sldNum" sz="quarter" idx="5"/>
          </p:nvPr>
        </p:nvSpPr>
        <p:spPr/>
        <p:txBody>
          <a:bodyPr/>
          <a:lstStyle/>
          <a:p>
            <a:fld id="{1B1D025B-ACD2-45C1-B156-1DDB470CE319}" type="slidenum">
              <a:rPr lang="da-DK" smtClean="0"/>
              <a:pPr/>
              <a:t>5</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2961421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7</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1826659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a:t>Uddybende noter:</a:t>
            </a:r>
          </a:p>
          <a:p>
            <a:endParaRPr lang="da-DK"/>
          </a:p>
          <a:p>
            <a:r>
              <a:rPr lang="da-DK"/>
              <a:t>Øvelsen kan tilpasses afhængigt af, hvor meget tid I har afsat til at arbejde med øvelsen. Rambøll foreslår følgende program:</a:t>
            </a:r>
          </a:p>
          <a:p>
            <a:pPr marL="171450" indent="-171450">
              <a:buFont typeface="Arial" panose="020B0604020202020204" pitchFamily="34" charset="0"/>
              <a:buChar char="•"/>
            </a:pPr>
            <a:r>
              <a:rPr lang="da-DK"/>
              <a:t>Præsentation (15 min.)</a:t>
            </a:r>
          </a:p>
          <a:p>
            <a:pPr marL="171450" indent="-171450">
              <a:buFont typeface="Arial" panose="020B0604020202020204" pitchFamily="34" charset="0"/>
              <a:buChar char="•"/>
            </a:pPr>
            <a:r>
              <a:rPr lang="da-DK"/>
              <a:t>Gruppedrøftelser (20-40 min.)</a:t>
            </a:r>
          </a:p>
          <a:p>
            <a:pPr marL="171450" indent="-171450">
              <a:buFont typeface="Arial" panose="020B0604020202020204" pitchFamily="34" charset="0"/>
              <a:buChar char="•"/>
            </a:pPr>
            <a:r>
              <a:rPr lang="da-DK"/>
              <a:t>Opsamling i plenum (20-25 min.)</a:t>
            </a:r>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8</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41246517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a:t>Uddybende noter:</a:t>
            </a:r>
          </a:p>
          <a:p>
            <a:endParaRPr lang="da-DK"/>
          </a:p>
          <a:p>
            <a:r>
              <a:rPr lang="da-DK"/>
              <a:t>Øvelsen kan tilpasses afhængigt af, hvor meget tid I har afsat til at arbejde med øvelsen. Rambøll foreslår følgende program:</a:t>
            </a:r>
          </a:p>
          <a:p>
            <a:pPr marL="171450" indent="-171450">
              <a:buFont typeface="Arial" panose="020B0604020202020204" pitchFamily="34" charset="0"/>
              <a:buChar char="•"/>
            </a:pPr>
            <a:r>
              <a:rPr lang="da-DK"/>
              <a:t>Præsentation (20-30 min.)</a:t>
            </a:r>
          </a:p>
          <a:p>
            <a:pPr marL="171450" indent="-171450">
              <a:buFont typeface="Arial" panose="020B0604020202020204" pitchFamily="34" charset="0"/>
              <a:buChar char="•"/>
            </a:pPr>
            <a:r>
              <a:rPr lang="da-DK"/>
              <a:t>Gruppedrøftelser (20-40 min.)</a:t>
            </a:r>
          </a:p>
          <a:p>
            <a:pPr marL="171450" indent="-171450">
              <a:buFont typeface="Arial" panose="020B0604020202020204" pitchFamily="34" charset="0"/>
              <a:buChar char="•"/>
            </a:pPr>
            <a:r>
              <a:rPr lang="da-DK"/>
              <a:t>Opsamling i plenum (20-25 min.)</a:t>
            </a:r>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9</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7503475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a:t>Uddybende noter:</a:t>
            </a:r>
          </a:p>
          <a:p>
            <a:endParaRPr lang="da-DK"/>
          </a:p>
          <a:p>
            <a:r>
              <a:rPr lang="da-DK"/>
              <a:t>Øvelsen kan tilpasses afhængigt af, hvor meget tid I har afsat til at arbejde med øvelsen. Rambøll foreslår følgende program:</a:t>
            </a:r>
          </a:p>
          <a:p>
            <a:pPr marL="171450" indent="-171450">
              <a:buFont typeface="Arial" panose="020B0604020202020204" pitchFamily="34" charset="0"/>
              <a:buChar char="•"/>
            </a:pPr>
            <a:r>
              <a:rPr lang="da-DK"/>
              <a:t>Præsentation (10 min.)</a:t>
            </a:r>
          </a:p>
          <a:p>
            <a:pPr marL="171450" indent="-171450">
              <a:buFont typeface="Arial" panose="020B0604020202020204" pitchFamily="34" charset="0"/>
              <a:buChar char="•"/>
            </a:pPr>
            <a:r>
              <a:rPr lang="da-DK"/>
              <a:t>Gruppedrøftelser (20-30 min.) </a:t>
            </a:r>
          </a:p>
          <a:p>
            <a:pPr marL="171450" indent="-171450">
              <a:buFont typeface="Arial" panose="020B0604020202020204" pitchFamily="34" charset="0"/>
              <a:buChar char="•"/>
            </a:pPr>
            <a:r>
              <a:rPr lang="da-DK"/>
              <a:t>Drøftelser af næste skridt (10 min.)</a:t>
            </a:r>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0</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6-09-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9704550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2.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05.xml"/><Relationship Id="rId4" Type="http://schemas.openxmlformats.org/officeDocument/2006/relationships/image" Target="../media/image2.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2.xml"/><Relationship Id="rId1" Type="http://schemas.openxmlformats.org/officeDocument/2006/relationships/tags" Target="../tags/tag106.xml"/><Relationship Id="rId4" Type="http://schemas.openxmlformats.org/officeDocument/2006/relationships/image" Target="../media/image2.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2.xml"/><Relationship Id="rId1" Type="http://schemas.openxmlformats.org/officeDocument/2006/relationships/tags" Target="../tags/tag107.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2.xml"/><Relationship Id="rId1" Type="http://schemas.openxmlformats.org/officeDocument/2006/relationships/tags" Target="../tags/tag108.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2.xml"/><Relationship Id="rId1" Type="http://schemas.openxmlformats.org/officeDocument/2006/relationships/tags" Target="../tags/tag109.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2.xml"/><Relationship Id="rId1" Type="http://schemas.openxmlformats.org/officeDocument/2006/relationships/tags" Target="../tags/tag11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2.xml"/><Relationship Id="rId1" Type="http://schemas.openxmlformats.org/officeDocument/2006/relationships/tags" Target="../tags/tag11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oleObject" Target="../embeddings/oleObject111.bin"/><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11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image" Target="../media/image17.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2.xml"/><Relationship Id="rId1" Type="http://schemas.openxmlformats.org/officeDocument/2006/relationships/tags" Target="../tags/tag113.xml"/><Relationship Id="rId4" Type="http://schemas.openxmlformats.org/officeDocument/2006/relationships/image" Target="../media/image2.emf"/></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21.emf"/></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2.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oleObject" Target="../embeddings/oleObject55.bin"/><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56.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image" Target="../media/image17.png"/></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3.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5.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2.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2.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2.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2.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2.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2.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2.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2.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2.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86.xml"/><Relationship Id="rId4" Type="http://schemas.openxmlformats.org/officeDocument/2006/relationships/image" Target="../media/image2.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2.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2.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2.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2.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2.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2.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2.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2.xml"/><Relationship Id="rId1" Type="http://schemas.openxmlformats.org/officeDocument/2006/relationships/tags" Target="../tags/tag97.xml"/><Relationship Id="rId4" Type="http://schemas.openxmlformats.org/officeDocument/2006/relationships/image" Target="../media/image2.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2.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2.xml"/><Relationship Id="rId1" Type="http://schemas.openxmlformats.org/officeDocument/2006/relationships/tags" Target="../tags/tag99.xml"/><Relationship Id="rId4" Type="http://schemas.openxmlformats.org/officeDocument/2006/relationships/image" Target="../media/image2.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2.xml"/><Relationship Id="rId1" Type="http://schemas.openxmlformats.org/officeDocument/2006/relationships/tags" Target="../tags/tag100.xml"/><Relationship Id="rId4" Type="http://schemas.openxmlformats.org/officeDocument/2006/relationships/image" Target="../media/image2.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xml"/><Relationship Id="rId1" Type="http://schemas.openxmlformats.org/officeDocument/2006/relationships/tags" Target="../tags/tag101.xml"/><Relationship Id="rId4" Type="http://schemas.openxmlformats.org/officeDocument/2006/relationships/image" Target="../media/image2.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D48E49-C548-4C40-B4E5-416753470B56}"/>
              </a:ext>
            </a:extLst>
          </p:cNvPr>
          <p:cNvGraphicFramePr>
            <a:graphicFrameLocks noChangeAspect="1"/>
          </p:cNvGraphicFramePr>
          <p:nvPr userDrawn="1">
            <p:custDataLst>
              <p:tags r:id="rId1"/>
            </p:custDataLst>
            <p:extLst>
              <p:ext uri="{D42A27DB-BD31-4B8C-83A1-F6EECF244321}">
                <p14:modId xmlns:p14="http://schemas.microsoft.com/office/powerpoint/2010/main" val="1773381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6D48E49-C548-4C40-B4E5-416753470B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D1903C8B-6A03-40C4-AD50-AACDEC5FDA0C}" type="datetime1">
              <a:rPr lang="da-DK" smtClean="0"/>
              <a:pPr/>
              <a:t>06-09-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vert="horz" anchor="t" anchorCtr="0"/>
          <a:lstStyle>
            <a:lvl1pPr algn="l" rtl="0">
              <a:lnSpc>
                <a:spcPct val="91000"/>
              </a:lnSpc>
              <a:defRPr sz="3600">
                <a:solidFill>
                  <a:schemeClr val="bg1"/>
                </a:solidFill>
              </a:defRPr>
            </a:lvl1pPr>
          </a:lstStyle>
          <a:p>
            <a:r>
              <a:rPr lang="da-DK"/>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22711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rgbClr val="E6E6E6"/>
        </a:solidFill>
        <a:effectLst/>
      </p:bgPr>
    </p:bg>
    <p:spTree>
      <p:nvGrpSpPr>
        <p:cNvPr id="1" name=""/>
        <p:cNvGrpSpPr/>
        <p:nvPr/>
      </p:nvGrpSpPr>
      <p:grpSpPr>
        <a:xfrm>
          <a:off x="0" y="0"/>
          <a:ext cx="0" cy="0"/>
          <a:chOff x="0" y="0"/>
          <a:chExt cx="0" cy="0"/>
        </a:xfrm>
      </p:grpSpPr>
      <p:graphicFrame>
        <p:nvGraphicFramePr>
          <p:cNvPr id="68" name="Object 67" hidden="1">
            <a:extLst>
              <a:ext uri="{FF2B5EF4-FFF2-40B4-BE49-F238E27FC236}">
                <a16:creationId xmlns:a16="http://schemas.microsoft.com/office/drawing/2014/main" id="{A100C677-B418-4EDF-ABC6-CE08CDC695FD}"/>
              </a:ext>
            </a:extLst>
          </p:cNvPr>
          <p:cNvGraphicFramePr>
            <a:graphicFrameLocks noChangeAspect="1"/>
          </p:cNvGraphicFramePr>
          <p:nvPr userDrawn="1">
            <p:custDataLst>
              <p:tags r:id="rId1"/>
            </p:custDataLst>
            <p:extLst>
              <p:ext uri="{D42A27DB-BD31-4B8C-83A1-F6EECF244321}">
                <p14:modId xmlns:p14="http://schemas.microsoft.com/office/powerpoint/2010/main" val="1439516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8" name="Object 67" hidden="1">
                        <a:extLst>
                          <a:ext uri="{FF2B5EF4-FFF2-40B4-BE49-F238E27FC236}">
                            <a16:creationId xmlns:a16="http://schemas.microsoft.com/office/drawing/2014/main" id="{A100C677-B418-4EDF-ABC6-CE08CDC695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oogle Shape;437;p8">
            <a:extLst>
              <a:ext uri="{FF2B5EF4-FFF2-40B4-BE49-F238E27FC236}">
                <a16:creationId xmlns:a16="http://schemas.microsoft.com/office/drawing/2014/main" id="{DFA3D236-3486-4F19-A7C5-E133BD55CE1C}"/>
              </a:ext>
            </a:extLst>
          </p:cNvPr>
          <p:cNvGrpSpPr/>
          <p:nvPr userDrawn="1"/>
        </p:nvGrpSpPr>
        <p:grpSpPr>
          <a:xfrm>
            <a:off x="-85616" y="5833206"/>
            <a:ext cx="12363231" cy="1214388"/>
            <a:chOff x="-45603" y="440026"/>
            <a:chExt cx="9272423" cy="910791"/>
          </a:xfrm>
        </p:grpSpPr>
        <p:sp>
          <p:nvSpPr>
            <p:cNvPr id="8" name="Google Shape;438;p8">
              <a:extLst>
                <a:ext uri="{FF2B5EF4-FFF2-40B4-BE49-F238E27FC236}">
                  <a16:creationId xmlns:a16="http://schemas.microsoft.com/office/drawing/2014/main" id="{52DDEDDC-15D2-4E4C-901E-42E502E2A8B1}"/>
                </a:ext>
              </a:extLst>
            </p:cNvPr>
            <p:cNvSpPr/>
            <p:nvPr/>
          </p:nvSpPr>
          <p:spPr>
            <a:xfrm>
              <a:off x="2176354" y="708034"/>
              <a:ext cx="281779" cy="397462"/>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9" name="Google Shape;439;p8">
              <a:extLst>
                <a:ext uri="{FF2B5EF4-FFF2-40B4-BE49-F238E27FC236}">
                  <a16:creationId xmlns:a16="http://schemas.microsoft.com/office/drawing/2014/main" id="{CA5C13E6-5A09-4E57-8AA5-E627EC086C2F}"/>
                </a:ext>
              </a:extLst>
            </p:cNvPr>
            <p:cNvSpPr/>
            <p:nvPr/>
          </p:nvSpPr>
          <p:spPr>
            <a:xfrm>
              <a:off x="552323" y="912340"/>
              <a:ext cx="339086" cy="309912"/>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0" name="Google Shape;440;p8">
              <a:extLst>
                <a:ext uri="{FF2B5EF4-FFF2-40B4-BE49-F238E27FC236}">
                  <a16:creationId xmlns:a16="http://schemas.microsoft.com/office/drawing/2014/main" id="{DAF7605A-6C97-4A29-A6C4-D0BCB41B7E04}"/>
                </a:ext>
              </a:extLst>
            </p:cNvPr>
            <p:cNvSpPr/>
            <p:nvPr/>
          </p:nvSpPr>
          <p:spPr>
            <a:xfrm rot="-2700000">
              <a:off x="4913658" y="470447"/>
              <a:ext cx="181249" cy="400170"/>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1" name="Google Shape;441;p8">
              <a:extLst>
                <a:ext uri="{FF2B5EF4-FFF2-40B4-BE49-F238E27FC236}">
                  <a16:creationId xmlns:a16="http://schemas.microsoft.com/office/drawing/2014/main" id="{95F694D8-E89D-4F85-B965-6ABB0FD294C9}"/>
                </a:ext>
              </a:extLst>
            </p:cNvPr>
            <p:cNvSpPr/>
            <p:nvPr/>
          </p:nvSpPr>
          <p:spPr>
            <a:xfrm rot="-1967309">
              <a:off x="27613" y="549243"/>
              <a:ext cx="142154" cy="312221"/>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2" name="Google Shape;442;p8">
              <a:extLst>
                <a:ext uri="{FF2B5EF4-FFF2-40B4-BE49-F238E27FC236}">
                  <a16:creationId xmlns:a16="http://schemas.microsoft.com/office/drawing/2014/main" id="{42F9A808-20E2-4D0D-BC85-EA2AD4EE89EA}"/>
                </a:ext>
              </a:extLst>
            </p:cNvPr>
            <p:cNvSpPr/>
            <p:nvPr/>
          </p:nvSpPr>
          <p:spPr>
            <a:xfrm>
              <a:off x="6508977" y="1054156"/>
              <a:ext cx="212880" cy="143991"/>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3" name="Google Shape;443;p8">
              <a:extLst>
                <a:ext uri="{FF2B5EF4-FFF2-40B4-BE49-F238E27FC236}">
                  <a16:creationId xmlns:a16="http://schemas.microsoft.com/office/drawing/2014/main" id="{0172F219-15C9-4DE3-85DB-880E95DE5D8E}"/>
                </a:ext>
              </a:extLst>
            </p:cNvPr>
            <p:cNvSpPr/>
            <p:nvPr/>
          </p:nvSpPr>
          <p:spPr>
            <a:xfrm>
              <a:off x="4683118" y="1001445"/>
              <a:ext cx="272854" cy="185024"/>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4" name="Google Shape;444;p8">
              <a:extLst>
                <a:ext uri="{FF2B5EF4-FFF2-40B4-BE49-F238E27FC236}">
                  <a16:creationId xmlns:a16="http://schemas.microsoft.com/office/drawing/2014/main" id="{59F8DCF2-19C0-4EC9-AB80-F9304608F1A7}"/>
                </a:ext>
              </a:extLst>
            </p:cNvPr>
            <p:cNvSpPr/>
            <p:nvPr/>
          </p:nvSpPr>
          <p:spPr>
            <a:xfrm rot="3663599">
              <a:off x="5966469" y="976075"/>
              <a:ext cx="204754" cy="377157"/>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5" name="Google Shape;445;p8">
              <a:extLst>
                <a:ext uri="{FF2B5EF4-FFF2-40B4-BE49-F238E27FC236}">
                  <a16:creationId xmlns:a16="http://schemas.microsoft.com/office/drawing/2014/main" id="{B918CB4E-9A2D-4280-B8D6-EAE731751A45}"/>
                </a:ext>
              </a:extLst>
            </p:cNvPr>
            <p:cNvSpPr/>
            <p:nvPr/>
          </p:nvSpPr>
          <p:spPr>
            <a:xfrm rot="-3368760">
              <a:off x="5437768" y="638636"/>
              <a:ext cx="351278" cy="93987"/>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6" name="Google Shape;446;p8">
              <a:extLst>
                <a:ext uri="{FF2B5EF4-FFF2-40B4-BE49-F238E27FC236}">
                  <a16:creationId xmlns:a16="http://schemas.microsoft.com/office/drawing/2014/main" id="{37435EF2-1CCA-4464-9F09-3ECBC1399B9C}"/>
                </a:ext>
              </a:extLst>
            </p:cNvPr>
            <p:cNvSpPr/>
            <p:nvPr/>
          </p:nvSpPr>
          <p:spPr>
            <a:xfrm rot="3013936">
              <a:off x="1856192" y="906044"/>
              <a:ext cx="112704" cy="289910"/>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7" name="Google Shape;447;p8">
              <a:extLst>
                <a:ext uri="{FF2B5EF4-FFF2-40B4-BE49-F238E27FC236}">
                  <a16:creationId xmlns:a16="http://schemas.microsoft.com/office/drawing/2014/main" id="{F7A74B35-E181-4700-99FD-FFD1E7C070B6}"/>
                </a:ext>
              </a:extLst>
            </p:cNvPr>
            <p:cNvSpPr/>
            <p:nvPr/>
          </p:nvSpPr>
          <p:spPr>
            <a:xfrm rot="2198047">
              <a:off x="3510054" y="793341"/>
              <a:ext cx="140231" cy="36705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8" name="Google Shape;448;p8">
              <a:extLst>
                <a:ext uri="{FF2B5EF4-FFF2-40B4-BE49-F238E27FC236}">
                  <a16:creationId xmlns:a16="http://schemas.microsoft.com/office/drawing/2014/main" id="{062EB108-DA8F-4CAA-A021-2FB10C1EC4F1}"/>
                </a:ext>
              </a:extLst>
            </p:cNvPr>
            <p:cNvSpPr/>
            <p:nvPr/>
          </p:nvSpPr>
          <p:spPr>
            <a:xfrm rot="9906392">
              <a:off x="7295836" y="1033664"/>
              <a:ext cx="191420" cy="182909"/>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9" name="Google Shape;449;p8">
              <a:extLst>
                <a:ext uri="{FF2B5EF4-FFF2-40B4-BE49-F238E27FC236}">
                  <a16:creationId xmlns:a16="http://schemas.microsoft.com/office/drawing/2014/main" id="{73D1FC50-BAC9-4E63-B3C2-BC7032F81AAD}"/>
                </a:ext>
              </a:extLst>
            </p:cNvPr>
            <p:cNvSpPr/>
            <p:nvPr/>
          </p:nvSpPr>
          <p:spPr>
            <a:xfrm>
              <a:off x="301831" y="611168"/>
              <a:ext cx="314135" cy="349552"/>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0" name="Google Shape;450;p8">
              <a:extLst>
                <a:ext uri="{FF2B5EF4-FFF2-40B4-BE49-F238E27FC236}">
                  <a16:creationId xmlns:a16="http://schemas.microsoft.com/office/drawing/2014/main" id="{5F9B7FB3-35F4-4CBE-A09C-F66F590CFFE8}"/>
                </a:ext>
              </a:extLst>
            </p:cNvPr>
            <p:cNvSpPr/>
            <p:nvPr/>
          </p:nvSpPr>
          <p:spPr>
            <a:xfrm>
              <a:off x="5200465" y="821938"/>
              <a:ext cx="313748" cy="356086"/>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1" name="Google Shape;451;p8">
              <a:extLst>
                <a:ext uri="{FF2B5EF4-FFF2-40B4-BE49-F238E27FC236}">
                  <a16:creationId xmlns:a16="http://schemas.microsoft.com/office/drawing/2014/main" id="{D916FBB6-384D-4771-8641-58BD9CD17907}"/>
                </a:ext>
              </a:extLst>
            </p:cNvPr>
            <p:cNvSpPr/>
            <p:nvPr/>
          </p:nvSpPr>
          <p:spPr>
            <a:xfrm rot="-988374">
              <a:off x="8793699" y="981136"/>
              <a:ext cx="395858" cy="320125"/>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2" name="Google Shape;452;p8">
              <a:extLst>
                <a:ext uri="{FF2B5EF4-FFF2-40B4-BE49-F238E27FC236}">
                  <a16:creationId xmlns:a16="http://schemas.microsoft.com/office/drawing/2014/main" id="{71BF65B1-EDAE-48BD-9611-9B3FAF80BFC6}"/>
                </a:ext>
              </a:extLst>
            </p:cNvPr>
            <p:cNvSpPr/>
            <p:nvPr/>
          </p:nvSpPr>
          <p:spPr>
            <a:xfrm rot="1179229">
              <a:off x="6978602" y="547675"/>
              <a:ext cx="347146" cy="378286"/>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3" name="Google Shape;453;p8">
              <a:extLst>
                <a:ext uri="{FF2B5EF4-FFF2-40B4-BE49-F238E27FC236}">
                  <a16:creationId xmlns:a16="http://schemas.microsoft.com/office/drawing/2014/main" id="{9BA01FEA-2993-4024-825B-1DB626CB98BB}"/>
                </a:ext>
              </a:extLst>
            </p:cNvPr>
            <p:cNvSpPr/>
            <p:nvPr/>
          </p:nvSpPr>
          <p:spPr>
            <a:xfrm>
              <a:off x="980841" y="910413"/>
              <a:ext cx="326644" cy="367792"/>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4" name="Google Shape;454;p8">
              <a:extLst>
                <a:ext uri="{FF2B5EF4-FFF2-40B4-BE49-F238E27FC236}">
                  <a16:creationId xmlns:a16="http://schemas.microsoft.com/office/drawing/2014/main" id="{99AD2AE6-9050-4889-82F2-C1419125FF29}"/>
                </a:ext>
              </a:extLst>
            </p:cNvPr>
            <p:cNvSpPr/>
            <p:nvPr/>
          </p:nvSpPr>
          <p:spPr>
            <a:xfrm>
              <a:off x="8699186" y="523462"/>
              <a:ext cx="403969" cy="323646"/>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5" name="Google Shape;455;p8">
              <a:extLst>
                <a:ext uri="{FF2B5EF4-FFF2-40B4-BE49-F238E27FC236}">
                  <a16:creationId xmlns:a16="http://schemas.microsoft.com/office/drawing/2014/main" id="{C57713A8-CEA2-47F3-BD43-6ADEB3FE868B}"/>
                </a:ext>
              </a:extLst>
            </p:cNvPr>
            <p:cNvSpPr/>
            <p:nvPr/>
          </p:nvSpPr>
          <p:spPr>
            <a:xfrm>
              <a:off x="6870722" y="1009504"/>
              <a:ext cx="256151" cy="229019"/>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6" name="Google Shape;456;p8">
              <a:extLst>
                <a:ext uri="{FF2B5EF4-FFF2-40B4-BE49-F238E27FC236}">
                  <a16:creationId xmlns:a16="http://schemas.microsoft.com/office/drawing/2014/main" id="{7E90AF16-2D94-4AA6-8F4F-BA951107600C}"/>
                </a:ext>
              </a:extLst>
            </p:cNvPr>
            <p:cNvSpPr/>
            <p:nvPr/>
          </p:nvSpPr>
          <p:spPr>
            <a:xfrm rot="-2424567">
              <a:off x="1204048" y="475241"/>
              <a:ext cx="211213" cy="278694"/>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7" name="Google Shape;457;p8">
              <a:extLst>
                <a:ext uri="{FF2B5EF4-FFF2-40B4-BE49-F238E27FC236}">
                  <a16:creationId xmlns:a16="http://schemas.microsoft.com/office/drawing/2014/main" id="{C9486BE3-4E3B-4C58-A77A-744CDAC1B7B6}"/>
                </a:ext>
              </a:extLst>
            </p:cNvPr>
            <p:cNvSpPr/>
            <p:nvPr/>
          </p:nvSpPr>
          <p:spPr>
            <a:xfrm>
              <a:off x="7556769" y="607048"/>
              <a:ext cx="402022" cy="236475"/>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28" name="Google Shape;458;p8">
              <a:extLst>
                <a:ext uri="{FF2B5EF4-FFF2-40B4-BE49-F238E27FC236}">
                  <a16:creationId xmlns:a16="http://schemas.microsoft.com/office/drawing/2014/main" id="{3C6F0935-C1C0-463D-A543-D7A18AF418BF}"/>
                </a:ext>
              </a:extLst>
            </p:cNvPr>
            <p:cNvGrpSpPr/>
            <p:nvPr/>
          </p:nvGrpSpPr>
          <p:grpSpPr>
            <a:xfrm rot="890855">
              <a:off x="3181660" y="515636"/>
              <a:ext cx="370663" cy="217580"/>
              <a:chOff x="1429156" y="1387535"/>
              <a:chExt cx="657769" cy="386112"/>
            </a:xfrm>
          </p:grpSpPr>
          <p:sp>
            <p:nvSpPr>
              <p:cNvPr id="65" name="Google Shape;459;p8">
                <a:extLst>
                  <a:ext uri="{FF2B5EF4-FFF2-40B4-BE49-F238E27FC236}">
                    <a16:creationId xmlns:a16="http://schemas.microsoft.com/office/drawing/2014/main" id="{398577B8-887D-49A3-BAB5-913FE53A8C39}"/>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6" name="Google Shape;460;p8">
                <a:extLst>
                  <a:ext uri="{FF2B5EF4-FFF2-40B4-BE49-F238E27FC236}">
                    <a16:creationId xmlns:a16="http://schemas.microsoft.com/office/drawing/2014/main" id="{EFA2CCDF-E88F-49CB-8522-55A21ECFC218}"/>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29" name="Google Shape;461;p8">
              <a:extLst>
                <a:ext uri="{FF2B5EF4-FFF2-40B4-BE49-F238E27FC236}">
                  <a16:creationId xmlns:a16="http://schemas.microsoft.com/office/drawing/2014/main" id="{B70BC019-5B58-4937-8117-6773BDC0F1EF}"/>
                </a:ext>
              </a:extLst>
            </p:cNvPr>
            <p:cNvSpPr/>
            <p:nvPr/>
          </p:nvSpPr>
          <p:spPr>
            <a:xfrm rot="-2499483">
              <a:off x="4165391" y="919169"/>
              <a:ext cx="428994" cy="113072"/>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0" name="Google Shape;462;p8">
              <a:extLst>
                <a:ext uri="{FF2B5EF4-FFF2-40B4-BE49-F238E27FC236}">
                  <a16:creationId xmlns:a16="http://schemas.microsoft.com/office/drawing/2014/main" id="{037CE266-13C0-448C-A563-1454B36CFBA4}"/>
                </a:ext>
              </a:extLst>
            </p:cNvPr>
            <p:cNvSpPr/>
            <p:nvPr/>
          </p:nvSpPr>
          <p:spPr>
            <a:xfrm>
              <a:off x="674582" y="523294"/>
              <a:ext cx="375105" cy="294447"/>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31" name="Google Shape;463;p8">
              <a:extLst>
                <a:ext uri="{FF2B5EF4-FFF2-40B4-BE49-F238E27FC236}">
                  <a16:creationId xmlns:a16="http://schemas.microsoft.com/office/drawing/2014/main" id="{27EDFF7F-5034-4BC9-BE8B-3E6D7C6197BC}"/>
                </a:ext>
              </a:extLst>
            </p:cNvPr>
            <p:cNvGrpSpPr/>
            <p:nvPr/>
          </p:nvGrpSpPr>
          <p:grpSpPr>
            <a:xfrm>
              <a:off x="3707787" y="505390"/>
              <a:ext cx="212392" cy="256778"/>
              <a:chOff x="1010452" y="1144365"/>
              <a:chExt cx="376916" cy="455685"/>
            </a:xfrm>
          </p:grpSpPr>
          <p:sp>
            <p:nvSpPr>
              <p:cNvPr id="63" name="Google Shape;464;p8">
                <a:extLst>
                  <a:ext uri="{FF2B5EF4-FFF2-40B4-BE49-F238E27FC236}">
                    <a16:creationId xmlns:a16="http://schemas.microsoft.com/office/drawing/2014/main" id="{2FFF5DD8-0F93-4F46-AD24-11024FDF3236}"/>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4" name="Google Shape;465;p8">
                <a:extLst>
                  <a:ext uri="{FF2B5EF4-FFF2-40B4-BE49-F238E27FC236}">
                    <a16:creationId xmlns:a16="http://schemas.microsoft.com/office/drawing/2014/main" id="{747E638D-D925-4CD5-BA8E-12E806D795E9}"/>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32" name="Google Shape;466;p8">
              <a:extLst>
                <a:ext uri="{FF2B5EF4-FFF2-40B4-BE49-F238E27FC236}">
                  <a16:creationId xmlns:a16="http://schemas.microsoft.com/office/drawing/2014/main" id="{4DFA9240-E771-4987-974F-DCEF5FC6723C}"/>
                </a:ext>
              </a:extLst>
            </p:cNvPr>
            <p:cNvSpPr/>
            <p:nvPr/>
          </p:nvSpPr>
          <p:spPr>
            <a:xfrm rot="-1100489">
              <a:off x="8420309" y="672386"/>
              <a:ext cx="223722" cy="226855"/>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3" name="Google Shape;467;p8">
              <a:extLst>
                <a:ext uri="{FF2B5EF4-FFF2-40B4-BE49-F238E27FC236}">
                  <a16:creationId xmlns:a16="http://schemas.microsoft.com/office/drawing/2014/main" id="{5FE706DA-1126-4F4C-8BBA-DC7AC43A2500}"/>
                </a:ext>
              </a:extLst>
            </p:cNvPr>
            <p:cNvSpPr/>
            <p:nvPr/>
          </p:nvSpPr>
          <p:spPr>
            <a:xfrm>
              <a:off x="3572521" y="981550"/>
              <a:ext cx="255529" cy="288428"/>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4" name="Google Shape;468;p8">
              <a:extLst>
                <a:ext uri="{FF2B5EF4-FFF2-40B4-BE49-F238E27FC236}">
                  <a16:creationId xmlns:a16="http://schemas.microsoft.com/office/drawing/2014/main" id="{663F8069-EBEA-4D62-B798-7843177FF1CB}"/>
                </a:ext>
              </a:extLst>
            </p:cNvPr>
            <p:cNvSpPr/>
            <p:nvPr/>
          </p:nvSpPr>
          <p:spPr>
            <a:xfrm rot="1800079">
              <a:off x="8229930" y="1002016"/>
              <a:ext cx="198020" cy="248076"/>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5" name="Google Shape;469;p8">
              <a:extLst>
                <a:ext uri="{FF2B5EF4-FFF2-40B4-BE49-F238E27FC236}">
                  <a16:creationId xmlns:a16="http://schemas.microsoft.com/office/drawing/2014/main" id="{6D8D561E-D592-4F4A-A43C-EC6417F3F195}"/>
                </a:ext>
              </a:extLst>
            </p:cNvPr>
            <p:cNvSpPr/>
            <p:nvPr/>
          </p:nvSpPr>
          <p:spPr>
            <a:xfrm>
              <a:off x="3943429" y="927518"/>
              <a:ext cx="163399" cy="25729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6" name="Google Shape;470;p8">
              <a:extLst>
                <a:ext uri="{FF2B5EF4-FFF2-40B4-BE49-F238E27FC236}">
                  <a16:creationId xmlns:a16="http://schemas.microsoft.com/office/drawing/2014/main" id="{A2209A31-DFA2-4D5E-AC37-61A897B80BA2}"/>
                </a:ext>
              </a:extLst>
            </p:cNvPr>
            <p:cNvSpPr/>
            <p:nvPr/>
          </p:nvSpPr>
          <p:spPr>
            <a:xfrm>
              <a:off x="4038156" y="505004"/>
              <a:ext cx="340006" cy="361563"/>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7" name="Google Shape;471;p8">
              <a:extLst>
                <a:ext uri="{FF2B5EF4-FFF2-40B4-BE49-F238E27FC236}">
                  <a16:creationId xmlns:a16="http://schemas.microsoft.com/office/drawing/2014/main" id="{5129EA7F-C30F-425A-947A-D527198CD2FD}"/>
                </a:ext>
              </a:extLst>
            </p:cNvPr>
            <p:cNvSpPr/>
            <p:nvPr/>
          </p:nvSpPr>
          <p:spPr>
            <a:xfrm>
              <a:off x="2854633" y="688547"/>
              <a:ext cx="416637" cy="259709"/>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8" name="Google Shape;472;p8">
              <a:extLst>
                <a:ext uri="{FF2B5EF4-FFF2-40B4-BE49-F238E27FC236}">
                  <a16:creationId xmlns:a16="http://schemas.microsoft.com/office/drawing/2014/main" id="{5881CFEE-ADE8-48E5-AB7C-68CB9039AA11}"/>
                </a:ext>
              </a:extLst>
            </p:cNvPr>
            <p:cNvSpPr/>
            <p:nvPr/>
          </p:nvSpPr>
          <p:spPr>
            <a:xfrm rot="-1252057">
              <a:off x="6497159" y="534061"/>
              <a:ext cx="204722" cy="302187"/>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9" name="Google Shape;473;p8">
              <a:extLst>
                <a:ext uri="{FF2B5EF4-FFF2-40B4-BE49-F238E27FC236}">
                  <a16:creationId xmlns:a16="http://schemas.microsoft.com/office/drawing/2014/main" id="{69E898E1-6FA4-4718-AFF7-3DC996848B50}"/>
                </a:ext>
              </a:extLst>
            </p:cNvPr>
            <p:cNvSpPr/>
            <p:nvPr/>
          </p:nvSpPr>
          <p:spPr>
            <a:xfrm>
              <a:off x="2537776" y="539860"/>
              <a:ext cx="230803" cy="290180"/>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0" name="Google Shape;474;p8">
              <a:extLst>
                <a:ext uri="{FF2B5EF4-FFF2-40B4-BE49-F238E27FC236}">
                  <a16:creationId xmlns:a16="http://schemas.microsoft.com/office/drawing/2014/main" id="{F154A736-934B-41BD-A76B-8E0C52C1AE46}"/>
                </a:ext>
              </a:extLst>
            </p:cNvPr>
            <p:cNvSpPr/>
            <p:nvPr/>
          </p:nvSpPr>
          <p:spPr>
            <a:xfrm>
              <a:off x="5713194" y="743996"/>
              <a:ext cx="256984" cy="24403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1" name="Google Shape;475;p8">
              <a:extLst>
                <a:ext uri="{FF2B5EF4-FFF2-40B4-BE49-F238E27FC236}">
                  <a16:creationId xmlns:a16="http://schemas.microsoft.com/office/drawing/2014/main" id="{C3AC04FE-8671-498F-828D-203CBC0BB635}"/>
                </a:ext>
              </a:extLst>
            </p:cNvPr>
            <p:cNvSpPr/>
            <p:nvPr/>
          </p:nvSpPr>
          <p:spPr>
            <a:xfrm>
              <a:off x="2507283" y="945803"/>
              <a:ext cx="99390" cy="211075"/>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2" name="Google Shape;476;p8">
              <a:extLst>
                <a:ext uri="{FF2B5EF4-FFF2-40B4-BE49-F238E27FC236}">
                  <a16:creationId xmlns:a16="http://schemas.microsoft.com/office/drawing/2014/main" id="{63F18C92-17B7-43A5-A68C-C450B779DADC}"/>
                </a:ext>
              </a:extLst>
            </p:cNvPr>
            <p:cNvSpPr/>
            <p:nvPr/>
          </p:nvSpPr>
          <p:spPr>
            <a:xfrm>
              <a:off x="8045390" y="829868"/>
              <a:ext cx="135793" cy="114511"/>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3" name="Google Shape;477;p8">
              <a:extLst>
                <a:ext uri="{FF2B5EF4-FFF2-40B4-BE49-F238E27FC236}">
                  <a16:creationId xmlns:a16="http://schemas.microsoft.com/office/drawing/2014/main" id="{417EB980-32D0-4DC4-A6C4-7E6D846EC924}"/>
                </a:ext>
              </a:extLst>
            </p:cNvPr>
            <p:cNvSpPr/>
            <p:nvPr/>
          </p:nvSpPr>
          <p:spPr>
            <a:xfrm>
              <a:off x="5019180" y="1018026"/>
              <a:ext cx="99190" cy="9853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4" name="Google Shape;478;p8">
              <a:extLst>
                <a:ext uri="{FF2B5EF4-FFF2-40B4-BE49-F238E27FC236}">
                  <a16:creationId xmlns:a16="http://schemas.microsoft.com/office/drawing/2014/main" id="{381163EF-7629-4CFF-B559-9851352F5ACF}"/>
                </a:ext>
              </a:extLst>
            </p:cNvPr>
            <p:cNvSpPr/>
            <p:nvPr/>
          </p:nvSpPr>
          <p:spPr>
            <a:xfrm rot="9301126">
              <a:off x="6297718" y="732778"/>
              <a:ext cx="123698" cy="266216"/>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5" name="Google Shape;479;p8">
              <a:extLst>
                <a:ext uri="{FF2B5EF4-FFF2-40B4-BE49-F238E27FC236}">
                  <a16:creationId xmlns:a16="http://schemas.microsoft.com/office/drawing/2014/main" id="{0F50E663-39E1-4AD0-93A3-1908DAE033F1}"/>
                </a:ext>
              </a:extLst>
            </p:cNvPr>
            <p:cNvSpPr/>
            <p:nvPr/>
          </p:nvSpPr>
          <p:spPr>
            <a:xfrm>
              <a:off x="1756780" y="575182"/>
              <a:ext cx="134585" cy="137354"/>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6" name="Google Shape;480;p8">
              <a:extLst>
                <a:ext uri="{FF2B5EF4-FFF2-40B4-BE49-F238E27FC236}">
                  <a16:creationId xmlns:a16="http://schemas.microsoft.com/office/drawing/2014/main" id="{71494E0A-A727-4295-A68E-7B51FCE149E5}"/>
                </a:ext>
              </a:extLst>
            </p:cNvPr>
            <p:cNvSpPr/>
            <p:nvPr/>
          </p:nvSpPr>
          <p:spPr>
            <a:xfrm>
              <a:off x="4716478" y="737980"/>
              <a:ext cx="145419" cy="160635"/>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7" name="Google Shape;481;p8">
              <a:extLst>
                <a:ext uri="{FF2B5EF4-FFF2-40B4-BE49-F238E27FC236}">
                  <a16:creationId xmlns:a16="http://schemas.microsoft.com/office/drawing/2014/main" id="{631DB046-E1DA-46FF-B77D-914F220E12DF}"/>
                </a:ext>
              </a:extLst>
            </p:cNvPr>
            <p:cNvSpPr/>
            <p:nvPr/>
          </p:nvSpPr>
          <p:spPr>
            <a:xfrm>
              <a:off x="1639378" y="819333"/>
              <a:ext cx="126045" cy="135687"/>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8" name="Google Shape;482;p8">
              <a:extLst>
                <a:ext uri="{FF2B5EF4-FFF2-40B4-BE49-F238E27FC236}">
                  <a16:creationId xmlns:a16="http://schemas.microsoft.com/office/drawing/2014/main" id="{6C3F2E69-7F19-4BB4-9196-BC1986750B11}"/>
                </a:ext>
              </a:extLst>
            </p:cNvPr>
            <p:cNvSpPr/>
            <p:nvPr/>
          </p:nvSpPr>
          <p:spPr>
            <a:xfrm>
              <a:off x="8172573" y="555140"/>
              <a:ext cx="115263" cy="15729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9" name="Google Shape;483;p8">
              <a:extLst>
                <a:ext uri="{FF2B5EF4-FFF2-40B4-BE49-F238E27FC236}">
                  <a16:creationId xmlns:a16="http://schemas.microsoft.com/office/drawing/2014/main" id="{9B2453D0-FA03-4643-84F5-9E3C91A5CBC8}"/>
                </a:ext>
              </a:extLst>
            </p:cNvPr>
            <p:cNvSpPr/>
            <p:nvPr/>
          </p:nvSpPr>
          <p:spPr>
            <a:xfrm>
              <a:off x="4481735" y="547509"/>
              <a:ext cx="87093" cy="153839"/>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0" name="Google Shape;484;p8">
              <a:extLst>
                <a:ext uri="{FF2B5EF4-FFF2-40B4-BE49-F238E27FC236}">
                  <a16:creationId xmlns:a16="http://schemas.microsoft.com/office/drawing/2014/main" id="{9807AEC3-39CD-4D14-B42A-CD3D9393FE2E}"/>
                </a:ext>
              </a:extLst>
            </p:cNvPr>
            <p:cNvSpPr/>
            <p:nvPr/>
          </p:nvSpPr>
          <p:spPr>
            <a:xfrm>
              <a:off x="2048182" y="505004"/>
              <a:ext cx="126077" cy="173483"/>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1" name="Google Shape;485;p8">
              <a:extLst>
                <a:ext uri="{FF2B5EF4-FFF2-40B4-BE49-F238E27FC236}">
                  <a16:creationId xmlns:a16="http://schemas.microsoft.com/office/drawing/2014/main" id="{796D8525-F78B-4E8E-B835-32B685225339}"/>
                </a:ext>
              </a:extLst>
            </p:cNvPr>
            <p:cNvSpPr/>
            <p:nvPr/>
          </p:nvSpPr>
          <p:spPr>
            <a:xfrm>
              <a:off x="126658" y="1006747"/>
              <a:ext cx="126356" cy="163706"/>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2" name="Google Shape;486;p8">
              <a:extLst>
                <a:ext uri="{FF2B5EF4-FFF2-40B4-BE49-F238E27FC236}">
                  <a16:creationId xmlns:a16="http://schemas.microsoft.com/office/drawing/2014/main" id="{1ED48132-0E3B-4C9F-8080-7B4FB0379E28}"/>
                </a:ext>
              </a:extLst>
            </p:cNvPr>
            <p:cNvGrpSpPr/>
            <p:nvPr/>
          </p:nvGrpSpPr>
          <p:grpSpPr>
            <a:xfrm>
              <a:off x="7836651" y="987182"/>
              <a:ext cx="121750" cy="155749"/>
              <a:chOff x="6422295" y="3351500"/>
              <a:chExt cx="252856" cy="323399"/>
            </a:xfrm>
          </p:grpSpPr>
          <p:sp>
            <p:nvSpPr>
              <p:cNvPr id="61" name="Google Shape;487;p8">
                <a:extLst>
                  <a:ext uri="{FF2B5EF4-FFF2-40B4-BE49-F238E27FC236}">
                    <a16:creationId xmlns:a16="http://schemas.microsoft.com/office/drawing/2014/main" id="{865D144E-115E-4C0F-858B-7AD446047D5F}"/>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2" name="Google Shape;488;p8">
                <a:extLst>
                  <a:ext uri="{FF2B5EF4-FFF2-40B4-BE49-F238E27FC236}">
                    <a16:creationId xmlns:a16="http://schemas.microsoft.com/office/drawing/2014/main" id="{FBDD473D-941E-49C0-95D2-5368D36472F6}"/>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3" name="Google Shape;489;p8">
              <a:extLst>
                <a:ext uri="{FF2B5EF4-FFF2-40B4-BE49-F238E27FC236}">
                  <a16:creationId xmlns:a16="http://schemas.microsoft.com/office/drawing/2014/main" id="{2CFDE35F-9C93-41AA-AF39-B673BE122D10}"/>
                </a:ext>
              </a:extLst>
            </p:cNvPr>
            <p:cNvSpPr/>
            <p:nvPr/>
          </p:nvSpPr>
          <p:spPr>
            <a:xfrm>
              <a:off x="1353734" y="881315"/>
              <a:ext cx="187420" cy="190001"/>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4" name="Google Shape;490;p8">
              <a:extLst>
                <a:ext uri="{FF2B5EF4-FFF2-40B4-BE49-F238E27FC236}">
                  <a16:creationId xmlns:a16="http://schemas.microsoft.com/office/drawing/2014/main" id="{205D0610-BF1E-4924-B2BC-5F952001F3CA}"/>
                </a:ext>
              </a:extLst>
            </p:cNvPr>
            <p:cNvSpPr/>
            <p:nvPr/>
          </p:nvSpPr>
          <p:spPr>
            <a:xfrm>
              <a:off x="6088369" y="586056"/>
              <a:ext cx="149720" cy="115699"/>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5" name="Google Shape;491;p8">
              <a:extLst>
                <a:ext uri="{FF2B5EF4-FFF2-40B4-BE49-F238E27FC236}">
                  <a16:creationId xmlns:a16="http://schemas.microsoft.com/office/drawing/2014/main" id="{644799B6-39C4-4EDA-90F6-B1BA328AF112}"/>
                </a:ext>
              </a:extLst>
            </p:cNvPr>
            <p:cNvGrpSpPr/>
            <p:nvPr/>
          </p:nvGrpSpPr>
          <p:grpSpPr>
            <a:xfrm>
              <a:off x="3137402" y="1006079"/>
              <a:ext cx="129429" cy="165162"/>
              <a:chOff x="6793660" y="3322411"/>
              <a:chExt cx="268804" cy="342944"/>
            </a:xfrm>
          </p:grpSpPr>
          <p:sp>
            <p:nvSpPr>
              <p:cNvPr id="58" name="Google Shape;492;p8">
                <a:extLst>
                  <a:ext uri="{FF2B5EF4-FFF2-40B4-BE49-F238E27FC236}">
                    <a16:creationId xmlns:a16="http://schemas.microsoft.com/office/drawing/2014/main" id="{DA90D220-A61A-410A-82F9-F4435DFF17DB}"/>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9" name="Google Shape;493;p8">
                <a:extLst>
                  <a:ext uri="{FF2B5EF4-FFF2-40B4-BE49-F238E27FC236}">
                    <a16:creationId xmlns:a16="http://schemas.microsoft.com/office/drawing/2014/main" id="{9207D843-5CE4-4D01-AACF-727765A8CE11}"/>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0" name="Google Shape;494;p8">
                <a:extLst>
                  <a:ext uri="{FF2B5EF4-FFF2-40B4-BE49-F238E27FC236}">
                    <a16:creationId xmlns:a16="http://schemas.microsoft.com/office/drawing/2014/main" id="{3B7AA49C-B52E-45C3-B4F0-5DB3CE9ACE95}"/>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6" name="Google Shape;495;p8">
              <a:extLst>
                <a:ext uri="{FF2B5EF4-FFF2-40B4-BE49-F238E27FC236}">
                  <a16:creationId xmlns:a16="http://schemas.microsoft.com/office/drawing/2014/main" id="{6F723D16-9CA1-4043-8ACE-CDD24A84CAAE}"/>
                </a:ext>
              </a:extLst>
            </p:cNvPr>
            <p:cNvSpPr/>
            <p:nvPr/>
          </p:nvSpPr>
          <p:spPr>
            <a:xfrm>
              <a:off x="2776508" y="1006744"/>
              <a:ext cx="212021" cy="115156"/>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7" name="Google Shape;496;p8">
              <a:extLst>
                <a:ext uri="{FF2B5EF4-FFF2-40B4-BE49-F238E27FC236}">
                  <a16:creationId xmlns:a16="http://schemas.microsoft.com/office/drawing/2014/main" id="{C4E55DC9-07C5-4BD4-87D7-ECDF770DF217}"/>
                </a:ext>
              </a:extLst>
            </p:cNvPr>
            <p:cNvSpPr/>
            <p:nvPr/>
          </p:nvSpPr>
          <p:spPr>
            <a:xfrm rot="1466637">
              <a:off x="5246242" y="579297"/>
              <a:ext cx="132710" cy="129208"/>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2" name="Title 1"/>
          <p:cNvSpPr>
            <a:spLocks noGrp="1"/>
          </p:cNvSpPr>
          <p:nvPr>
            <p:ph type="title" hasCustomPrompt="1"/>
          </p:nvPr>
        </p:nvSpPr>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18018371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BB53CDE-9890-4DBB-BE92-8111C65D2AE8}"/>
              </a:ext>
            </a:extLst>
          </p:cNvPr>
          <p:cNvGraphicFramePr>
            <a:graphicFrameLocks noChangeAspect="1"/>
          </p:cNvGraphicFramePr>
          <p:nvPr userDrawn="1">
            <p:custDataLst>
              <p:tags r:id="rId1"/>
            </p:custDataLst>
            <p:extLst>
              <p:ext uri="{D42A27DB-BD31-4B8C-83A1-F6EECF244321}">
                <p14:modId xmlns:p14="http://schemas.microsoft.com/office/powerpoint/2010/main" val="1767268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3BB53CDE-9890-4DBB-BE92-8111C65D2A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a:xfrm>
            <a:off x="1350000" y="1122363"/>
            <a:ext cx="8509963" cy="1984631"/>
          </a:xfrm>
        </p:spPr>
        <p:txBody>
          <a:bodyPr vert="horz" anchor="b"/>
          <a:lstStyle>
            <a:lvl1pPr algn="l" rtl="0">
              <a:defRPr sz="6000">
                <a:solidFill>
                  <a:schemeClr val="accent2"/>
                </a:solidFill>
              </a:defRPr>
            </a:lvl1pPr>
          </a:lstStyle>
          <a:p>
            <a:r>
              <a:rPr lang="da-DK" noProof="0"/>
              <a:t>Click to add </a:t>
            </a:r>
            <a:r>
              <a:rPr lang="da-DK"/>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rtl="0">
              <a:defRPr>
                <a:solidFill>
                  <a:schemeClr val="accent2"/>
                </a:solidFill>
              </a:defRPr>
            </a:lvl1pPr>
          </a:lstStyle>
          <a:p>
            <a:fld id="{E373EE1C-D19B-4EA0-9A15-DED1DEE449B9}" type="datetime1">
              <a:rPr lang="da-DK" smtClean="0"/>
              <a:pPr/>
              <a:t>06-09-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rtl="0">
              <a:defRPr>
                <a:solidFill>
                  <a:schemeClr val="accent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nr.›</a:t>
            </a:fld>
            <a:endParaRPr lang="da-DK"/>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785830897"/>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66A539-0101-4A82-B9C3-F577CEB05A9E}"/>
              </a:ext>
            </a:extLst>
          </p:cNvPr>
          <p:cNvGraphicFramePr>
            <a:graphicFrameLocks noChangeAspect="1"/>
          </p:cNvGraphicFramePr>
          <p:nvPr userDrawn="1">
            <p:custDataLst>
              <p:tags r:id="rId1"/>
            </p:custDataLst>
            <p:extLst>
              <p:ext uri="{D42A27DB-BD31-4B8C-83A1-F6EECF244321}">
                <p14:modId xmlns:p14="http://schemas.microsoft.com/office/powerpoint/2010/main" val="110371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166A539-0101-4A82-B9C3-F577CEB05A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rtl="0">
              <a:defRPr sz="100">
                <a:noFill/>
              </a:defRPr>
            </a:lvl1pPr>
          </a:lstStyle>
          <a:p>
            <a:fld id="{1466C188-1D45-4F08-8DB4-23F6002C2B91}" type="datetime1">
              <a:rPr lang="da-DK" smtClean="0"/>
              <a:pPr/>
              <a:t>06-09-2023</a:t>
            </a:fld>
            <a:endParaRPr lang="da-DK"/>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vert="horz" anchor="b"/>
          <a:lstStyle>
            <a:lvl1pPr algn="l" rtl="0">
              <a:defRPr sz="6000">
                <a:solidFill>
                  <a:schemeClr val="bg1"/>
                </a:solidFill>
              </a:defRPr>
            </a:lvl1pPr>
          </a:lstStyle>
          <a:p>
            <a:r>
              <a:rPr lang="da-DK" noProof="0"/>
              <a:t>Click to add </a:t>
            </a:r>
            <a:r>
              <a:rPr lang="da-DK"/>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Tree>
    <p:extLst>
      <p:ext uri="{BB962C8B-B14F-4D97-AF65-F5344CB8AC3E}">
        <p14:creationId xmlns:p14="http://schemas.microsoft.com/office/powerpoint/2010/main" val="135973420"/>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A44A42-9A21-496B-8550-E0C5720EF5BA}"/>
              </a:ext>
            </a:extLst>
          </p:cNvPr>
          <p:cNvGraphicFramePr>
            <a:graphicFrameLocks noChangeAspect="1"/>
          </p:cNvGraphicFramePr>
          <p:nvPr userDrawn="1">
            <p:custDataLst>
              <p:tags r:id="rId1"/>
            </p:custDataLst>
            <p:extLst>
              <p:ext uri="{D42A27DB-BD31-4B8C-83A1-F6EECF244321}">
                <p14:modId xmlns:p14="http://schemas.microsoft.com/office/powerpoint/2010/main" val="2239372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C5A44A42-9A21-496B-8550-E0C5720EF5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endParaRPr lang="da-DK"/>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7494C8F4-6B6A-48C1-B023-792B6BA54AED}" type="datetime1">
              <a:rPr lang="da-DK" smtClean="0"/>
              <a:pPr/>
              <a:t>06-09-2023</a:t>
            </a:fld>
            <a:endParaRPr lang="da-DK"/>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94294701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9DF22F3-2934-407B-B386-5E19FC8C9F3E}"/>
              </a:ext>
            </a:extLst>
          </p:cNvPr>
          <p:cNvGraphicFramePr>
            <a:graphicFrameLocks noChangeAspect="1"/>
          </p:cNvGraphicFramePr>
          <p:nvPr userDrawn="1">
            <p:custDataLst>
              <p:tags r:id="rId1"/>
            </p:custDataLst>
            <p:extLst>
              <p:ext uri="{D42A27DB-BD31-4B8C-83A1-F6EECF244321}">
                <p14:modId xmlns:p14="http://schemas.microsoft.com/office/powerpoint/2010/main" val="1139108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9DF22F3-2934-407B-B386-5E19FC8C9F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lvl1pPr rtl="0">
              <a:defRPr/>
            </a:lvl1pPr>
          </a:lstStyle>
          <a:p>
            <a:fld id="{8C247F8E-8C20-40E4-A53C-3DA358D8C9A7}" type="datetime1">
              <a:rPr lang="da-DK" smtClean="0"/>
              <a:pPr/>
              <a:t>06-09-2023</a:t>
            </a:fld>
            <a:endParaRPr lang="da-DK"/>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0155002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B59735-DCF7-4C85-B703-F0D90F8EA2BD}"/>
              </a:ext>
            </a:extLst>
          </p:cNvPr>
          <p:cNvGraphicFramePr>
            <a:graphicFrameLocks noChangeAspect="1"/>
          </p:cNvGraphicFramePr>
          <p:nvPr userDrawn="1">
            <p:custDataLst>
              <p:tags r:id="rId1"/>
            </p:custDataLst>
            <p:extLst>
              <p:ext uri="{D42A27DB-BD31-4B8C-83A1-F6EECF244321}">
                <p14:modId xmlns:p14="http://schemas.microsoft.com/office/powerpoint/2010/main" val="3913615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5FB59735-DCF7-4C85-B703-F0D90F8EA2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8E8C12B2-0AE5-428E-985F-E18D4DA17AC7}" type="datetime1">
              <a:rPr lang="da-DK" smtClean="0"/>
              <a:pPr/>
              <a:t>06-09-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360000" y="654050"/>
            <a:ext cx="11471638" cy="938213"/>
          </a:xfrm>
        </p:spPr>
        <p:txBody>
          <a:bodyPr vert="horz" anchor="t" anchorCtr="0"/>
          <a:lstStyle>
            <a:lvl1pPr algn="l" rtl="0">
              <a:defRPr sz="6000">
                <a:solidFill>
                  <a:schemeClr val="bg2"/>
                </a:solidFill>
              </a:defRPr>
            </a:lvl1pPr>
          </a:lstStyle>
          <a:p>
            <a:r>
              <a:rPr lang="da-DK" noProof="0"/>
              <a:t>Click to add </a:t>
            </a:r>
            <a:r>
              <a:rPr lang="da-DK"/>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2799866313"/>
      </p:ext>
    </p:extLst>
  </p:cSld>
  <p:clrMapOvr>
    <a:overrideClrMapping bg1="dk1" tx1="lt1" bg2="dk2" tx2="lt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00ADF0-CFE3-4E1E-A6F1-50578BEF7A5A}"/>
              </a:ext>
            </a:extLst>
          </p:cNvPr>
          <p:cNvGraphicFramePr>
            <a:graphicFrameLocks noChangeAspect="1"/>
          </p:cNvGraphicFramePr>
          <p:nvPr userDrawn="1">
            <p:custDataLst>
              <p:tags r:id="rId1"/>
            </p:custDataLst>
            <p:extLst>
              <p:ext uri="{D42A27DB-BD31-4B8C-83A1-F6EECF244321}">
                <p14:modId xmlns:p14="http://schemas.microsoft.com/office/powerpoint/2010/main" val="518735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8B00ADF0-CFE3-4E1E-A6F1-50578BEF7A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06-09-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1"/>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3209672871"/>
      </p:ext>
    </p:extLst>
  </p:cSld>
  <p:clrMapOvr>
    <a:overrideClrMapping bg1="dk1" tx1="lt1" bg2="dk2" tx2="lt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05142B-6D8F-49A5-8C11-B0866A0D6D5F}"/>
              </a:ext>
            </a:extLst>
          </p:cNvPr>
          <p:cNvGraphicFramePr>
            <a:graphicFrameLocks noChangeAspect="1"/>
          </p:cNvGraphicFramePr>
          <p:nvPr userDrawn="1">
            <p:custDataLst>
              <p:tags r:id="rId1"/>
            </p:custDataLst>
            <p:extLst>
              <p:ext uri="{D42A27DB-BD31-4B8C-83A1-F6EECF244321}">
                <p14:modId xmlns:p14="http://schemas.microsoft.com/office/powerpoint/2010/main" val="1013710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705142B-6D8F-49A5-8C11-B0866A0D6D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06-09-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2"/>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464205823"/>
      </p:ext>
    </p:extLst>
  </p:cSld>
  <p:clrMapOvr>
    <a:overrideClrMapping bg1="lt1" tx1="dk1" bg2="lt2" tx2="dk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EFBFFD-CEF3-49D8-9E2C-F36F01EA735A}"/>
              </a:ext>
            </a:extLst>
          </p:cNvPr>
          <p:cNvGraphicFramePr>
            <a:graphicFrameLocks noChangeAspect="1"/>
          </p:cNvGraphicFramePr>
          <p:nvPr userDrawn="1">
            <p:custDataLst>
              <p:tags r:id="rId1"/>
            </p:custDataLst>
            <p:extLst>
              <p:ext uri="{D42A27DB-BD31-4B8C-83A1-F6EECF244321}">
                <p14:modId xmlns:p14="http://schemas.microsoft.com/office/powerpoint/2010/main" val="130829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AFEFBFFD-CEF3-49D8-9E2C-F36F01EA73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A6F26645-C2A2-4B76-9EB3-5D9CA57B224A}" type="datetime1">
              <a:rPr lang="da-DK" smtClean="0"/>
              <a:pPr/>
              <a:t>06-09-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468074775"/>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C198CB-AAA7-4F5B-A35F-DE9960E6AC38}"/>
              </a:ext>
            </a:extLst>
          </p:cNvPr>
          <p:cNvGraphicFramePr>
            <a:graphicFrameLocks noChangeAspect="1"/>
          </p:cNvGraphicFramePr>
          <p:nvPr userDrawn="1">
            <p:custDataLst>
              <p:tags r:id="rId1"/>
            </p:custDataLst>
            <p:extLst>
              <p:ext uri="{D42A27DB-BD31-4B8C-83A1-F6EECF244321}">
                <p14:modId xmlns:p14="http://schemas.microsoft.com/office/powerpoint/2010/main" val="1305316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F2C198CB-AAA7-4F5B-A35F-DE9960E6AC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F25BA43C-8502-4266-A056-72866794E701}" type="datetime1">
              <a:rPr lang="da-DK" smtClean="0"/>
              <a:pPr/>
              <a:t>06-09-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101826671"/>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CADD21-FA21-4BEC-9BE4-76FA96D63047}"/>
              </a:ext>
            </a:extLst>
          </p:cNvPr>
          <p:cNvGraphicFramePr>
            <a:graphicFrameLocks noChangeAspect="1"/>
          </p:cNvGraphicFramePr>
          <p:nvPr userDrawn="1">
            <p:custDataLst>
              <p:tags r:id="rId1"/>
            </p:custDataLst>
            <p:extLst>
              <p:ext uri="{D42A27DB-BD31-4B8C-83A1-F6EECF244321}">
                <p14:modId xmlns:p14="http://schemas.microsoft.com/office/powerpoint/2010/main" val="137046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C3CADD21-FA21-4BEC-9BE4-76FA96D630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5"/>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PICTURES</a:t>
            </a:r>
            <a:br>
              <a:rPr lang="da-DK" sz="900">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Insert corporate picture from Templafy</a:t>
            </a: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rgbClr val="333333"/>
                </a:solidFill>
                <a:latin typeface="+mn-lt"/>
                <a:cs typeface="Verdana" panose="020B0604030504040204" pitchFamily="34" charset="0"/>
              </a:rPr>
              <a:t>1.</a:t>
            </a:r>
            <a:r>
              <a:rPr lang="da-DK" altLang="da-DK" sz="900" b="0" noProof="1">
                <a:solidFill>
                  <a:srgbClr val="333333"/>
                </a:solidFill>
                <a:latin typeface="+mn-lt"/>
                <a:cs typeface="Verdana" panose="020B0604030504040204" pitchFamily="34" charset="0"/>
              </a:rPr>
              <a:t> Click the blue </a:t>
            </a:r>
            <a:r>
              <a:rPr lang="da-DK" altLang="da-DK" sz="900" b="1" baseline="0" noProof="1">
                <a:solidFill>
                  <a:srgbClr val="333333"/>
                </a:solidFill>
                <a:latin typeface="+mn-lt"/>
                <a:cs typeface="Verdana" panose="020B0604030504040204" pitchFamily="34" charset="0"/>
              </a:rPr>
              <a:t>Templafy </a:t>
            </a:r>
            <a:r>
              <a:rPr lang="da-DK"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2. </a:t>
            </a:r>
            <a:r>
              <a:rPr lang="da-DK" altLang="da-DK" sz="900" b="0" baseline="0" noProof="1">
                <a:solidFill>
                  <a:srgbClr val="333333"/>
                </a:solidFill>
                <a:latin typeface="+mn-lt"/>
                <a:cs typeface="Verdana" panose="020B0604030504040204" pitchFamily="34" charset="0"/>
              </a:rPr>
              <a:t>In the dropdown, click </a:t>
            </a:r>
            <a:r>
              <a:rPr lang="da-DK" altLang="da-DK" sz="900" b="1" baseline="0" noProof="1">
                <a:solidFill>
                  <a:srgbClr val="333333"/>
                </a:solidFill>
                <a:latin typeface="+mn-lt"/>
                <a:cs typeface="Verdana" panose="020B0604030504040204" pitchFamily="34" charset="0"/>
              </a:rPr>
              <a:t>Images</a:t>
            </a:r>
            <a:r>
              <a:rPr lang="da-DK" altLang="da-DK" sz="900" b="0" baseline="0" noProof="1">
                <a:solidFill>
                  <a:srgbClr val="333333"/>
                </a:solidFill>
                <a:latin typeface="+mn-lt"/>
                <a:cs typeface="Verdana" panose="020B0604030504040204" pitchFamily="34" charset="0"/>
              </a:rPr>
              <a:t>, or click the </a:t>
            </a:r>
            <a:r>
              <a:rPr lang="da-DK" altLang="da-DK" sz="900" b="1" baseline="0" noProof="1">
                <a:solidFill>
                  <a:srgbClr val="333333"/>
                </a:solidFill>
                <a:latin typeface="+mn-lt"/>
                <a:cs typeface="Verdana" panose="020B0604030504040204" pitchFamily="34" charset="0"/>
              </a:rPr>
              <a:t>Images </a:t>
            </a:r>
            <a:r>
              <a:rPr lang="da-DK" altLang="da-DK" sz="900" b="0" i="0" baseline="0" noProof="1">
                <a:solidFill>
                  <a:srgbClr val="333333"/>
                </a:solidFill>
                <a:latin typeface="+mn-lt"/>
                <a:cs typeface="Verdana" panose="020B0604030504040204" pitchFamily="34" charset="0"/>
              </a:rPr>
              <a:t>button</a:t>
            </a:r>
            <a:r>
              <a:rPr lang="da-DK" altLang="da-DK" sz="900" b="0" baseline="0" noProof="1">
                <a:solidFill>
                  <a:srgbClr val="333333"/>
                </a:solidFill>
                <a:latin typeface="+mn-lt"/>
                <a:cs typeface="Verdana" panose="020B0604030504040204" pitchFamily="34" charset="0"/>
              </a:rPr>
              <a:t> in the Templafy pane on the right side of the screen</a:t>
            </a:r>
            <a:endParaRPr lang="da-DK"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Insert picture</a:t>
            </a:r>
          </a:p>
          <a:p>
            <a:pPr rtl="0" eaLnBrk="1" hangingPunct="1">
              <a:spcAft>
                <a:spcPts val="600"/>
              </a:spcAft>
              <a:defRPr/>
            </a:pPr>
            <a:r>
              <a:rPr lang="da-DK" altLang="da-DK" sz="900" b="0" noProof="1">
                <a:solidFill>
                  <a:srgbClr val="333333"/>
                </a:solidFill>
                <a:latin typeface="+mn-lt"/>
                <a:cs typeface="Verdana" panose="020B0604030504040204" pitchFamily="34" charset="0"/>
              </a:rPr>
              <a:t>On slides with pictureplaceholder, click on the icon and choose </a:t>
            </a:r>
            <a:r>
              <a:rPr lang="da-DK" altLang="da-DK" sz="900" b="1" noProof="1">
                <a:solidFill>
                  <a:srgbClr val="333333"/>
                </a:solidFill>
                <a:latin typeface="+mn-lt"/>
                <a:cs typeface="Verdana" panose="020B0604030504040204" pitchFamily="34" charset="0"/>
              </a:rPr>
              <a:t>Insert</a:t>
            </a:r>
          </a:p>
          <a:p>
            <a:pPr rtl="0" eaLnBrk="1" hangingPunct="1">
              <a:spcBef>
                <a:spcPts val="1200"/>
              </a:spcBef>
              <a:spcAft>
                <a:spcPts val="600"/>
              </a:spcAft>
              <a:defRPr/>
            </a:pPr>
            <a:r>
              <a:rPr lang="da-DK" sz="900" b="1" noProof="1">
                <a:solidFill>
                  <a:srgbClr val="333333"/>
                </a:solidFill>
                <a:latin typeface="+mn-lt"/>
                <a:cs typeface="Verdana" panose="020B0604030504040204" pitchFamily="34" charset="0"/>
              </a:rPr>
              <a:t>Crop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1. </a:t>
            </a: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Crop</a:t>
            </a:r>
            <a:r>
              <a:rPr lang="da-DK" altLang="da-DK" sz="900" b="0" noProof="1">
                <a:solidFill>
                  <a:srgbClr val="333333"/>
                </a:solidFill>
                <a:latin typeface="+mn-lt"/>
                <a:cs typeface="Verdana" panose="020B0604030504040204" pitchFamily="34" charset="0"/>
              </a:rPr>
              <a:t> to change size or focus of the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If you want to scale the picture, hold </a:t>
            </a:r>
            <a:r>
              <a:rPr lang="da-DK" altLang="da-DK" sz="900" b="1" noProof="1">
                <a:solidFill>
                  <a:srgbClr val="333333"/>
                </a:solidFill>
                <a:latin typeface="+mn-lt"/>
                <a:cs typeface="Verdana" panose="020B0604030504040204" pitchFamily="34" charset="0"/>
              </a:rPr>
              <a:t>SHIFT</a:t>
            </a:r>
            <a:r>
              <a:rPr lang="da-DK" altLang="da-DK" sz="900" b="0" noProof="1">
                <a:solidFill>
                  <a:srgbClr val="333333"/>
                </a:solidFill>
                <a:latin typeface="+mn-lt"/>
                <a:cs typeface="Verdana" panose="020B0604030504040204" pitchFamily="34" charset="0"/>
              </a:rPr>
              <a:t>-key down while dragging the corners of the picture</a:t>
            </a:r>
            <a:br>
              <a:rPr lang="da-DK" altLang="da-DK" sz="900" b="0" noProof="1">
                <a:solidFill>
                  <a:srgbClr val="333333"/>
                </a:solidFill>
                <a:latin typeface="+mn-lt"/>
                <a:cs typeface="Verdana" panose="020B0604030504040204" pitchFamily="34" charset="0"/>
              </a:rPr>
            </a:b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t>
            </a:r>
            <a:r>
              <a:rPr lang="da-DK"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da-DK"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GUIDES</a:t>
            </a:r>
            <a:endParaRPr lang="da-DK" sz="1600" b="1"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Click the </a:t>
            </a:r>
            <a:r>
              <a:rPr lang="da-DK" altLang="da-DK" sz="900" b="1" noProof="1">
                <a:solidFill>
                  <a:srgbClr val="333333"/>
                </a:solidFill>
                <a:latin typeface="+mn-lt"/>
                <a:cs typeface="Verdana" panose="020B0604030504040204" pitchFamily="34" charset="0"/>
              </a:rPr>
              <a:t>View</a:t>
            </a:r>
            <a:r>
              <a:rPr lang="da-DK" altLang="da-DK" sz="900" b="0" noProof="1">
                <a:solidFill>
                  <a:srgbClr val="333333"/>
                </a:solidFill>
                <a:latin typeface="+mn-lt"/>
                <a:cs typeface="Verdana" panose="020B0604030504040204" pitchFamily="34" charset="0"/>
              </a:rPr>
              <a:t> tab and set tick mark next to </a:t>
            </a:r>
            <a:r>
              <a:rPr lang="da-DK" altLang="da-DK" sz="900" b="1" noProof="1">
                <a:solidFill>
                  <a:srgbClr val="333333"/>
                </a:solidFill>
                <a:latin typeface="+mn-lt"/>
                <a:cs typeface="Verdana" panose="020B0604030504040204" pitchFamily="34" charset="0"/>
              </a:rPr>
              <a:t>Guides</a:t>
            </a: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lt + F9 </a:t>
            </a:r>
            <a:r>
              <a:rPr lang="da-DK" altLang="da-DK" sz="900" b="0" noProof="1">
                <a:solidFill>
                  <a:srgbClr val="333333"/>
                </a:solidFill>
                <a:latin typeface="+mn-lt"/>
                <a:cs typeface="Verdana" panose="020B0604030504040204" pitchFamily="34" charset="0"/>
              </a:rPr>
              <a:t>for quick view of guides</a:t>
            </a: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Mac: </a:t>
            </a:r>
            <a:r>
              <a:rPr lang="da-DK" sz="900" b="0" i="0">
                <a:solidFill>
                  <a:srgbClr val="333333"/>
                </a:solidFill>
                <a:effectLst/>
                <a:latin typeface="Verdana"/>
              </a:rPr>
              <a:t>⌘ </a:t>
            </a:r>
            <a:r>
              <a:rPr lang="da-DK"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6"/>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7"/>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8"/>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HEADER &amp; FOOTER</a:t>
            </a:r>
          </a:p>
          <a:p>
            <a:pPr rtl="0" eaLnBrk="1" hangingPunct="1">
              <a:spcAft>
                <a:spcPts val="600"/>
              </a:spcAft>
              <a:defRPr/>
            </a:pPr>
            <a:r>
              <a:rPr lang="da-DK" altLang="da-DK" sz="900" b="0" noProof="1">
                <a:solidFill>
                  <a:srgbClr val="333333"/>
                </a:solidFill>
                <a:latin typeface="+mn-lt"/>
                <a:cs typeface="Verdana" panose="020B0604030504040204" pitchFamily="34" charset="0"/>
              </a:rPr>
              <a:t>Do this at the very end to apply the changes on all slides</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on </a:t>
            </a:r>
            <a:r>
              <a:rPr lang="da-DK" altLang="da-DK" sz="900" b="1" noProof="1">
                <a:solidFill>
                  <a:srgbClr val="333333"/>
                </a:solidFill>
                <a:latin typeface="+mn-lt"/>
                <a:cs typeface="Verdana" panose="020B0604030504040204" pitchFamily="34" charset="0"/>
              </a:rPr>
              <a:t>Header and Footer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Insert</a:t>
            </a:r>
            <a:r>
              <a:rPr lang="da-DK" altLang="da-DK" sz="900" b="0" noProof="1">
                <a:solidFill>
                  <a:srgbClr val="333333"/>
                </a:solidFill>
                <a:latin typeface="+mn-lt"/>
                <a:cs typeface="Verdana" panose="020B0604030504040204" pitchFamily="34" charset="0"/>
              </a:rPr>
              <a:t> tab (write the desired text, click date or page number from or to)</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Apply to All </a:t>
            </a:r>
            <a:r>
              <a:rPr lang="da-DK" altLang="da-DK" sz="900" b="0" noProof="1">
                <a:solidFill>
                  <a:srgbClr val="333333"/>
                </a:solidFill>
                <a:latin typeface="+mn-lt"/>
                <a:cs typeface="Verdana" panose="020B0604030504040204" pitchFamily="34" charset="0"/>
              </a:rPr>
              <a:t>or </a:t>
            </a:r>
            <a:r>
              <a:rPr lang="da-DK" altLang="da-DK" sz="900" b="1" noProof="1">
                <a:solidFill>
                  <a:srgbClr val="333333"/>
                </a:solidFill>
                <a:latin typeface="+mn-lt"/>
                <a:cs typeface="Verdana" panose="020B0604030504040204" pitchFamily="34" charset="0"/>
              </a:rPr>
              <a:t>Apply</a:t>
            </a:r>
            <a:r>
              <a:rPr lang="da-DK" altLang="da-DK" sz="900" b="0" noProof="1">
                <a:solidFill>
                  <a:srgbClr val="333333"/>
                </a:solidFill>
                <a:latin typeface="+mn-lt"/>
                <a:cs typeface="Verdana" panose="020B0604030504040204" pitchFamily="34" charset="0"/>
              </a:rPr>
              <a:t> if only used on one slide</a:t>
            </a: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1600" b="0" noProof="1">
                <a:solidFill>
                  <a:srgbClr val="333333"/>
                </a:solidFill>
                <a:latin typeface="+mn-lt"/>
                <a:cs typeface="Verdana" panose="020B0604030504040204" pitchFamily="34" charset="0"/>
              </a:rPr>
              <a:t>COPY/PASTE CONTENT</a:t>
            </a:r>
          </a:p>
          <a:p>
            <a:pPr rtl="0" eaLnBrk="1" hangingPunct="1">
              <a:spcAft>
                <a:spcPts val="600"/>
              </a:spcAft>
              <a:defRPr/>
            </a:pPr>
            <a:r>
              <a:rPr lang="da-DK" altLang="da-DK" sz="900" b="0" noProof="1">
                <a:solidFill>
                  <a:srgbClr val="333333"/>
                </a:solidFill>
                <a:latin typeface="+mn-lt"/>
                <a:cs typeface="Verdana" panose="020B0604030504040204" pitchFamily="34" charset="0"/>
              </a:rPr>
              <a:t>When copying old content to your new presentation, 2 options are available:</a:t>
            </a:r>
          </a:p>
          <a:p>
            <a:pPr rtl="0" eaLnBrk="1" hangingPunct="1">
              <a:spcAft>
                <a:spcPts val="600"/>
              </a:spcAft>
              <a:defRPr/>
            </a:pPr>
            <a:r>
              <a:rPr lang="da-DK" altLang="da-DK" sz="900" b="1" noProof="1">
                <a:solidFill>
                  <a:srgbClr val="333333"/>
                </a:solidFill>
                <a:latin typeface="+mn-lt"/>
                <a:cs typeface="Verdana" panose="020B0604030504040204" pitchFamily="34" charset="0"/>
              </a:rPr>
              <a:t>1. Best practice: </a:t>
            </a:r>
            <a:r>
              <a:rPr lang="da-DK" altLang="da-DK" sz="900" b="0" noProof="1">
                <a:solidFill>
                  <a:srgbClr val="333333"/>
                </a:solidFill>
                <a:latin typeface="+mn-lt"/>
                <a:cs typeface="Verdana" panose="020B0604030504040204" pitchFamily="34" charset="0"/>
              </a:rPr>
              <a:t>Create a slide in your new presentation and copy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piece of content at a time (e.g. copy all text from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textbox)</a:t>
            </a:r>
            <a:endParaRPr lang="da-DK" altLang="da-DK" sz="900" b="1" i="0" u="sng"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da-DK" altLang="da-DK" sz="900" b="1" noProof="1">
              <a:solidFill>
                <a:srgbClr val="333333"/>
              </a:solidFill>
              <a:latin typeface="+mn-lt"/>
              <a:cs typeface="Verdana" panose="020B0604030504040204" pitchFamily="34" charset="0"/>
            </a:endParaRP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Insert predefined slides and elements from the Templafy button. Choose </a:t>
            </a:r>
            <a:r>
              <a:rPr lang="da-DK" altLang="da-DK" sz="900" b="1" noProof="1">
                <a:solidFill>
                  <a:srgbClr val="333333"/>
                </a:solidFill>
                <a:latin typeface="+mn-lt"/>
                <a:cs typeface="Verdana" panose="020B0604030504040204" pitchFamily="34" charset="0"/>
              </a:rPr>
              <a:t>Slides</a:t>
            </a:r>
            <a:r>
              <a:rPr lang="da-DK" altLang="da-DK" sz="900" b="0" noProof="1">
                <a:solidFill>
                  <a:srgbClr val="333333"/>
                </a:solidFill>
                <a:latin typeface="+mn-lt"/>
                <a:cs typeface="Verdana" panose="020B0604030504040204" pitchFamily="34" charset="0"/>
              </a:rPr>
              <a:t> and </a:t>
            </a:r>
            <a:r>
              <a:rPr lang="da-DK" altLang="da-DK" sz="900" b="1" noProof="1">
                <a:solidFill>
                  <a:srgbClr val="333333"/>
                </a:solidFill>
                <a:latin typeface="+mn-lt"/>
                <a:cs typeface="Verdana" panose="020B0604030504040204" pitchFamily="34" charset="0"/>
              </a:rPr>
              <a:t>Slide elements </a:t>
            </a:r>
            <a:r>
              <a:rPr lang="da-DK"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da-DK"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pPr rtl="0"/>
            <a:r>
              <a:rPr lang="da-DK"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9"/>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rtl="0">
              <a:defRPr sz="100">
                <a:noFill/>
              </a:defRPr>
            </a:lvl1pPr>
          </a:lstStyle>
          <a:p>
            <a:fld id="{A5B220B3-5DAB-45AB-9B6A-9B7C36B5A57F}" type="datetime1">
              <a:rPr lang="da-DK" smtClean="0"/>
              <a:pPr/>
              <a:t>06-09-2023</a:t>
            </a:fld>
            <a:endParaRPr lang="da-DK"/>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10"/>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TEXT STYLES</a:t>
            </a:r>
            <a:endParaRPr lang="da-DK" altLang="da-DK" sz="1600" b="0"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Use the </a:t>
            </a:r>
            <a:r>
              <a:rPr lang="da-DK" altLang="da-DK" sz="900" b="1" noProof="1">
                <a:solidFill>
                  <a:srgbClr val="333333"/>
                </a:solidFill>
                <a:latin typeface="+mn-lt"/>
                <a:cs typeface="Verdana" panose="020B0604030504040204" pitchFamily="34" charset="0"/>
              </a:rPr>
              <a:t>TAB</a:t>
            </a:r>
            <a:r>
              <a:rPr lang="da-DK" altLang="da-DK" sz="900" b="0" noProof="1">
                <a:solidFill>
                  <a:srgbClr val="333333"/>
                </a:solidFill>
                <a:latin typeface="+mn-lt"/>
                <a:cs typeface="Verdana" panose="020B0604030504040204" pitchFamily="34" charset="0"/>
              </a:rPr>
              <a:t>-key</a:t>
            </a:r>
            <a:r>
              <a:rPr lang="da-DK" altLang="da-DK" sz="900" b="0" baseline="0" noProof="1">
                <a:solidFill>
                  <a:srgbClr val="333333"/>
                </a:solidFill>
                <a:latin typeface="+mn-lt"/>
                <a:cs typeface="Verdana" panose="020B0604030504040204" pitchFamily="34" charset="0"/>
              </a:rPr>
              <a:t> to jump through levels. Click </a:t>
            </a:r>
            <a:r>
              <a:rPr lang="da-DK" altLang="da-DK" sz="900" b="1" baseline="0" noProof="1">
                <a:solidFill>
                  <a:srgbClr val="333333"/>
                </a:solidFill>
                <a:latin typeface="+mn-lt"/>
                <a:cs typeface="Verdana" panose="020B0604030504040204" pitchFamily="34" charset="0"/>
              </a:rPr>
              <a:t>ENTER</a:t>
            </a:r>
            <a:r>
              <a:rPr lang="da-DK" altLang="da-DK" sz="900" b="0" baseline="0" noProof="1">
                <a:solidFill>
                  <a:srgbClr val="333333"/>
                </a:solidFill>
                <a:latin typeface="+mn-lt"/>
                <a:cs typeface="Verdana" panose="020B0604030504040204" pitchFamily="34" charset="0"/>
              </a:rPr>
              <a:t>, then </a:t>
            </a:r>
            <a:r>
              <a:rPr lang="da-DK" altLang="da-DK" sz="900" b="1" baseline="0" noProof="1">
                <a:solidFill>
                  <a:srgbClr val="333333"/>
                </a:solidFill>
                <a:latin typeface="+mn-lt"/>
                <a:cs typeface="Verdana" panose="020B0604030504040204" pitchFamily="34" charset="0"/>
              </a:rPr>
              <a:t>TAB</a:t>
            </a:r>
            <a:r>
              <a:rPr lang="da-DK" altLang="da-DK" sz="900" b="0" baseline="0" noProof="1">
                <a:solidFill>
                  <a:srgbClr val="333333"/>
                </a:solidFill>
                <a:latin typeface="+mn-lt"/>
                <a:cs typeface="Verdana" panose="020B0604030504040204" pitchFamily="34" charset="0"/>
              </a:rPr>
              <a:t> to switch from one level to the next level</a:t>
            </a:r>
          </a:p>
          <a:p>
            <a:pPr rtl="0" eaLnBrk="1" hangingPunct="1">
              <a:spcAft>
                <a:spcPts val="600"/>
              </a:spcAft>
              <a:defRPr/>
            </a:pPr>
            <a:r>
              <a:rPr lang="da-DK" altLang="da-DK" sz="900" b="0" baseline="0" noProof="1">
                <a:solidFill>
                  <a:srgbClr val="333333"/>
                </a:solidFill>
                <a:latin typeface="+mn-lt"/>
                <a:cs typeface="Verdana" panose="020B0604030504040204" pitchFamily="34" charset="0"/>
              </a:rPr>
              <a:t>To go back in levels use </a:t>
            </a:r>
            <a:r>
              <a:rPr lang="da-DK" altLang="da-DK" sz="900" b="1" baseline="0" noProof="1">
                <a:solidFill>
                  <a:srgbClr val="333333"/>
                </a:solidFill>
                <a:latin typeface="+mn-lt"/>
                <a:cs typeface="Verdana" panose="020B0604030504040204" pitchFamily="34" charset="0"/>
              </a:rPr>
              <a:t>SHIFT-TAB</a:t>
            </a:r>
            <a:endParaRPr lang="da-DK" sz="900" b="1" noProof="1">
              <a:solidFill>
                <a:srgbClr val="333333"/>
              </a:solidFill>
              <a:latin typeface="+mn-lt"/>
              <a:cs typeface="Verdana" panose="020B0604030504040204" pitchFamily="34" charset="0"/>
            </a:endParaRPr>
          </a:p>
          <a:p>
            <a:pPr rtl="0" eaLnBrk="1" hangingPunct="1">
              <a:spcAft>
                <a:spcPts val="600"/>
              </a:spcAft>
              <a:defRPr/>
            </a:pPr>
            <a:r>
              <a:rPr lang="da-DK" sz="900" noProof="1">
                <a:solidFill>
                  <a:srgbClr val="333333"/>
                </a:solidFill>
                <a:latin typeface="+mn-lt"/>
                <a:cs typeface="Verdana" panose="020B0604030504040204" pitchFamily="34" charset="0"/>
              </a:rPr>
              <a:t>Alternatively, </a:t>
            </a:r>
            <a:r>
              <a:rPr lang="da-DK" sz="900" b="1" noProof="1">
                <a:solidFill>
                  <a:srgbClr val="333333"/>
                </a:solidFill>
                <a:latin typeface="+mn-lt"/>
                <a:cs typeface="Verdana" panose="020B0604030504040204" pitchFamily="34" charset="0"/>
              </a:rPr>
              <a:t>Increase</a:t>
            </a:r>
            <a:r>
              <a:rPr lang="da-DK" sz="900" baseline="0" noProof="1">
                <a:solidFill>
                  <a:srgbClr val="333333"/>
                </a:solidFill>
                <a:latin typeface="+mn-lt"/>
                <a:cs typeface="Verdana" panose="020B0604030504040204" pitchFamily="34" charset="0"/>
              </a:rPr>
              <a:t> and </a:t>
            </a:r>
            <a:r>
              <a:rPr lang="da-DK" sz="900" b="1" baseline="0" noProof="1">
                <a:solidFill>
                  <a:srgbClr val="333333"/>
                </a:solidFill>
                <a:latin typeface="+mn-lt"/>
                <a:cs typeface="Verdana" panose="020B0604030504040204" pitchFamily="34" charset="0"/>
              </a:rPr>
              <a:t>Decrease </a:t>
            </a:r>
            <a:r>
              <a:rPr lang="da-DK" sz="900" baseline="0" noProof="1">
                <a:solidFill>
                  <a:srgbClr val="333333"/>
                </a:solidFill>
                <a:latin typeface="+mn-lt"/>
                <a:cs typeface="Verdana" panose="020B0604030504040204" pitchFamily="34" charset="0"/>
              </a:rPr>
              <a:t>list level can be used</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noProof="1">
                <a:solidFill>
                  <a:srgbClr val="333333"/>
                </a:solidFill>
                <a:latin typeface="+mn-lt"/>
                <a:cs typeface="Verdana" panose="020B0604030504040204" pitchFamily="34" charset="0"/>
              </a:rPr>
              <a:t>Click the </a:t>
            </a:r>
            <a:r>
              <a:rPr lang="da-DK" altLang="da-DK" sz="900" b="1" baseline="0" noProof="1">
                <a:solidFill>
                  <a:srgbClr val="333333"/>
                </a:solidFill>
                <a:latin typeface="+mn-lt"/>
                <a:cs typeface="Verdana" panose="020B0604030504040204" pitchFamily="34" charset="0"/>
              </a:rPr>
              <a:t>Reset </a:t>
            </a:r>
            <a:r>
              <a:rPr lang="da-DK" altLang="da-DK" sz="900" noProof="1">
                <a:solidFill>
                  <a:srgbClr val="333333"/>
                </a:solidFill>
                <a:latin typeface="+mn-lt"/>
                <a:cs typeface="Verdana" panose="020B0604030504040204" pitchFamily="34" charset="0"/>
              </a:rPr>
              <a:t>menu to reset position, size</a:t>
            </a:r>
            <a:r>
              <a:rPr lang="da-DK"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900" b="0" noProof="1">
                <a:solidFill>
                  <a:srgbClr val="333333"/>
                </a:solidFill>
                <a:latin typeface="+mn-lt"/>
                <a:cs typeface="Verdana" panose="020B0604030504040204" pitchFamily="34" charset="0"/>
              </a:rPr>
            </a:br>
            <a:r>
              <a:rPr lang="da-DK"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Click on the menu </a:t>
            </a:r>
            <a:r>
              <a:rPr lang="da-DK" altLang="da-DK" sz="900" b="1" noProof="1">
                <a:solidFill>
                  <a:srgbClr val="333333"/>
                </a:solidFill>
                <a:latin typeface="+mn-lt"/>
                <a:cs typeface="Verdana" panose="020B0604030504040204" pitchFamily="34" charset="0"/>
              </a:rPr>
              <a:t>New Slide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Home</a:t>
            </a:r>
            <a:r>
              <a:rPr lang="da-DK" altLang="da-DK" sz="900" b="0" noProof="1">
                <a:solidFill>
                  <a:srgbClr val="333333"/>
                </a:solidFill>
                <a:latin typeface="+mn-lt"/>
                <a:cs typeface="Verdana" panose="020B0604030504040204" pitchFamily="34" charset="0"/>
              </a:rPr>
              <a:t> tab to insert a new slide</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Change layout</a:t>
            </a:r>
            <a:endParaRPr lang="da-DK" altLang="da-DK" sz="900" b="0" noProof="1">
              <a:solidFill>
                <a:srgbClr val="333333"/>
              </a:solidFill>
              <a:latin typeface="+mn-lt"/>
              <a:cs typeface="Verdana" panose="020B0604030504040204" pitchFamily="34" charset="0"/>
            </a:endParaRPr>
          </a:p>
          <a:p>
            <a:pPr marL="0" indent="0" rtl="0">
              <a:spcAft>
                <a:spcPts val="600"/>
              </a:spcAft>
              <a:buFont typeface="+mj-lt"/>
              <a:buNone/>
            </a:pPr>
            <a:r>
              <a:rPr lang="da-DK" sz="900" err="1">
                <a:solidFill>
                  <a:srgbClr val="333333"/>
                </a:solidFill>
                <a:latin typeface="+mn-lt"/>
                <a:ea typeface="Verdana" panose="020B0604030504040204" pitchFamily="34" charset="0"/>
              </a:rPr>
              <a:t>Click</a:t>
            </a:r>
            <a:r>
              <a:rPr lang="da-DK" sz="900">
                <a:solidFill>
                  <a:srgbClr val="333333"/>
                </a:solidFill>
                <a:latin typeface="+mn-lt"/>
                <a:ea typeface="Verdana" panose="020B0604030504040204" pitchFamily="34" charset="0"/>
              </a:rPr>
              <a:t> on the </a:t>
            </a:r>
            <a:r>
              <a:rPr lang="da-DK" sz="900" err="1">
                <a:solidFill>
                  <a:srgbClr val="333333"/>
                </a:solidFill>
                <a:latin typeface="+mn-lt"/>
                <a:ea typeface="Verdana" panose="020B0604030504040204" pitchFamily="34" charset="0"/>
              </a:rPr>
              <a:t>arrow</a:t>
            </a:r>
            <a:r>
              <a:rPr lang="da-DK" sz="900">
                <a:solidFill>
                  <a:srgbClr val="333333"/>
                </a:solidFill>
                <a:latin typeface="+mn-lt"/>
                <a:ea typeface="Verdana" panose="020B0604030504040204" pitchFamily="34" charset="0"/>
              </a:rPr>
              <a:t> </a:t>
            </a:r>
            <a:r>
              <a:rPr lang="da-DK" sz="900" err="1">
                <a:solidFill>
                  <a:srgbClr val="333333"/>
                </a:solidFill>
                <a:latin typeface="+mn-lt"/>
                <a:ea typeface="Verdana" panose="020B0604030504040204" pitchFamily="34" charset="0"/>
              </a:rPr>
              <a:t>next</a:t>
            </a:r>
            <a:r>
              <a:rPr lang="da-DK" sz="900">
                <a:solidFill>
                  <a:srgbClr val="333333"/>
                </a:solidFill>
                <a:latin typeface="+mn-lt"/>
                <a:ea typeface="Verdana" panose="020B0604030504040204" pitchFamily="34" charset="0"/>
              </a:rPr>
              <a:t> to </a:t>
            </a:r>
            <a:r>
              <a:rPr lang="da-DK" sz="900" b="1">
                <a:solidFill>
                  <a:srgbClr val="333333"/>
                </a:solidFill>
                <a:latin typeface="+mn-lt"/>
                <a:ea typeface="Verdana" panose="020B0604030504040204" pitchFamily="34" charset="0"/>
              </a:rPr>
              <a:t>Layout </a:t>
            </a:r>
            <a:r>
              <a:rPr lang="da-DK" sz="900">
                <a:solidFill>
                  <a:srgbClr val="333333"/>
                </a:solidFill>
                <a:latin typeface="+mn-lt"/>
                <a:ea typeface="Verdana" panose="020B0604030504040204" pitchFamily="34" charset="0"/>
              </a:rPr>
              <a:t>to view a </a:t>
            </a:r>
            <a:r>
              <a:rPr lang="da-DK" sz="900" err="1">
                <a:solidFill>
                  <a:srgbClr val="333333"/>
                </a:solidFill>
                <a:latin typeface="+mn-lt"/>
                <a:ea typeface="Verdana" panose="020B0604030504040204" pitchFamily="34" charset="0"/>
              </a:rPr>
              <a:t>dropdown</a:t>
            </a:r>
            <a:r>
              <a:rPr lang="da-DK" sz="900">
                <a:solidFill>
                  <a:srgbClr val="333333"/>
                </a:solidFill>
                <a:latin typeface="+mn-lt"/>
                <a:ea typeface="Verdana" panose="020B0604030504040204" pitchFamily="34" charset="0"/>
              </a:rPr>
              <a:t> menu of </a:t>
            </a:r>
            <a:r>
              <a:rPr lang="da-DK" sz="900" err="1">
                <a:solidFill>
                  <a:srgbClr val="333333"/>
                </a:solidFill>
                <a:latin typeface="+mn-lt"/>
                <a:ea typeface="Verdana" panose="020B0604030504040204" pitchFamily="34" charset="0"/>
              </a:rPr>
              <a:t>possible</a:t>
            </a:r>
            <a:r>
              <a:rPr lang="da-DK" sz="900">
                <a:solidFill>
                  <a:srgbClr val="333333"/>
                </a:solidFill>
                <a:latin typeface="+mn-lt"/>
                <a:ea typeface="Verdana" panose="020B0604030504040204" pitchFamily="34" charset="0"/>
              </a:rPr>
              <a:t> slide layouts</a:t>
            </a:r>
          </a:p>
          <a:p>
            <a:pPr marL="0" indent="0" rtl="0">
              <a:spcAft>
                <a:spcPts val="600"/>
              </a:spcAft>
              <a:buFont typeface="+mj-lt"/>
              <a:buNone/>
            </a:pPr>
            <a:endParaRPr lang="da-DK"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err="1">
                <a:solidFill>
                  <a:srgbClr val="333333"/>
                </a:solidFill>
                <a:latin typeface="+mn-lt"/>
                <a:cs typeface="Verdana" panose="020B0604030504040204" pitchFamily="34" charset="0"/>
              </a:rPr>
              <a:t>Color</a:t>
            </a:r>
            <a:endParaRPr lang="da-DK" sz="1600">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Use </a:t>
            </a:r>
            <a:r>
              <a:rPr lang="da-DK" altLang="da-DK" sz="900" b="1" noProof="1">
                <a:solidFill>
                  <a:srgbClr val="333333"/>
                </a:solidFill>
                <a:latin typeface="+mn-lt"/>
                <a:cs typeface="Verdana" panose="020B0604030504040204" pitchFamily="34" charset="0"/>
              </a:rPr>
              <a:t>Custom Colors </a:t>
            </a:r>
            <a:r>
              <a:rPr lang="da-DK" altLang="da-DK" sz="900" b="0" noProof="1">
                <a:solidFill>
                  <a:srgbClr val="333333"/>
                </a:solidFill>
                <a:latin typeface="+mn-lt"/>
                <a:cs typeface="Verdana" panose="020B0604030504040204" pitchFamily="34" charset="0"/>
              </a:rPr>
              <a:t>to change color.</a:t>
            </a:r>
            <a:br>
              <a:rPr lang="da-DK" altLang="da-DK" sz="900" b="0" noProof="1">
                <a:solidFill>
                  <a:srgbClr val="333333"/>
                </a:solidFill>
                <a:latin typeface="+mn-lt"/>
                <a:cs typeface="Verdana" panose="020B0604030504040204" pitchFamily="34" charset="0"/>
              </a:rPr>
            </a:br>
            <a:endParaRPr lang="da-DK"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12"/>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3"/>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4"/>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5"/>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2649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FCB6B6B-24B0-44AB-9048-2F686A564E91}"/>
              </a:ext>
            </a:extLst>
          </p:cNvPr>
          <p:cNvGraphicFramePr>
            <a:graphicFrameLocks noChangeAspect="1"/>
          </p:cNvGraphicFramePr>
          <p:nvPr userDrawn="1">
            <p:custDataLst>
              <p:tags r:id="rId1"/>
            </p:custDataLst>
            <p:extLst>
              <p:ext uri="{D42A27DB-BD31-4B8C-83A1-F6EECF244321}">
                <p14:modId xmlns:p14="http://schemas.microsoft.com/office/powerpoint/2010/main" val="957079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FCB6B6B-24B0-44AB-9048-2F686A564E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1B4C9864-BFD0-4574-B370-8DFD1BF6363B}" type="datetime1">
              <a:rPr lang="da-DK" smtClean="0"/>
              <a:pPr/>
              <a:t>06-09-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88701528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EBB3B6D-DD31-4C13-AD80-04ABEA8E27A0}"/>
              </a:ext>
            </a:extLst>
          </p:cNvPr>
          <p:cNvGraphicFramePr>
            <a:graphicFrameLocks noChangeAspect="1"/>
          </p:cNvGraphicFramePr>
          <p:nvPr userDrawn="1">
            <p:custDataLst>
              <p:tags r:id="rId1"/>
            </p:custDataLst>
            <p:extLst>
              <p:ext uri="{D42A27DB-BD31-4B8C-83A1-F6EECF244321}">
                <p14:modId xmlns:p14="http://schemas.microsoft.com/office/powerpoint/2010/main" val="332558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6EBB3B6D-DD31-4C13-AD80-04ABEA8E27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4000" b="0" noProof="0">
                <a:solidFill>
                  <a:schemeClr val="tx1"/>
                </a:solidFill>
              </a:rPr>
              <a:t>If you see any </a:t>
            </a:r>
            <a:r>
              <a:rPr lang="da-DK" sz="4000" b="1" i="1" noProof="0">
                <a:solidFill>
                  <a:schemeClr val="tx1"/>
                </a:solidFill>
              </a:rPr>
              <a:t>layouts after this </a:t>
            </a:r>
            <a:r>
              <a:rPr lang="da-DK" sz="4000" b="0" i="0" noProof="0">
                <a:solidFill>
                  <a:schemeClr val="tx1"/>
                </a:solidFill>
              </a:rPr>
              <a:t>one</a:t>
            </a:r>
            <a:r>
              <a:rPr lang="da-DK" sz="4000" b="1" i="1" noProof="0">
                <a:solidFill>
                  <a:schemeClr val="tx1"/>
                </a:solidFill>
              </a:rPr>
              <a:t>,</a:t>
            </a:r>
            <a:br>
              <a:rPr lang="da-DK" sz="4000" b="0" i="0" noProof="0">
                <a:solidFill>
                  <a:schemeClr val="tx1"/>
                </a:solidFill>
              </a:rPr>
            </a:br>
            <a:r>
              <a:rPr lang="da-DK" sz="4000" b="0" noProof="0">
                <a:solidFill>
                  <a:schemeClr val="tx1"/>
                </a:solidFill>
              </a:rPr>
              <a:t>do not use them. These layouts </a:t>
            </a:r>
            <a:r>
              <a:rPr lang="da-DK" sz="4000" b="1" i="1" u="none" noProof="0">
                <a:solidFill>
                  <a:schemeClr val="tx1"/>
                </a:solidFill>
              </a:rPr>
              <a:t>are not </a:t>
            </a:r>
            <a:r>
              <a:rPr lang="da-DK" sz="4000" b="0" noProof="0">
                <a:solidFill>
                  <a:schemeClr val="tx1"/>
                </a:solidFill>
              </a:rPr>
              <a:t>part of our corporate template.</a:t>
            </a:r>
            <a:endParaRPr lang="da-DK"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rtl="0"/>
            <a:r>
              <a:rPr lang="da-DK" sz="11500" b="1" i="1" noProof="0">
                <a:solidFill>
                  <a:schemeClr val="tx1"/>
                </a:solidFill>
              </a:rPr>
              <a:t>Do not use </a:t>
            </a:r>
            <a:endParaRPr lang="da-DK"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Due to PowerPoint’s standard Copy/Paste functionality extra undesirable layouts can appear.</a:t>
            </a:r>
          </a:p>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rtl="0">
              <a:defRPr sz="100">
                <a:noFill/>
              </a:defRPr>
            </a:lvl1pPr>
          </a:lstStyle>
          <a:p>
            <a:fld id="{06357EC7-0D53-4A60-9E41-D75A47B48389}" type="datetime1">
              <a:rPr lang="da-DK" smtClean="0"/>
              <a:pPr/>
              <a:t>06-09-2023</a:t>
            </a:fld>
            <a:endParaRPr lang="da-DK"/>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3165976985"/>
      </p:ext>
    </p:extLst>
  </p:cSld>
  <p:clrMapOvr>
    <a:overrideClrMapping bg1="dk1" tx1="lt1" bg2="dk2" tx2="lt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8" name="FLD_PresentationTitle">
            <a:extLst>
              <a:ext uri="{FF2B5EF4-FFF2-40B4-BE49-F238E27FC236}">
                <a16:creationId xmlns:a16="http://schemas.microsoft.com/office/drawing/2014/main" id="{B1DAA5DF-5AA7-49EC-ACBF-10E8A1971277}"/>
              </a:ext>
            </a:extLst>
          </p:cNvPr>
          <p:cNvSpPr>
            <a:spLocks noGrp="1"/>
          </p:cNvSpPr>
          <p:nvPr>
            <p:ph type="ctrTitle" hasCustomPrompt="1"/>
          </p:nvPr>
        </p:nvSpPr>
        <p:spPr>
          <a:xfrm>
            <a:off x="798617" y="409475"/>
            <a:ext cx="9774384" cy="681390"/>
          </a:xfrm>
        </p:spPr>
        <p:txBody>
          <a:bodyPr tIns="0" anchor="t" anchorCtr="0"/>
          <a:lstStyle>
            <a:lvl1pPr>
              <a:defRPr sz="1539" cap="all" spc="-48" baseline="0" smtClean="0">
                <a:solidFill>
                  <a:schemeClr val="tx1"/>
                </a:solidFill>
                <a:latin typeface="Verdana" pitchFamily="34" charset="0"/>
              </a:defRPr>
            </a:lvl1pPr>
          </a:lstStyle>
          <a:p>
            <a:r>
              <a:rPr lang="en-GB" noProof="0"/>
              <a:t>Headline</a:t>
            </a:r>
          </a:p>
        </p:txBody>
      </p:sp>
      <p:sp>
        <p:nvSpPr>
          <p:cNvPr id="19" name="FLD_PresentationTitle_2">
            <a:extLst>
              <a:ext uri="{FF2B5EF4-FFF2-40B4-BE49-F238E27FC236}">
                <a16:creationId xmlns:a16="http://schemas.microsoft.com/office/drawing/2014/main" id="{5B27253C-39D7-4448-BD0F-A9FC3677BCBD}"/>
              </a:ext>
            </a:extLst>
          </p:cNvPr>
          <p:cNvSpPr>
            <a:spLocks noGrp="1" noChangeArrowheads="1"/>
          </p:cNvSpPr>
          <p:nvPr>
            <p:ph type="subTitle" sz="quarter" idx="1" hasCustomPrompt="1"/>
          </p:nvPr>
        </p:nvSpPr>
        <p:spPr>
          <a:xfrm>
            <a:off x="798616" y="1139481"/>
            <a:ext cx="9773924" cy="1254271"/>
          </a:xfrm>
        </p:spPr>
        <p:txBody>
          <a:bodyPr lIns="0"/>
          <a:lstStyle>
            <a:lvl1pPr marL="0" indent="0">
              <a:lnSpc>
                <a:spcPct val="100000"/>
              </a:lnSpc>
              <a:spcAft>
                <a:spcPts val="0"/>
              </a:spcAft>
              <a:buFontTx/>
              <a:buNone/>
              <a:defRPr sz="1539" b="1" cap="all" spc="-48" baseline="0" smtClean="0">
                <a:solidFill>
                  <a:schemeClr val="tx2"/>
                </a:solidFill>
                <a:latin typeface="Verdana" pitchFamily="34" charset="0"/>
              </a:defRPr>
            </a:lvl1pPr>
          </a:lstStyle>
          <a:p>
            <a:r>
              <a:rPr lang="en-GB" noProof="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618" y="5018936"/>
            <a:ext cx="8137938" cy="1084011"/>
          </a:xfrm>
        </p:spPr>
        <p:txBody>
          <a:bodyPr lIns="0"/>
          <a:lstStyle>
            <a:lvl1pPr marL="0" indent="0">
              <a:buFont typeface="Arial" panose="020B0604020202020204" pitchFamily="34" charset="0"/>
              <a:buChar char="​"/>
              <a:defRPr sz="513"/>
            </a:lvl1pPr>
          </a:lstStyle>
          <a:p>
            <a:pPr lvl="0"/>
            <a:r>
              <a:rPr lang="en-GB"/>
              <a:t>Subtitle</a:t>
            </a:r>
          </a:p>
        </p:txBody>
      </p:sp>
      <p:sp>
        <p:nvSpPr>
          <p:cNvPr id="9" name="Slide Number Placeholder 5"/>
          <p:cNvSpPr>
            <a:spLocks noGrp="1"/>
          </p:cNvSpPr>
          <p:nvPr>
            <p:ph type="sldNum" sz="quarter" idx="4"/>
          </p:nvPr>
        </p:nvSpPr>
        <p:spPr>
          <a:xfrm>
            <a:off x="10908620" y="6283328"/>
            <a:ext cx="480001" cy="155575"/>
          </a:xfrm>
          <a:prstGeom prst="rect">
            <a:avLst/>
          </a:prstGeom>
        </p:spPr>
        <p:txBody>
          <a:bodyPr vert="horz" wrap="square" lIns="0" tIns="0" rIns="0" bIns="0" numCol="1" anchor="ctr" anchorCtr="0" compatLnSpc="1">
            <a:prstTxWarp prst="textNoShape">
              <a:avLst/>
            </a:prstTxWarp>
          </a:bodyPr>
          <a:lstStyle>
            <a:lvl1pPr algn="r">
              <a:defRPr sz="257">
                <a:solidFill>
                  <a:schemeClr val="tx1"/>
                </a:solidFill>
              </a:defRPr>
            </a:lvl1pPr>
          </a:lstStyle>
          <a:p>
            <a:fld id="{31421AFA-3AE7-4CEA-BC9B-447859BED57B}" type="slidenum">
              <a:rPr lang="en-GB" smtClean="0"/>
              <a:pPr/>
              <a:t>‹nr.›</a:t>
            </a:fld>
            <a:endParaRPr lang="en-GB"/>
          </a:p>
        </p:txBody>
      </p:sp>
      <p:sp>
        <p:nvSpPr>
          <p:cNvPr id="11" name="Footer Placeholder 4">
            <a:extLst>
              <a:ext uri="{FF2B5EF4-FFF2-40B4-BE49-F238E27FC236}">
                <a16:creationId xmlns:a16="http://schemas.microsoft.com/office/drawing/2014/main" id="{FC6EA742-E999-426B-9F1C-33524D47AEA4}"/>
              </a:ext>
            </a:extLst>
          </p:cNvPr>
          <p:cNvSpPr>
            <a:spLocks noGrp="1"/>
          </p:cNvSpPr>
          <p:nvPr>
            <p:ph type="ftr" sz="quarter" idx="3"/>
          </p:nvPr>
        </p:nvSpPr>
        <p:spPr>
          <a:xfrm>
            <a:off x="4056591" y="6280502"/>
            <a:ext cx="6515949"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2" name="Date_DateCustomA">
            <a:extLst>
              <a:ext uri="{FF2B5EF4-FFF2-40B4-BE49-F238E27FC236}">
                <a16:creationId xmlns:a16="http://schemas.microsoft.com/office/drawing/2014/main" id="{09BA1C59-AB8D-4ACE-A4C9-3A97AB0B83E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A13F78D9-42B8-43DD-B9D4-11FA41011F45}" type="datetime1">
              <a:rPr lang="en-GB" smtClean="0"/>
              <a:t>06/09/2023</a:t>
            </a:fld>
            <a:endParaRPr lang="en-GB"/>
          </a:p>
        </p:txBody>
      </p:sp>
      <p:grpSp>
        <p:nvGrpSpPr>
          <p:cNvPr id="13" name="Group 12">
            <a:extLst>
              <a:ext uri="{FF2B5EF4-FFF2-40B4-BE49-F238E27FC236}">
                <a16:creationId xmlns:a16="http://schemas.microsoft.com/office/drawing/2014/main" id="{8CA71D2E-512F-4EB0-AAF9-E4FEBA858101}"/>
              </a:ext>
            </a:extLst>
          </p:cNvPr>
          <p:cNvGrpSpPr/>
          <p:nvPr userDrawn="1"/>
        </p:nvGrpSpPr>
        <p:grpSpPr>
          <a:xfrm>
            <a:off x="-1972350" y="1633992"/>
            <a:ext cx="1797025" cy="2906915"/>
            <a:chOff x="-1899137" y="-1"/>
            <a:chExt cx="1796791" cy="2907588"/>
          </a:xfrm>
        </p:grpSpPr>
        <p:grpSp>
          <p:nvGrpSpPr>
            <p:cNvPr id="14" name="Group 13">
              <a:extLst>
                <a:ext uri="{FF2B5EF4-FFF2-40B4-BE49-F238E27FC236}">
                  <a16:creationId xmlns:a16="http://schemas.microsoft.com/office/drawing/2014/main" id="{8404ACBE-98F7-42FA-B2C4-2BDACC351B5F}"/>
                </a:ext>
              </a:extLst>
            </p:cNvPr>
            <p:cNvGrpSpPr/>
            <p:nvPr userDrawn="1"/>
          </p:nvGrpSpPr>
          <p:grpSpPr>
            <a:xfrm>
              <a:off x="-1899137" y="-1"/>
              <a:ext cx="1796791" cy="2907588"/>
              <a:chOff x="9009867" y="1645032"/>
              <a:chExt cx="2365739" cy="3828268"/>
            </a:xfrm>
          </p:grpSpPr>
          <p:pic>
            <p:nvPicPr>
              <p:cNvPr id="16" name="Picture 15">
                <a:extLst>
                  <a:ext uri="{FF2B5EF4-FFF2-40B4-BE49-F238E27FC236}">
                    <a16:creationId xmlns:a16="http://schemas.microsoft.com/office/drawing/2014/main" id="{7674FC44-6BF9-46ED-9900-58E4FF056204}"/>
                  </a:ext>
                </a:extLst>
              </p:cNvPr>
              <p:cNvPicPr>
                <a:picLocks noChangeAspect="1"/>
              </p:cNvPicPr>
              <p:nvPr/>
            </p:nvPicPr>
            <p:blipFill>
              <a:blip r:embed="rId2"/>
              <a:stretch>
                <a:fillRect/>
              </a:stretch>
            </p:blipFill>
            <p:spPr>
              <a:xfrm>
                <a:off x="9182748" y="1852126"/>
                <a:ext cx="599367" cy="280555"/>
              </a:xfrm>
              <a:prstGeom prst="rect">
                <a:avLst/>
              </a:prstGeom>
            </p:spPr>
          </p:pic>
          <p:sp>
            <p:nvSpPr>
              <p:cNvPr id="17" name="TextBox 16">
                <a:extLst>
                  <a:ext uri="{FF2B5EF4-FFF2-40B4-BE49-F238E27FC236}">
                    <a16:creationId xmlns:a16="http://schemas.microsoft.com/office/drawing/2014/main" id="{D5F5BB9B-F1EC-45D9-9CB7-D11256272499}"/>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21" name="Rectangle: Rounded Corners 20">
                <a:extLst>
                  <a:ext uri="{FF2B5EF4-FFF2-40B4-BE49-F238E27FC236}">
                    <a16:creationId xmlns:a16="http://schemas.microsoft.com/office/drawing/2014/main" id="{8543A725-2ECD-475C-B8F2-4B95DD799F0D}"/>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pic>
          <p:nvPicPr>
            <p:cNvPr id="15" name="Picture 14">
              <a:extLst>
                <a:ext uri="{FF2B5EF4-FFF2-40B4-BE49-F238E27FC236}">
                  <a16:creationId xmlns:a16="http://schemas.microsoft.com/office/drawing/2014/main" id="{5D058906-F75B-403B-B22D-B41549B2401D}"/>
                </a:ext>
              </a:extLst>
            </p:cNvPr>
            <p:cNvPicPr>
              <a:picLocks noChangeAspect="1"/>
            </p:cNvPicPr>
            <p:nvPr userDrawn="1"/>
          </p:nvPicPr>
          <p:blipFill>
            <a:blip r:embed="rId3"/>
            <a:stretch>
              <a:fillRect/>
            </a:stretch>
          </p:blipFill>
          <p:spPr>
            <a:xfrm>
              <a:off x="-1884053" y="1200637"/>
              <a:ext cx="1418614" cy="1444137"/>
            </a:xfrm>
            <a:prstGeom prst="rect">
              <a:avLst/>
            </a:prstGeom>
          </p:spPr>
        </p:pic>
      </p:grpSp>
      <p:pic>
        <p:nvPicPr>
          <p:cNvPr id="24" name="Picture 23">
            <a:extLst>
              <a:ext uri="{FF2B5EF4-FFF2-40B4-BE49-F238E27FC236}">
                <a16:creationId xmlns:a16="http://schemas.microsoft.com/office/drawing/2014/main" id="{BB368B35-1A95-4DB8-9489-9493B9DFE5DC}"/>
              </a:ext>
            </a:extLst>
          </p:cNvPr>
          <p:cNvPicPr>
            <a:picLocks noChangeAspect="1"/>
          </p:cNvPicPr>
          <p:nvPr userDrawn="1"/>
        </p:nvPicPr>
        <p:blipFill>
          <a:blip r:embed="rId4"/>
          <a:stretch>
            <a:fillRect/>
          </a:stretch>
        </p:blipFill>
        <p:spPr>
          <a:xfrm>
            <a:off x="798617" y="6158174"/>
            <a:ext cx="2826826" cy="255541"/>
          </a:xfrm>
          <a:prstGeom prst="rect">
            <a:avLst/>
          </a:prstGeom>
        </p:spPr>
      </p:pic>
    </p:spTree>
    <p:extLst>
      <p:ext uri="{BB962C8B-B14F-4D97-AF65-F5344CB8AC3E}">
        <p14:creationId xmlns:p14="http://schemas.microsoft.com/office/powerpoint/2010/main" val="120621753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lide bright image ">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645FE9CD-1ED4-4BAB-A2E6-81FAE97D5AA5}"/>
              </a:ext>
            </a:extLst>
          </p:cNvPr>
          <p:cNvSpPr>
            <a:spLocks noGrp="1"/>
          </p:cNvSpPr>
          <p:nvPr>
            <p:ph type="pic" sz="quarter" idx="10" hasCustomPrompt="1"/>
          </p:nvPr>
        </p:nvSpPr>
        <p:spPr>
          <a:xfrm>
            <a:off x="1" y="0"/>
            <a:ext cx="12192000" cy="6858000"/>
          </a:xfrm>
          <a:noFill/>
          <a:ln>
            <a:noFill/>
          </a:ln>
        </p:spPr>
        <p:txBody>
          <a:bodyPr tIns="0" anchor="t" anchorCtr="0"/>
          <a:lstStyle>
            <a:lvl1pPr algn="ctr">
              <a:buNone/>
              <a:defRPr>
                <a:solidFill>
                  <a:schemeClr val="tx1"/>
                </a:solidFill>
              </a:defRPr>
            </a:lvl1pPr>
          </a:lstStyle>
          <a:p>
            <a:r>
              <a:rPr lang="en-GB" noProof="0"/>
              <a:t>Mark placeholder to insert image</a:t>
            </a:r>
          </a:p>
        </p:txBody>
      </p:sp>
      <p:sp>
        <p:nvSpPr>
          <p:cNvPr id="13" name="FLD_PresentationTitle">
            <a:extLst>
              <a:ext uri="{FF2B5EF4-FFF2-40B4-BE49-F238E27FC236}">
                <a16:creationId xmlns:a16="http://schemas.microsoft.com/office/drawing/2014/main" id="{14D760D6-4511-4FB6-834E-914C8197AE93}"/>
              </a:ext>
            </a:extLst>
          </p:cNvPr>
          <p:cNvSpPr>
            <a:spLocks noGrp="1"/>
          </p:cNvSpPr>
          <p:nvPr>
            <p:ph type="ctrTitle" hasCustomPrompt="1"/>
          </p:nvPr>
        </p:nvSpPr>
        <p:spPr>
          <a:xfrm>
            <a:off x="798618" y="409475"/>
            <a:ext cx="9773923" cy="681390"/>
          </a:xfrm>
        </p:spPr>
        <p:txBody>
          <a:bodyPr tIns="0" anchor="t" anchorCtr="0"/>
          <a:lstStyle>
            <a:lvl1pPr>
              <a:defRPr sz="1539" cap="all" spc="-48" baseline="0" smtClean="0">
                <a:solidFill>
                  <a:schemeClr val="tx1"/>
                </a:solidFill>
                <a:latin typeface="Verdana" pitchFamily="34" charset="0"/>
              </a:defRPr>
            </a:lvl1pPr>
          </a:lstStyle>
          <a:p>
            <a:r>
              <a:rPr lang="en-GB" noProof="0"/>
              <a:t>Headline</a:t>
            </a:r>
          </a:p>
        </p:txBody>
      </p:sp>
      <p:sp>
        <p:nvSpPr>
          <p:cNvPr id="15" name="FLD_PresentationTitle_2">
            <a:extLst>
              <a:ext uri="{FF2B5EF4-FFF2-40B4-BE49-F238E27FC236}">
                <a16:creationId xmlns:a16="http://schemas.microsoft.com/office/drawing/2014/main" id="{97052B4B-9CE9-499F-8A38-BF912EBD1177}"/>
              </a:ext>
            </a:extLst>
          </p:cNvPr>
          <p:cNvSpPr>
            <a:spLocks noGrp="1" noChangeArrowheads="1"/>
          </p:cNvSpPr>
          <p:nvPr>
            <p:ph type="subTitle" sz="quarter" idx="1" hasCustomPrompt="1"/>
          </p:nvPr>
        </p:nvSpPr>
        <p:spPr>
          <a:xfrm>
            <a:off x="798617" y="1139481"/>
            <a:ext cx="9773463" cy="1254271"/>
          </a:xfrm>
        </p:spPr>
        <p:txBody>
          <a:bodyPr lIns="0"/>
          <a:lstStyle>
            <a:lvl1pPr marL="0" indent="0">
              <a:lnSpc>
                <a:spcPct val="100000"/>
              </a:lnSpc>
              <a:spcAft>
                <a:spcPts val="0"/>
              </a:spcAft>
              <a:buFontTx/>
              <a:buNone/>
              <a:defRPr sz="1539" b="1" cap="all" spc="-48" baseline="0" smtClean="0">
                <a:solidFill>
                  <a:schemeClr val="tx2"/>
                </a:solidFill>
                <a:latin typeface="Verdana" pitchFamily="34" charset="0"/>
              </a:defRPr>
            </a:lvl1pPr>
          </a:lstStyle>
          <a:p>
            <a:r>
              <a:rPr lang="en-GB" noProof="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618" y="5018936"/>
            <a:ext cx="8137938" cy="1084011"/>
          </a:xfrm>
        </p:spPr>
        <p:txBody>
          <a:bodyPr lIns="0"/>
          <a:lstStyle>
            <a:lvl1pPr marL="0" indent="0">
              <a:buFont typeface="Arial" panose="020B0604020202020204" pitchFamily="34" charset="0"/>
              <a:buChar char="​"/>
              <a:defRPr sz="513"/>
            </a:lvl1pPr>
          </a:lstStyle>
          <a:p>
            <a:pPr lvl="0"/>
            <a:r>
              <a:rPr lang="en-GB"/>
              <a:t>Subtitle</a:t>
            </a:r>
          </a:p>
        </p:txBody>
      </p:sp>
      <p:sp>
        <p:nvSpPr>
          <p:cNvPr id="7"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8"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9" name="Slide Number Placeholder 5" hidden="1"/>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17" name="Footer Placeholder 4" hidden="1">
            <a:extLst>
              <a:ext uri="{FF2B5EF4-FFF2-40B4-BE49-F238E27FC236}">
                <a16:creationId xmlns:a16="http://schemas.microsoft.com/office/drawing/2014/main" id="{32F99A81-D9A2-4F30-8989-49FBFDFFBC22}"/>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18" name="Date_DateCustomA">
            <a:extLst>
              <a:ext uri="{FF2B5EF4-FFF2-40B4-BE49-F238E27FC236}">
                <a16:creationId xmlns:a16="http://schemas.microsoft.com/office/drawing/2014/main" id="{4677BC5A-C865-45E8-BEA2-32CF74611B59}"/>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
        <p:nvSpPr>
          <p:cNvPr id="12" name="Text Placeholder 2">
            <a:extLst>
              <a:ext uri="{FF2B5EF4-FFF2-40B4-BE49-F238E27FC236}">
                <a16:creationId xmlns:a16="http://schemas.microsoft.com/office/drawing/2014/main" id="{7BCB23DC-9A5C-4856-B9D3-C9BA6C166827}"/>
              </a:ext>
            </a:extLst>
          </p:cNvPr>
          <p:cNvSpPr>
            <a:spLocks noGrp="1"/>
          </p:cNvSpPr>
          <p:nvPr>
            <p:ph type="body" sz="quarter" idx="12" hasCustomPrompt="1"/>
          </p:nvPr>
        </p:nvSpPr>
        <p:spPr>
          <a:xfrm>
            <a:off x="798617" y="6158174"/>
            <a:ext cx="2826368" cy="255541"/>
          </a:xfrm>
          <a:blipFill>
            <a:blip r:embed="rId2"/>
            <a:stretch>
              <a:fillRect/>
            </a:stretch>
          </a:blipFill>
        </p:spPr>
        <p:txBody>
          <a:bodyPr/>
          <a:lstStyle>
            <a:lvl1pPr marL="0" indent="0">
              <a:buNone/>
              <a:defRPr sz="100">
                <a:noFill/>
              </a:defRPr>
            </a:lvl1pPr>
          </a:lstStyle>
          <a:p>
            <a:pPr lvl="0"/>
            <a:r>
              <a:rPr lang="en-US"/>
              <a:t>.</a:t>
            </a:r>
          </a:p>
        </p:txBody>
      </p:sp>
    </p:spTree>
    <p:extLst>
      <p:ext uri="{BB962C8B-B14F-4D97-AF65-F5344CB8AC3E}">
        <p14:creationId xmlns:p14="http://schemas.microsoft.com/office/powerpoint/2010/main" val="128974741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dark image ">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645FE9CD-1ED4-4BAB-A2E6-81FAE97D5AA5}"/>
              </a:ext>
            </a:extLst>
          </p:cNvPr>
          <p:cNvSpPr>
            <a:spLocks noGrp="1"/>
          </p:cNvSpPr>
          <p:nvPr>
            <p:ph type="pic" sz="quarter" idx="10" hasCustomPrompt="1"/>
          </p:nvPr>
        </p:nvSpPr>
        <p:spPr>
          <a:xfrm>
            <a:off x="1" y="0"/>
            <a:ext cx="12192000" cy="6858000"/>
          </a:xfrm>
          <a:solidFill>
            <a:srgbClr val="F6F6F4"/>
          </a:solidFill>
          <a:ln>
            <a:noFill/>
          </a:ln>
        </p:spPr>
        <p:txBody>
          <a:bodyPr tIns="0" anchor="t" anchorCtr="0"/>
          <a:lstStyle>
            <a:lvl1pPr algn="ctr">
              <a:buNone/>
              <a:defRPr>
                <a:solidFill>
                  <a:schemeClr val="tx1"/>
                </a:solidFill>
              </a:defRPr>
            </a:lvl1pPr>
          </a:lstStyle>
          <a:p>
            <a:r>
              <a:rPr lang="en-GB" noProof="0"/>
              <a:t>Mark placeholder to insert image</a:t>
            </a:r>
          </a:p>
        </p:txBody>
      </p:sp>
      <p:sp>
        <p:nvSpPr>
          <p:cNvPr id="13" name="FLD_PresentationTitle">
            <a:extLst>
              <a:ext uri="{FF2B5EF4-FFF2-40B4-BE49-F238E27FC236}">
                <a16:creationId xmlns:a16="http://schemas.microsoft.com/office/drawing/2014/main" id="{14D760D6-4511-4FB6-834E-914C8197AE93}"/>
              </a:ext>
            </a:extLst>
          </p:cNvPr>
          <p:cNvSpPr>
            <a:spLocks noGrp="1"/>
          </p:cNvSpPr>
          <p:nvPr>
            <p:ph type="ctrTitle" hasCustomPrompt="1"/>
          </p:nvPr>
        </p:nvSpPr>
        <p:spPr>
          <a:xfrm>
            <a:off x="798618" y="409475"/>
            <a:ext cx="9774382" cy="681390"/>
          </a:xfrm>
        </p:spPr>
        <p:txBody>
          <a:bodyPr tIns="0" anchor="t" anchorCtr="0"/>
          <a:lstStyle>
            <a:lvl1pPr>
              <a:defRPr sz="1539" cap="all" spc="-48" baseline="0" smtClean="0">
                <a:solidFill>
                  <a:schemeClr val="tx2"/>
                </a:solidFill>
                <a:latin typeface="Verdana" pitchFamily="34" charset="0"/>
              </a:defRPr>
            </a:lvl1pPr>
          </a:lstStyle>
          <a:p>
            <a:r>
              <a:rPr lang="en-GB" noProof="0"/>
              <a:t>Headline</a:t>
            </a:r>
          </a:p>
        </p:txBody>
      </p:sp>
      <p:sp>
        <p:nvSpPr>
          <p:cNvPr id="15" name="FLD_PresentationTitle_2">
            <a:extLst>
              <a:ext uri="{FF2B5EF4-FFF2-40B4-BE49-F238E27FC236}">
                <a16:creationId xmlns:a16="http://schemas.microsoft.com/office/drawing/2014/main" id="{97052B4B-9CE9-499F-8A38-BF912EBD1177}"/>
              </a:ext>
            </a:extLst>
          </p:cNvPr>
          <p:cNvSpPr>
            <a:spLocks noGrp="1" noChangeArrowheads="1"/>
          </p:cNvSpPr>
          <p:nvPr>
            <p:ph type="subTitle" sz="quarter" idx="1" hasCustomPrompt="1"/>
          </p:nvPr>
        </p:nvSpPr>
        <p:spPr>
          <a:xfrm>
            <a:off x="798617" y="1139481"/>
            <a:ext cx="9773923" cy="1254271"/>
          </a:xfrm>
        </p:spPr>
        <p:txBody>
          <a:bodyPr lIns="0"/>
          <a:lstStyle>
            <a:lvl1pPr marL="0" indent="0">
              <a:lnSpc>
                <a:spcPct val="100000"/>
              </a:lnSpc>
              <a:spcAft>
                <a:spcPts val="0"/>
              </a:spcAft>
              <a:buFontTx/>
              <a:buNone/>
              <a:defRPr sz="1539" b="1" cap="all" spc="-48" baseline="0" smtClean="0">
                <a:solidFill>
                  <a:schemeClr val="bg1"/>
                </a:solidFill>
                <a:latin typeface="Verdana" pitchFamily="34" charset="0"/>
              </a:defRPr>
            </a:lvl1pPr>
          </a:lstStyle>
          <a:p>
            <a:r>
              <a:rPr lang="en-GB" noProof="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618" y="5018936"/>
            <a:ext cx="8137938" cy="1084011"/>
          </a:xfrm>
        </p:spPr>
        <p:txBody>
          <a:bodyPr lIns="0"/>
          <a:lstStyle>
            <a:lvl1pPr marL="0" indent="0">
              <a:buFont typeface="Arial" panose="020B0604020202020204" pitchFamily="34" charset="0"/>
              <a:buChar char="​"/>
              <a:defRPr sz="513">
                <a:solidFill>
                  <a:schemeClr val="bg1"/>
                </a:solidFill>
              </a:defRPr>
            </a:lvl1pPr>
          </a:lstStyle>
          <a:p>
            <a:pPr lvl="0"/>
            <a:r>
              <a:rPr lang="en-GB"/>
              <a:t>Subtitle</a:t>
            </a:r>
          </a:p>
        </p:txBody>
      </p:sp>
      <p:sp>
        <p:nvSpPr>
          <p:cNvPr id="7"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8"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19" name="Slide Number Placeholder 5" hidden="1">
            <a:extLst>
              <a:ext uri="{FF2B5EF4-FFF2-40B4-BE49-F238E27FC236}">
                <a16:creationId xmlns:a16="http://schemas.microsoft.com/office/drawing/2014/main" id="{F31626DF-C504-456C-BABA-F9E112AEAE62}"/>
              </a:ext>
            </a:extLst>
          </p:cNvPr>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22" name="Footer Placeholder 4" hidden="1">
            <a:extLst>
              <a:ext uri="{FF2B5EF4-FFF2-40B4-BE49-F238E27FC236}">
                <a16:creationId xmlns:a16="http://schemas.microsoft.com/office/drawing/2014/main" id="{148EA343-9CD9-4A35-8E70-A9FAF3855BD9}"/>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23" name="Date_DateCustomA" hidden="1">
            <a:extLst>
              <a:ext uri="{FF2B5EF4-FFF2-40B4-BE49-F238E27FC236}">
                <a16:creationId xmlns:a16="http://schemas.microsoft.com/office/drawing/2014/main" id="{D46E539C-AF02-4268-B134-91B646ABB7B9}"/>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
        <p:nvSpPr>
          <p:cNvPr id="12" name="Text Placeholder 2">
            <a:extLst>
              <a:ext uri="{FF2B5EF4-FFF2-40B4-BE49-F238E27FC236}">
                <a16:creationId xmlns:a16="http://schemas.microsoft.com/office/drawing/2014/main" id="{CB71DD6B-2BD1-40F7-8209-3A56F244488F}"/>
              </a:ext>
            </a:extLst>
          </p:cNvPr>
          <p:cNvSpPr>
            <a:spLocks noGrp="1"/>
          </p:cNvSpPr>
          <p:nvPr>
            <p:ph type="body" sz="quarter" idx="12" hasCustomPrompt="1"/>
          </p:nvPr>
        </p:nvSpPr>
        <p:spPr>
          <a:xfrm>
            <a:off x="798617" y="6158174"/>
            <a:ext cx="2826368" cy="255541"/>
          </a:xfrm>
          <a:blipFill>
            <a:blip r:embed="rId2"/>
            <a:stretch>
              <a:fillRect/>
            </a:stretch>
          </a:blipFill>
        </p:spPr>
        <p:txBody>
          <a:bodyPr/>
          <a:lstStyle>
            <a:lvl1pPr marL="0" indent="0">
              <a:buNone/>
              <a:defRPr sz="100">
                <a:noFill/>
              </a:defRPr>
            </a:lvl1pPr>
          </a:lstStyle>
          <a:p>
            <a:pPr lvl="0"/>
            <a:r>
              <a:rPr lang="en-US"/>
              <a:t>.</a:t>
            </a:r>
          </a:p>
        </p:txBody>
      </p:sp>
    </p:spTree>
    <p:extLst>
      <p:ext uri="{BB962C8B-B14F-4D97-AF65-F5344CB8AC3E}">
        <p14:creationId xmlns:p14="http://schemas.microsoft.com/office/powerpoint/2010/main" val="78005292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reaker (A)">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24" name="Title 1">
            <a:extLst>
              <a:ext uri="{FF2B5EF4-FFF2-40B4-BE49-F238E27FC236}">
                <a16:creationId xmlns:a16="http://schemas.microsoft.com/office/drawing/2014/main" id="{205C9348-6845-4A4F-958A-4A052BC8EDF6}"/>
              </a:ext>
            </a:extLst>
          </p:cNvPr>
          <p:cNvSpPr>
            <a:spLocks noGrp="1"/>
          </p:cNvSpPr>
          <p:nvPr>
            <p:ph type="title" hasCustomPrompt="1"/>
          </p:nvPr>
        </p:nvSpPr>
        <p:spPr>
          <a:xfrm>
            <a:off x="798618" y="452438"/>
            <a:ext cx="7330441" cy="5254627"/>
          </a:xfrm>
        </p:spPr>
        <p:txBody>
          <a:bodyPr/>
          <a:lstStyle>
            <a:lvl1pPr>
              <a:defRPr sz="1539">
                <a:solidFill>
                  <a:schemeClr val="bg1"/>
                </a:solidFill>
              </a:defRPr>
            </a:lvl1pPr>
          </a:lstStyle>
          <a:p>
            <a:r>
              <a:rPr lang="en-GB"/>
              <a:t>Breaker text</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nr.›</a:t>
            </a:fld>
            <a:endParaRPr lang="en-GB"/>
          </a:p>
        </p:txBody>
      </p:sp>
      <p:sp>
        <p:nvSpPr>
          <p:cNvPr id="11" name="Freeform 5">
            <a:extLst>
              <a:ext uri="{FF2B5EF4-FFF2-40B4-BE49-F238E27FC236}">
                <a16:creationId xmlns:a16="http://schemas.microsoft.com/office/drawing/2014/main" id="{19783461-93EA-4162-AC89-71558EC415F3}"/>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29326" tIns="14663" rIns="29326" bIns="14663" numCol="1" anchor="t" anchorCtr="0" compatLnSpc="1">
            <a:prstTxWarp prst="textNoShape">
              <a:avLst/>
            </a:prstTxWarp>
          </a:bodyPr>
          <a:lstStyle/>
          <a:p>
            <a:endParaRPr lang="en-GB" sz="577"/>
          </a:p>
        </p:txBody>
      </p:sp>
      <p:sp>
        <p:nvSpPr>
          <p:cNvPr id="10" name="Footer Placeholder 4">
            <a:extLst>
              <a:ext uri="{FF2B5EF4-FFF2-40B4-BE49-F238E27FC236}">
                <a16:creationId xmlns:a16="http://schemas.microsoft.com/office/drawing/2014/main" id="{8EE38BD6-B0DE-4974-8C0E-549D4DF8AD81}"/>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5" name="Date_DateCustomA">
            <a:extLst>
              <a:ext uri="{FF2B5EF4-FFF2-40B4-BE49-F238E27FC236}">
                <a16:creationId xmlns:a16="http://schemas.microsoft.com/office/drawing/2014/main" id="{4F117C74-452F-4005-AE59-9EDC236F06C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39E358D6-2C07-4588-BB20-50FD0000CCEB}" type="datetime1">
              <a:rPr lang="en-GB" smtClean="0"/>
              <a:t>06/09/2023</a:t>
            </a:fld>
            <a:endParaRPr lang="en-GB"/>
          </a:p>
        </p:txBody>
      </p:sp>
    </p:spTree>
    <p:extLst>
      <p:ext uri="{BB962C8B-B14F-4D97-AF65-F5344CB8AC3E}">
        <p14:creationId xmlns:p14="http://schemas.microsoft.com/office/powerpoint/2010/main" val="124593051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Breaker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C666208A-F4F9-4299-9F9F-6881C4C08564}"/>
              </a:ext>
            </a:extLst>
          </p:cNvPr>
          <p:cNvSpPr/>
          <p:nvPr userDrawn="1"/>
        </p:nvSpPr>
        <p:spPr>
          <a:xfrm>
            <a:off x="1"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15" name="Title 1">
            <a:extLst>
              <a:ext uri="{FF2B5EF4-FFF2-40B4-BE49-F238E27FC236}">
                <a16:creationId xmlns:a16="http://schemas.microsoft.com/office/drawing/2014/main" id="{07DF7DBE-6CC3-4F9E-A396-E82820B89EC7}"/>
              </a:ext>
            </a:extLst>
          </p:cNvPr>
          <p:cNvSpPr>
            <a:spLocks noGrp="1"/>
          </p:cNvSpPr>
          <p:nvPr>
            <p:ph type="title" hasCustomPrompt="1"/>
          </p:nvPr>
        </p:nvSpPr>
        <p:spPr>
          <a:xfrm>
            <a:off x="798619" y="452438"/>
            <a:ext cx="4886960" cy="5254627"/>
          </a:xfrm>
        </p:spPr>
        <p:txBody>
          <a:bodyPr/>
          <a:lstStyle>
            <a:lvl1pPr>
              <a:defRPr>
                <a:solidFill>
                  <a:schemeClr val="bg1"/>
                </a:solidFill>
              </a:defRPr>
            </a:lvl1pPr>
          </a:lstStyle>
          <a:p>
            <a:r>
              <a:rPr lang="en-GB"/>
              <a:t>Breaker text</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nr.›</a:t>
            </a:fld>
            <a:endParaRPr lang="en-GB"/>
          </a:p>
        </p:txBody>
      </p:sp>
      <p:sp>
        <p:nvSpPr>
          <p:cNvPr id="14" name="Freeform 5">
            <a:extLst>
              <a:ext uri="{FF2B5EF4-FFF2-40B4-BE49-F238E27FC236}">
                <a16:creationId xmlns:a16="http://schemas.microsoft.com/office/drawing/2014/main" id="{428454B1-AE1A-41EC-AD14-E0008864B561}"/>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29326" tIns="14663" rIns="29326" bIns="14663" numCol="1" anchor="t" anchorCtr="0" compatLnSpc="1">
            <a:prstTxWarp prst="textNoShape">
              <a:avLst/>
            </a:prstTxWarp>
          </a:bodyPr>
          <a:lstStyle/>
          <a:p>
            <a:endParaRPr lang="en-GB" sz="577"/>
          </a:p>
        </p:txBody>
      </p:sp>
      <p:sp>
        <p:nvSpPr>
          <p:cNvPr id="11" name="Footer Placeholder 4">
            <a:extLst>
              <a:ext uri="{FF2B5EF4-FFF2-40B4-BE49-F238E27FC236}">
                <a16:creationId xmlns:a16="http://schemas.microsoft.com/office/drawing/2014/main" id="{7AE25691-DC33-4C04-AF2A-3DEFF887BB00}"/>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7" name="Date_DateCustomA">
            <a:extLst>
              <a:ext uri="{FF2B5EF4-FFF2-40B4-BE49-F238E27FC236}">
                <a16:creationId xmlns:a16="http://schemas.microsoft.com/office/drawing/2014/main" id="{F99201D3-72C4-4206-8970-FC1ACB025C0A}"/>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E6892AED-DD77-42C7-BB42-12F75B7E66E8}" type="datetime1">
              <a:rPr lang="en-GB" smtClean="0"/>
              <a:t>06/09/2023</a:t>
            </a:fld>
            <a:endParaRPr lang="en-GB"/>
          </a:p>
        </p:txBody>
      </p:sp>
    </p:spTree>
    <p:extLst>
      <p:ext uri="{BB962C8B-B14F-4D97-AF65-F5344CB8AC3E}">
        <p14:creationId xmlns:p14="http://schemas.microsoft.com/office/powerpoint/2010/main" val="140055642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1C52AC6E-7F31-46F0-897C-8CA895D525E5}"/>
              </a:ext>
            </a:extLst>
          </p:cNvPr>
          <p:cNvSpPr/>
          <p:nvPr userDrawn="1"/>
        </p:nvSpPr>
        <p:spPr>
          <a:xfrm>
            <a:off x="1"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10" name="Title 3">
            <a:extLst>
              <a:ext uri="{FF2B5EF4-FFF2-40B4-BE49-F238E27FC236}">
                <a16:creationId xmlns:a16="http://schemas.microsoft.com/office/drawing/2014/main" id="{12A0CAF9-565B-4643-8539-61D9B882A512}"/>
              </a:ext>
            </a:extLst>
          </p:cNvPr>
          <p:cNvSpPr>
            <a:spLocks noGrp="1"/>
          </p:cNvSpPr>
          <p:nvPr>
            <p:ph type="title"/>
          </p:nvPr>
        </p:nvSpPr>
        <p:spPr>
          <a:xfrm>
            <a:off x="798617" y="453496"/>
            <a:ext cx="10590003" cy="748626"/>
          </a:xfrm>
        </p:spPr>
        <p:txBody>
          <a:bodyPr/>
          <a:lstStyle>
            <a:lvl1pPr>
              <a:defRPr>
                <a:solidFill>
                  <a:schemeClr val="bg1"/>
                </a:solidFill>
              </a:defRPr>
            </a:lvl1pPr>
          </a:lstStyle>
          <a:p>
            <a:r>
              <a:rPr lang="en-US"/>
              <a:t>Click to edit Master title style</a:t>
            </a:r>
            <a:endParaRPr lang="en-GB"/>
          </a:p>
        </p:txBody>
      </p:sp>
      <p:sp>
        <p:nvSpPr>
          <p:cNvPr id="5" name="Text Placeholder 4">
            <a:extLst>
              <a:ext uri="{FF2B5EF4-FFF2-40B4-BE49-F238E27FC236}">
                <a16:creationId xmlns:a16="http://schemas.microsoft.com/office/drawing/2014/main" id="{86D6618B-DF84-4E96-B2FD-7B59D5717CEB}"/>
              </a:ext>
            </a:extLst>
          </p:cNvPr>
          <p:cNvSpPr>
            <a:spLocks noGrp="1"/>
          </p:cNvSpPr>
          <p:nvPr>
            <p:ph type="body" sz="quarter" idx="13" hasCustomPrompt="1"/>
          </p:nvPr>
        </p:nvSpPr>
        <p:spPr>
          <a:xfrm>
            <a:off x="798618" y="1633160"/>
            <a:ext cx="10590003" cy="4086866"/>
          </a:xfrm>
        </p:spPr>
        <p:txBody>
          <a:bodyPr/>
          <a:lstStyle>
            <a:lvl1pPr marL="116075" indent="-116075">
              <a:buFont typeface="+mj-lt"/>
              <a:buAutoNum type="arabicPeriod"/>
              <a:defRPr sz="449" b="1" cap="all" baseline="0">
                <a:solidFill>
                  <a:schemeClr val="bg1"/>
                </a:solidFill>
              </a:defRPr>
            </a:lvl1pPr>
            <a:lvl2pPr marL="201095" indent="-85020">
              <a:defRPr sz="449" b="1" cap="all" baseline="0">
                <a:solidFill>
                  <a:schemeClr val="bg1"/>
                </a:solidFill>
              </a:defRPr>
            </a:lvl2pPr>
            <a:lvl3pPr>
              <a:defRPr b="1" cap="all" baseline="0">
                <a:solidFill>
                  <a:schemeClr val="bg1"/>
                </a:solidFill>
              </a:defRPr>
            </a:lvl3pPr>
            <a:lvl4pPr>
              <a:defRPr b="1" cap="all" baseline="0">
                <a:solidFill>
                  <a:schemeClr val="bg1"/>
                </a:solidFill>
              </a:defRPr>
            </a:lvl4pPr>
            <a:lvl5pPr>
              <a:defRPr b="1" cap="all" baseline="0">
                <a:solidFill>
                  <a:schemeClr val="bg1"/>
                </a:solidFill>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nr.›</a:t>
            </a:fld>
            <a:endParaRPr lang="en-GB"/>
          </a:p>
        </p:txBody>
      </p:sp>
      <p:sp>
        <p:nvSpPr>
          <p:cNvPr id="14" name="Freeform 5">
            <a:extLst>
              <a:ext uri="{FF2B5EF4-FFF2-40B4-BE49-F238E27FC236}">
                <a16:creationId xmlns:a16="http://schemas.microsoft.com/office/drawing/2014/main" id="{428454B1-AE1A-41EC-AD14-E0008864B561}"/>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29326" tIns="14663" rIns="29326" bIns="14663" numCol="1" anchor="t" anchorCtr="0" compatLnSpc="1">
            <a:prstTxWarp prst="textNoShape">
              <a:avLst/>
            </a:prstTxWarp>
          </a:bodyPr>
          <a:lstStyle/>
          <a:p>
            <a:endParaRPr lang="en-GB" sz="577"/>
          </a:p>
        </p:txBody>
      </p:sp>
      <p:sp>
        <p:nvSpPr>
          <p:cNvPr id="15" name="Footer Placeholder 4">
            <a:extLst>
              <a:ext uri="{FF2B5EF4-FFF2-40B4-BE49-F238E27FC236}">
                <a16:creationId xmlns:a16="http://schemas.microsoft.com/office/drawing/2014/main" id="{3023EA8A-7243-49C8-8C39-DC7F2EDABC60}"/>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7" name="Date_DateCustomA">
            <a:extLst>
              <a:ext uri="{FF2B5EF4-FFF2-40B4-BE49-F238E27FC236}">
                <a16:creationId xmlns:a16="http://schemas.microsoft.com/office/drawing/2014/main" id="{0BFC8F03-4431-41CF-AF1F-ECDA545293A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CD4A6F46-B6F7-4994-AAE4-379699F66888}" type="datetime1">
              <a:rPr lang="en-GB" smtClean="0"/>
              <a:t>06/09/2023</a:t>
            </a:fld>
            <a:endParaRPr lang="en-GB"/>
          </a:p>
        </p:txBody>
      </p:sp>
    </p:spTree>
    <p:extLst>
      <p:ext uri="{BB962C8B-B14F-4D97-AF65-F5344CB8AC3E}">
        <p14:creationId xmlns:p14="http://schemas.microsoft.com/office/powerpoint/2010/main" val="270774680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DBAD0C-7FB6-4652-87AA-A678753BF180}"/>
              </a:ext>
            </a:extLst>
          </p:cNvPr>
          <p:cNvSpPr>
            <a:spLocks noGrp="1"/>
          </p:cNvSpPr>
          <p:nvPr>
            <p:ph type="title"/>
          </p:nvPr>
        </p:nvSpPr>
        <p:spPr>
          <a:xfrm>
            <a:off x="798617" y="453496"/>
            <a:ext cx="10590003" cy="748626"/>
          </a:xfrm>
        </p:spPr>
        <p:txBody>
          <a:bodyPr/>
          <a:lstStyle/>
          <a:p>
            <a:r>
              <a:rPr lang="en-US"/>
              <a:t>Click to edit Master title style</a:t>
            </a:r>
            <a:endParaRPr lang="en-GB"/>
          </a:p>
        </p:txBody>
      </p:sp>
      <p:sp>
        <p:nvSpPr>
          <p:cNvPr id="3" name="Content Placeholder 2"/>
          <p:cNvSpPr>
            <a:spLocks noGrp="1"/>
          </p:cNvSpPr>
          <p:nvPr>
            <p:ph idx="1" hasCustomPrompt="1"/>
          </p:nvPr>
        </p:nvSpPr>
        <p:spPr>
          <a:xfrm>
            <a:off x="798617" y="1644652"/>
            <a:ext cx="10590003"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5" name="Footer Placeholder 4">
            <a:extLst>
              <a:ext uri="{FF2B5EF4-FFF2-40B4-BE49-F238E27FC236}">
                <a16:creationId xmlns:a16="http://schemas.microsoft.com/office/drawing/2014/main" id="{C5FF0F6B-AA6E-4B16-90F1-26987BBE96A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7" name="Date_DateCustomA">
            <a:extLst>
              <a:ext uri="{FF2B5EF4-FFF2-40B4-BE49-F238E27FC236}">
                <a16:creationId xmlns:a16="http://schemas.microsoft.com/office/drawing/2014/main" id="{FDCD1E09-F97D-49B0-8DE9-0E701EFB5FBE}"/>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3B98ADA4-E8FA-45D8-A667-5B7FA1A67187}" type="datetime1">
              <a:rPr lang="en-GB" smtClean="0"/>
              <a:t>06/09/2023</a:t>
            </a:fld>
            <a:endParaRPr lang="en-GB"/>
          </a:p>
        </p:txBody>
      </p:sp>
    </p:spTree>
    <p:extLst>
      <p:ext uri="{BB962C8B-B14F-4D97-AF65-F5344CB8AC3E}">
        <p14:creationId xmlns:p14="http://schemas.microsoft.com/office/powerpoint/2010/main" val="81755162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4886961"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49478155-5C9E-4D4A-AA75-125DF35A1CB8}"/>
              </a:ext>
            </a:extLst>
          </p:cNvPr>
          <p:cNvSpPr>
            <a:spLocks noGrp="1"/>
          </p:cNvSpPr>
          <p:nvPr>
            <p:ph sz="quarter" idx="16"/>
          </p:nvPr>
        </p:nvSpPr>
        <p:spPr>
          <a:xfrm>
            <a:off x="6500071" y="1644651"/>
            <a:ext cx="4888549" cy="40624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6" name="Footer Placeholder 4">
            <a:extLst>
              <a:ext uri="{FF2B5EF4-FFF2-40B4-BE49-F238E27FC236}">
                <a16:creationId xmlns:a16="http://schemas.microsoft.com/office/drawing/2014/main" id="{1B842E0E-6D91-4141-882C-6C91050C6F2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8" name="Date_DateCustomA">
            <a:extLst>
              <a:ext uri="{FF2B5EF4-FFF2-40B4-BE49-F238E27FC236}">
                <a16:creationId xmlns:a16="http://schemas.microsoft.com/office/drawing/2014/main" id="{C64885CE-5A72-464C-A675-4AEA666E3E68}"/>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51C8650-3279-4A76-90A4-98B51440301C}" type="datetime1">
              <a:rPr lang="en-GB" smtClean="0"/>
              <a:t>06/09/2023</a:t>
            </a:fld>
            <a:endParaRPr lang="en-GB"/>
          </a:p>
        </p:txBody>
      </p:sp>
    </p:spTree>
    <p:extLst>
      <p:ext uri="{BB962C8B-B14F-4D97-AF65-F5344CB8AC3E}">
        <p14:creationId xmlns:p14="http://schemas.microsoft.com/office/powerpoint/2010/main" val="49855478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4072467"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3" name="Content Placeholder 4">
            <a:extLst>
              <a:ext uri="{FF2B5EF4-FFF2-40B4-BE49-F238E27FC236}">
                <a16:creationId xmlns:a16="http://schemas.microsoft.com/office/drawing/2014/main" id="{535335C1-5736-449E-B5A3-80EF8EFB92D0}"/>
              </a:ext>
            </a:extLst>
          </p:cNvPr>
          <p:cNvSpPr>
            <a:spLocks noGrp="1"/>
          </p:cNvSpPr>
          <p:nvPr>
            <p:ph sz="quarter" idx="16"/>
          </p:nvPr>
        </p:nvSpPr>
        <p:spPr>
          <a:xfrm>
            <a:off x="5685579" y="1644651"/>
            <a:ext cx="5703042" cy="40624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6" name="Footer Placeholder 4">
            <a:extLst>
              <a:ext uri="{FF2B5EF4-FFF2-40B4-BE49-F238E27FC236}">
                <a16:creationId xmlns:a16="http://schemas.microsoft.com/office/drawing/2014/main" id="{4485281A-363B-4F1C-8128-EA4AF52562B6}"/>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8" name="Date_DateCustomA">
            <a:extLst>
              <a:ext uri="{FF2B5EF4-FFF2-40B4-BE49-F238E27FC236}">
                <a16:creationId xmlns:a16="http://schemas.microsoft.com/office/drawing/2014/main" id="{B0E6362C-AD60-4A3E-B1BD-8ACCD0B3D70E}"/>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B13202A9-DE11-408D-9B8A-7630BF567349}" type="datetime1">
              <a:rPr lang="en-GB" smtClean="0"/>
              <a:t>06/09/2023</a:t>
            </a:fld>
            <a:endParaRPr lang="en-GB"/>
          </a:p>
        </p:txBody>
      </p:sp>
    </p:spTree>
    <p:extLst>
      <p:ext uri="{BB962C8B-B14F-4D97-AF65-F5344CB8AC3E}">
        <p14:creationId xmlns:p14="http://schemas.microsoft.com/office/powerpoint/2010/main" val="20688969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3F0DDBC-A080-42CE-8715-C06C1706FFC5}"/>
              </a:ext>
            </a:extLst>
          </p:cNvPr>
          <p:cNvGraphicFramePr>
            <a:graphicFrameLocks noChangeAspect="1"/>
          </p:cNvGraphicFramePr>
          <p:nvPr userDrawn="1">
            <p:custDataLst>
              <p:tags r:id="rId1"/>
            </p:custDataLst>
            <p:extLst>
              <p:ext uri="{D42A27DB-BD31-4B8C-83A1-F6EECF244321}">
                <p14:modId xmlns:p14="http://schemas.microsoft.com/office/powerpoint/2010/main" val="2586833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3F0DDBC-A080-42CE-8715-C06C1706FF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B9941A0D-1A7D-4418-872D-0A573109AE3D}" type="datetime1">
              <a:rPr lang="da-DK" smtClean="0"/>
              <a:pPr/>
              <a:t>06-09-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039157876"/>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5701454"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4">
            <a:extLst>
              <a:ext uri="{FF2B5EF4-FFF2-40B4-BE49-F238E27FC236}">
                <a16:creationId xmlns:a16="http://schemas.microsoft.com/office/drawing/2014/main" id="{414EC495-A6B9-4C60-A011-7047269C9CE9}"/>
              </a:ext>
            </a:extLst>
          </p:cNvPr>
          <p:cNvSpPr>
            <a:spLocks noGrp="1"/>
          </p:cNvSpPr>
          <p:nvPr>
            <p:ph sz="quarter" idx="16"/>
          </p:nvPr>
        </p:nvSpPr>
        <p:spPr>
          <a:xfrm>
            <a:off x="7314565" y="1644651"/>
            <a:ext cx="4074055" cy="40624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6" name="Footer Placeholder 4">
            <a:extLst>
              <a:ext uri="{FF2B5EF4-FFF2-40B4-BE49-F238E27FC236}">
                <a16:creationId xmlns:a16="http://schemas.microsoft.com/office/drawing/2014/main" id="{B60EC9E1-A6E7-4EDC-A604-820C98771D29}"/>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73643761-53E5-4729-8F9C-AC57323CEE05}"/>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620D795-7D6C-4DDD-9364-2C8C35AA87F6}" type="datetime1">
              <a:rPr lang="en-GB" smtClean="0"/>
              <a:t>06/09/2023</a:t>
            </a:fld>
            <a:endParaRPr lang="en-GB"/>
          </a:p>
        </p:txBody>
      </p:sp>
    </p:spTree>
    <p:extLst>
      <p:ext uri="{BB962C8B-B14F-4D97-AF65-F5344CB8AC3E}">
        <p14:creationId xmlns:p14="http://schemas.microsoft.com/office/powerpoint/2010/main" val="153649143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and icon (A)">
    <p:spTree>
      <p:nvGrpSpPr>
        <p:cNvPr id="1" name=""/>
        <p:cNvGrpSpPr/>
        <p:nvPr/>
      </p:nvGrpSpPr>
      <p:grpSpPr>
        <a:xfrm>
          <a:off x="0" y="0"/>
          <a:ext cx="0" cy="0"/>
          <a:chOff x="0" y="0"/>
          <a:chExt cx="0" cy="0"/>
        </a:xfrm>
      </p:grpSpPr>
      <p:sp>
        <p:nvSpPr>
          <p:cNvPr id="4" name="Title 1"/>
          <p:cNvSpPr>
            <a:spLocks noGrp="1"/>
          </p:cNvSpPr>
          <p:nvPr>
            <p:ph type="title"/>
          </p:nvPr>
        </p:nvSpPr>
        <p:spPr>
          <a:xfrm>
            <a:off x="798618" y="452439"/>
            <a:ext cx="8959428" cy="748626"/>
          </a:xfrm>
        </p:spPr>
        <p:txBody>
          <a:bodyPr/>
          <a:lstStyle/>
          <a:p>
            <a:r>
              <a:rPr lang="en-US"/>
              <a:t>Click to edit Master title style</a:t>
            </a:r>
            <a:endParaRPr lang="en-GB"/>
          </a:p>
        </p:txBody>
      </p:sp>
      <p:sp>
        <p:nvSpPr>
          <p:cNvPr id="3" name="Content Placeholder 2"/>
          <p:cNvSpPr>
            <a:spLocks noGrp="1"/>
          </p:cNvSpPr>
          <p:nvPr>
            <p:ph idx="1" hasCustomPrompt="1"/>
          </p:nvPr>
        </p:nvSpPr>
        <p:spPr>
          <a:xfrm>
            <a:off x="798617" y="1644652"/>
            <a:ext cx="10590003"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Picture Placeholder 3">
            <a:extLst>
              <a:ext uri="{FF2B5EF4-FFF2-40B4-BE49-F238E27FC236}">
                <a16:creationId xmlns:a16="http://schemas.microsoft.com/office/drawing/2014/main" id="{6FB39600-48A6-438C-ACEE-E7C3FBF9C3A2}"/>
              </a:ext>
            </a:extLst>
          </p:cNvPr>
          <p:cNvSpPr>
            <a:spLocks noGrp="1"/>
          </p:cNvSpPr>
          <p:nvPr>
            <p:ph type="pic" sz="quarter" idx="11" hasCustomPrompt="1"/>
          </p:nvPr>
        </p:nvSpPr>
        <p:spPr>
          <a:xfrm>
            <a:off x="10572540" y="452439"/>
            <a:ext cx="801068" cy="800779"/>
          </a:xfrm>
          <a:noFill/>
          <a:ln>
            <a:noFill/>
          </a:ln>
        </p:spPr>
        <p:txBody>
          <a:bodyPr lIns="38399" tIns="0" anchor="t" anchorCtr="0"/>
          <a:lstStyle>
            <a:lvl1pPr marL="0" indent="0">
              <a:buNone/>
              <a:defRPr sz="577">
                <a:solidFill>
                  <a:schemeClr val="tx1"/>
                </a:solidFill>
              </a:defRPr>
            </a:lvl1pPr>
          </a:lstStyle>
          <a:p>
            <a:r>
              <a:rPr lang="en-GB" noProof="0"/>
              <a:t>icon</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6" name="Footer Placeholder 4">
            <a:extLst>
              <a:ext uri="{FF2B5EF4-FFF2-40B4-BE49-F238E27FC236}">
                <a16:creationId xmlns:a16="http://schemas.microsoft.com/office/drawing/2014/main" id="{C4DE7E55-1B3D-4B43-B1B5-DE5E4FAB9891}"/>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8" name="Date_DateCustomA">
            <a:extLst>
              <a:ext uri="{FF2B5EF4-FFF2-40B4-BE49-F238E27FC236}">
                <a16:creationId xmlns:a16="http://schemas.microsoft.com/office/drawing/2014/main" id="{F5D459F2-4C14-4DC3-8A9D-B1E9DF21E4C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9B90C0BA-1BD5-469D-8018-C447C1EB2A93}" type="datetime1">
              <a:rPr lang="en-GB" smtClean="0"/>
              <a:t>06/09/2023</a:t>
            </a:fld>
            <a:endParaRPr lang="en-GB"/>
          </a:p>
        </p:txBody>
      </p:sp>
    </p:spTree>
    <p:extLst>
      <p:ext uri="{BB962C8B-B14F-4D97-AF65-F5344CB8AC3E}">
        <p14:creationId xmlns:p14="http://schemas.microsoft.com/office/powerpoint/2010/main" val="281045398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and icon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F487125B-AD53-4CA5-922E-72C96A67D7AA}"/>
              </a:ext>
            </a:extLst>
          </p:cNvPr>
          <p:cNvSpPr>
            <a:spLocks noGrp="1"/>
          </p:cNvSpPr>
          <p:nvPr>
            <p:ph idx="12" hasCustomPrompt="1"/>
          </p:nvPr>
        </p:nvSpPr>
        <p:spPr>
          <a:xfrm>
            <a:off x="798618" y="1644652"/>
            <a:ext cx="8959428"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Picture Placeholder 3">
            <a:extLst>
              <a:ext uri="{FF2B5EF4-FFF2-40B4-BE49-F238E27FC236}">
                <a16:creationId xmlns:a16="http://schemas.microsoft.com/office/drawing/2014/main" id="{9CFFD8C0-0E93-4388-A9E5-6DB36C4D48D1}"/>
              </a:ext>
            </a:extLst>
          </p:cNvPr>
          <p:cNvSpPr>
            <a:spLocks noGrp="1"/>
          </p:cNvSpPr>
          <p:nvPr>
            <p:ph type="pic" sz="quarter" idx="11" hasCustomPrompt="1"/>
          </p:nvPr>
        </p:nvSpPr>
        <p:spPr>
          <a:xfrm>
            <a:off x="10572539" y="1644654"/>
            <a:ext cx="818271" cy="817975"/>
          </a:xfrm>
          <a:noFill/>
          <a:ln>
            <a:noFill/>
          </a:ln>
        </p:spPr>
        <p:txBody>
          <a:bodyPr lIns="38399" tIns="0" anchor="t" anchorCtr="0"/>
          <a:lstStyle>
            <a:lvl1pPr marL="0" indent="0">
              <a:buNone/>
              <a:defRPr sz="577">
                <a:solidFill>
                  <a:schemeClr val="tx1"/>
                </a:solidFill>
              </a:defRPr>
            </a:lvl1pPr>
          </a:lstStyle>
          <a:p>
            <a:r>
              <a:rPr lang="en-GB" noProof="0"/>
              <a:t>icon</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6" name="Footer Placeholder 4">
            <a:extLst>
              <a:ext uri="{FF2B5EF4-FFF2-40B4-BE49-F238E27FC236}">
                <a16:creationId xmlns:a16="http://schemas.microsoft.com/office/drawing/2014/main" id="{E31502FD-B05E-464F-8932-42D027579D97}"/>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AA65EC4C-43E8-483C-B54B-30D5535BB4C8}"/>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02DADF78-B3EF-4042-B2F9-5AAFBCE5A22E}" type="datetime1">
              <a:rPr lang="en-GB" smtClean="0"/>
              <a:t>06/09/2023</a:t>
            </a:fld>
            <a:endParaRPr lang="en-GB"/>
          </a:p>
        </p:txBody>
      </p:sp>
    </p:spTree>
    <p:extLst>
      <p:ext uri="{BB962C8B-B14F-4D97-AF65-F5344CB8AC3E}">
        <p14:creationId xmlns:p14="http://schemas.microsoft.com/office/powerpoint/2010/main" val="401531724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and illustration (A)">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F487125B-AD53-4CA5-922E-72C96A67D7AA}"/>
              </a:ext>
            </a:extLst>
          </p:cNvPr>
          <p:cNvSpPr>
            <a:spLocks noGrp="1"/>
          </p:cNvSpPr>
          <p:nvPr>
            <p:ph idx="12" hasCustomPrompt="1"/>
          </p:nvPr>
        </p:nvSpPr>
        <p:spPr>
          <a:xfrm>
            <a:off x="798618" y="1644652"/>
            <a:ext cx="6515948"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Picture Placeholder 3">
            <a:extLst>
              <a:ext uri="{FF2B5EF4-FFF2-40B4-BE49-F238E27FC236}">
                <a16:creationId xmlns:a16="http://schemas.microsoft.com/office/drawing/2014/main" id="{9CFFD8C0-0E93-4388-A9E5-6DB36C4D48D1}"/>
              </a:ext>
            </a:extLst>
          </p:cNvPr>
          <p:cNvSpPr>
            <a:spLocks noGrp="1"/>
          </p:cNvSpPr>
          <p:nvPr>
            <p:ph type="pic" sz="quarter" idx="11" hasCustomPrompt="1"/>
          </p:nvPr>
        </p:nvSpPr>
        <p:spPr>
          <a:xfrm>
            <a:off x="8129058" y="1644653"/>
            <a:ext cx="3259562" cy="3239941"/>
          </a:xfrm>
          <a:noFill/>
          <a:ln>
            <a:noFill/>
          </a:ln>
        </p:spPr>
        <p:txBody>
          <a:bodyPr lIns="38399" tIns="0" anchor="t" anchorCtr="0"/>
          <a:lstStyle>
            <a:lvl1pPr marL="0" indent="0">
              <a:buNone/>
              <a:defRPr sz="577">
                <a:solidFill>
                  <a:schemeClr val="tx1"/>
                </a:solidFill>
              </a:defRPr>
            </a:lvl1pPr>
          </a:lstStyle>
          <a:p>
            <a:r>
              <a:rPr lang="en-GB">
                <a:effectLst/>
              </a:rPr>
              <a:t>illustration</a:t>
            </a:r>
            <a:endParaRPr lang="en-GB" noProof="0"/>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6" name="Footer Placeholder 4">
            <a:extLst>
              <a:ext uri="{FF2B5EF4-FFF2-40B4-BE49-F238E27FC236}">
                <a16:creationId xmlns:a16="http://schemas.microsoft.com/office/drawing/2014/main" id="{FB97A6BE-821A-4BF5-AFE7-9A048351C6D9}"/>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11815BEB-2C63-4CBF-9795-6F15022666B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BA51A42-5836-428D-B66B-B65A92E2CCAA}" type="datetime1">
              <a:rPr lang="en-GB" smtClean="0"/>
              <a:t>06/09/2023</a:t>
            </a:fld>
            <a:endParaRPr lang="en-GB"/>
          </a:p>
        </p:txBody>
      </p:sp>
    </p:spTree>
    <p:extLst>
      <p:ext uri="{BB962C8B-B14F-4D97-AF65-F5344CB8AC3E}">
        <p14:creationId xmlns:p14="http://schemas.microsoft.com/office/powerpoint/2010/main" val="268739970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and  illustration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5701454"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Picture Placeholder 4">
            <a:extLst>
              <a:ext uri="{FF2B5EF4-FFF2-40B4-BE49-F238E27FC236}">
                <a16:creationId xmlns:a16="http://schemas.microsoft.com/office/drawing/2014/main" id="{286587FC-F18B-4FBE-8CD2-663B9BA8C734}"/>
              </a:ext>
            </a:extLst>
          </p:cNvPr>
          <p:cNvSpPr>
            <a:spLocks noGrp="1"/>
          </p:cNvSpPr>
          <p:nvPr>
            <p:ph type="pic" sz="quarter" idx="14" hasCustomPrompt="1"/>
          </p:nvPr>
        </p:nvSpPr>
        <p:spPr>
          <a:xfrm>
            <a:off x="7314567" y="1644269"/>
            <a:ext cx="4074055" cy="4062797"/>
          </a:xfrm>
        </p:spPr>
        <p:txBody>
          <a:bodyPr/>
          <a:lstStyle>
            <a:lvl1pPr marL="0" indent="0">
              <a:buNone/>
              <a:defRPr/>
            </a:lvl1pPr>
          </a:lstStyle>
          <a:p>
            <a:r>
              <a:rPr lang="en-GB">
                <a:effectLst/>
              </a:rPr>
              <a:t>illustration</a:t>
            </a:r>
            <a:endParaRPr lang="en-GB" noProof="0"/>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6" name="Footer Placeholder 4">
            <a:extLst>
              <a:ext uri="{FF2B5EF4-FFF2-40B4-BE49-F238E27FC236}">
                <a16:creationId xmlns:a16="http://schemas.microsoft.com/office/drawing/2014/main" id="{9B89233D-8149-4491-95B2-DE11051C8619}"/>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8" name="Date_DateCustomA">
            <a:extLst>
              <a:ext uri="{FF2B5EF4-FFF2-40B4-BE49-F238E27FC236}">
                <a16:creationId xmlns:a16="http://schemas.microsoft.com/office/drawing/2014/main" id="{D2C9554E-F561-4DDA-B278-92702108D9B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136937CD-C8B6-42FA-9EC6-EF300AFFE646}" type="datetime1">
              <a:rPr lang="en-GB" smtClean="0"/>
              <a:t>06/09/2023</a:t>
            </a:fld>
            <a:endParaRPr lang="en-GB"/>
          </a:p>
        </p:txBody>
      </p:sp>
    </p:spTree>
    <p:extLst>
      <p:ext uri="{BB962C8B-B14F-4D97-AF65-F5344CB8AC3E}">
        <p14:creationId xmlns:p14="http://schemas.microsoft.com/office/powerpoint/2010/main" val="88727722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and fact text">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1" name="Content Placeholder 2">
            <a:extLst>
              <a:ext uri="{FF2B5EF4-FFF2-40B4-BE49-F238E27FC236}">
                <a16:creationId xmlns:a16="http://schemas.microsoft.com/office/drawing/2014/main" id="{BB9C9E16-4544-49A4-A136-929E64BE7AAF}"/>
              </a:ext>
            </a:extLst>
          </p:cNvPr>
          <p:cNvSpPr>
            <a:spLocks noGrp="1"/>
          </p:cNvSpPr>
          <p:nvPr>
            <p:ph idx="12" hasCustomPrompt="1"/>
          </p:nvPr>
        </p:nvSpPr>
        <p:spPr>
          <a:xfrm>
            <a:off x="798618" y="1644652"/>
            <a:ext cx="7330441"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Placeholder 6">
            <a:extLst>
              <a:ext uri="{FF2B5EF4-FFF2-40B4-BE49-F238E27FC236}">
                <a16:creationId xmlns:a16="http://schemas.microsoft.com/office/drawing/2014/main" id="{89007D2D-A158-459C-BE2E-0A1D348DA7C9}"/>
              </a:ext>
            </a:extLst>
          </p:cNvPr>
          <p:cNvSpPr>
            <a:spLocks noGrp="1"/>
          </p:cNvSpPr>
          <p:nvPr>
            <p:ph type="body" sz="quarter" idx="15" hasCustomPrompt="1"/>
          </p:nvPr>
        </p:nvSpPr>
        <p:spPr>
          <a:xfrm>
            <a:off x="8943552" y="1644391"/>
            <a:ext cx="2445069"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3</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3" name="Text Placeholder 6">
            <a:extLst>
              <a:ext uri="{FF2B5EF4-FFF2-40B4-BE49-F238E27FC236}">
                <a16:creationId xmlns:a16="http://schemas.microsoft.com/office/drawing/2014/main" id="{99C5C721-7970-4C21-B42B-33753616C1B3}"/>
              </a:ext>
            </a:extLst>
          </p:cNvPr>
          <p:cNvSpPr>
            <a:spLocks noGrp="1"/>
          </p:cNvSpPr>
          <p:nvPr>
            <p:ph type="body" sz="quarter" idx="14" hasCustomPrompt="1"/>
          </p:nvPr>
        </p:nvSpPr>
        <p:spPr>
          <a:xfrm>
            <a:off x="8943553" y="4991259"/>
            <a:ext cx="2445068" cy="715807"/>
          </a:xfrm>
        </p:spPr>
        <p:txBody>
          <a:bodyPr lIns="0" anchor="b" anchorCtr="0"/>
          <a:lstStyle>
            <a:lvl1pPr marL="73310" indent="-73310">
              <a:lnSpc>
                <a:spcPct val="80000"/>
              </a:lnSpc>
              <a:spcAft>
                <a:spcPts val="385"/>
              </a:spcAft>
              <a:buFont typeface="+mj-lt"/>
              <a:buAutoNum type="arabicParenR"/>
              <a:defRPr sz="321" b="0" i="1" cap="none" spc="0" baseline="0">
                <a:solidFill>
                  <a:schemeClr val="bg2"/>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Not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grpSp>
        <p:nvGrpSpPr>
          <p:cNvPr id="3" name="Group 2">
            <a:extLst>
              <a:ext uri="{FF2B5EF4-FFF2-40B4-BE49-F238E27FC236}">
                <a16:creationId xmlns:a16="http://schemas.microsoft.com/office/drawing/2014/main" id="{CBDD567F-EFA3-4304-9F2D-5128B34EFFF1}"/>
              </a:ext>
            </a:extLst>
          </p:cNvPr>
          <p:cNvGrpSpPr/>
          <p:nvPr userDrawn="1"/>
        </p:nvGrpSpPr>
        <p:grpSpPr>
          <a:xfrm>
            <a:off x="12341465" y="1633992"/>
            <a:ext cx="1797025" cy="2906915"/>
            <a:chOff x="12403271" y="-1"/>
            <a:chExt cx="1796791" cy="2907588"/>
          </a:xfrm>
        </p:grpSpPr>
        <p:pic>
          <p:nvPicPr>
            <p:cNvPr id="9" name="Picture 8">
              <a:extLst>
                <a:ext uri="{FF2B5EF4-FFF2-40B4-BE49-F238E27FC236}">
                  <a16:creationId xmlns:a16="http://schemas.microsoft.com/office/drawing/2014/main" id="{760E582F-46F7-4DF2-ABCB-E07E85419FF4}"/>
                </a:ext>
              </a:extLst>
            </p:cNvPr>
            <p:cNvPicPr>
              <a:picLocks noChangeAspect="1"/>
            </p:cNvPicPr>
            <p:nvPr userDrawn="1"/>
          </p:nvPicPr>
          <p:blipFill>
            <a:blip r:embed="rId2"/>
            <a:stretch>
              <a:fillRect/>
            </a:stretch>
          </p:blipFill>
          <p:spPr>
            <a:xfrm>
              <a:off x="12414617" y="1122667"/>
              <a:ext cx="1261627" cy="1565633"/>
            </a:xfrm>
            <a:prstGeom prst="rect">
              <a:avLst/>
            </a:prstGeom>
          </p:spPr>
        </p:pic>
        <p:grpSp>
          <p:nvGrpSpPr>
            <p:cNvPr id="12" name="Group 11">
              <a:extLst>
                <a:ext uri="{FF2B5EF4-FFF2-40B4-BE49-F238E27FC236}">
                  <a16:creationId xmlns:a16="http://schemas.microsoft.com/office/drawing/2014/main" id="{FA367DCD-123C-45F4-87EB-1586FA603E3A}"/>
                </a:ext>
              </a:extLst>
            </p:cNvPr>
            <p:cNvGrpSpPr/>
            <p:nvPr userDrawn="1"/>
          </p:nvGrpSpPr>
          <p:grpSpPr>
            <a:xfrm>
              <a:off x="12403271" y="-1"/>
              <a:ext cx="1796791" cy="2907588"/>
              <a:chOff x="9009867" y="1645032"/>
              <a:chExt cx="2365739" cy="3828268"/>
            </a:xfrm>
          </p:grpSpPr>
          <p:pic>
            <p:nvPicPr>
              <p:cNvPr id="15" name="Picture 14">
                <a:extLst>
                  <a:ext uri="{FF2B5EF4-FFF2-40B4-BE49-F238E27FC236}">
                    <a16:creationId xmlns:a16="http://schemas.microsoft.com/office/drawing/2014/main" id="{132FA97E-008F-4B07-B688-A7B22404D82A}"/>
                  </a:ext>
                </a:extLst>
              </p:cNvPr>
              <p:cNvPicPr>
                <a:picLocks noChangeAspect="1"/>
              </p:cNvPicPr>
              <p:nvPr/>
            </p:nvPicPr>
            <p:blipFill>
              <a:blip r:embed="rId3"/>
              <a:stretch>
                <a:fillRect/>
              </a:stretch>
            </p:blipFill>
            <p:spPr>
              <a:xfrm>
                <a:off x="9182748" y="1852126"/>
                <a:ext cx="599367" cy="280555"/>
              </a:xfrm>
              <a:prstGeom prst="rect">
                <a:avLst/>
              </a:prstGeom>
            </p:spPr>
          </p:pic>
          <p:sp>
            <p:nvSpPr>
              <p:cNvPr id="16" name="TextBox 15">
                <a:extLst>
                  <a:ext uri="{FF2B5EF4-FFF2-40B4-BE49-F238E27FC236}">
                    <a16:creationId xmlns:a16="http://schemas.microsoft.com/office/drawing/2014/main" id="{8F49FA4C-A0C7-484D-9CD0-A2B1528B3A2E}"/>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17" name="Rectangle: Rounded Corners 16">
                <a:extLst>
                  <a:ext uri="{FF2B5EF4-FFF2-40B4-BE49-F238E27FC236}">
                    <a16:creationId xmlns:a16="http://schemas.microsoft.com/office/drawing/2014/main" id="{93B8FE7B-9EF6-429C-AC7B-79E85DFB481D}"/>
                  </a:ext>
                </a:extLst>
              </p:cNvPr>
              <p:cNvSpPr/>
              <p:nvPr/>
            </p:nvSpPr>
            <p:spPr>
              <a:xfrm>
                <a:off x="9009867" y="1645032"/>
                <a:ext cx="2365739" cy="3828268"/>
              </a:xfrm>
              <a:prstGeom prst="roundRect">
                <a:avLst>
                  <a:gd name="adj" fmla="val 2970"/>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grpSp>
      <p:sp>
        <p:nvSpPr>
          <p:cNvPr id="14" name="Footer Placeholder 4">
            <a:extLst>
              <a:ext uri="{FF2B5EF4-FFF2-40B4-BE49-F238E27FC236}">
                <a16:creationId xmlns:a16="http://schemas.microsoft.com/office/drawing/2014/main" id="{67D61A51-31AF-4082-AFF9-2D4AE9DB7C87}"/>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9" name="Date_DateCustomA">
            <a:extLst>
              <a:ext uri="{FF2B5EF4-FFF2-40B4-BE49-F238E27FC236}">
                <a16:creationId xmlns:a16="http://schemas.microsoft.com/office/drawing/2014/main" id="{8BB7FA2D-0C66-4D42-8CC8-567BD958137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6E10093C-62DA-496A-9DBF-6F8D26F3BF2E}" type="datetime1">
              <a:rPr lang="en-GB" smtClean="0"/>
              <a:t>06/09/2023</a:t>
            </a:fld>
            <a:endParaRPr lang="en-GB"/>
          </a:p>
        </p:txBody>
      </p:sp>
    </p:spTree>
    <p:extLst>
      <p:ext uri="{BB962C8B-B14F-4D97-AF65-F5344CB8AC3E}">
        <p14:creationId xmlns:p14="http://schemas.microsoft.com/office/powerpoint/2010/main" val="8482924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and two fact texts">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1" name="Content Placeholder 2">
            <a:extLst>
              <a:ext uri="{FF2B5EF4-FFF2-40B4-BE49-F238E27FC236}">
                <a16:creationId xmlns:a16="http://schemas.microsoft.com/office/drawing/2014/main" id="{BB9C9E16-4544-49A4-A136-929E64BE7AAF}"/>
              </a:ext>
            </a:extLst>
          </p:cNvPr>
          <p:cNvSpPr>
            <a:spLocks noGrp="1"/>
          </p:cNvSpPr>
          <p:nvPr>
            <p:ph idx="12" hasCustomPrompt="1"/>
          </p:nvPr>
        </p:nvSpPr>
        <p:spPr>
          <a:xfrm>
            <a:off x="798618" y="1644652"/>
            <a:ext cx="4072466"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Placeholder 6">
            <a:extLst>
              <a:ext uri="{FF2B5EF4-FFF2-40B4-BE49-F238E27FC236}">
                <a16:creationId xmlns:a16="http://schemas.microsoft.com/office/drawing/2014/main" id="{559CAE46-C6D8-48BD-A372-1CDE93E9CCA9}"/>
              </a:ext>
            </a:extLst>
          </p:cNvPr>
          <p:cNvSpPr>
            <a:spLocks noGrp="1"/>
          </p:cNvSpPr>
          <p:nvPr>
            <p:ph type="body" sz="quarter" idx="13" hasCustomPrompt="1"/>
          </p:nvPr>
        </p:nvSpPr>
        <p:spPr>
          <a:xfrm>
            <a:off x="5685579" y="1644391"/>
            <a:ext cx="2443479"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8" name="Text Placeholder 6">
            <a:extLst>
              <a:ext uri="{FF2B5EF4-FFF2-40B4-BE49-F238E27FC236}">
                <a16:creationId xmlns:a16="http://schemas.microsoft.com/office/drawing/2014/main" id="{67908BB7-3AA9-46B8-9F51-F98F86B5DB18}"/>
              </a:ext>
            </a:extLst>
          </p:cNvPr>
          <p:cNvSpPr>
            <a:spLocks noGrp="1"/>
          </p:cNvSpPr>
          <p:nvPr>
            <p:ph type="body" sz="quarter" idx="14" hasCustomPrompt="1"/>
          </p:nvPr>
        </p:nvSpPr>
        <p:spPr>
          <a:xfrm>
            <a:off x="8943553" y="1644391"/>
            <a:ext cx="2445068"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grpSp>
        <p:nvGrpSpPr>
          <p:cNvPr id="16" name="Group 15">
            <a:extLst>
              <a:ext uri="{FF2B5EF4-FFF2-40B4-BE49-F238E27FC236}">
                <a16:creationId xmlns:a16="http://schemas.microsoft.com/office/drawing/2014/main" id="{F92F4B53-30AD-4697-89D7-9D962CE965E5}"/>
              </a:ext>
            </a:extLst>
          </p:cNvPr>
          <p:cNvGrpSpPr/>
          <p:nvPr userDrawn="1"/>
        </p:nvGrpSpPr>
        <p:grpSpPr>
          <a:xfrm>
            <a:off x="12341465" y="1633992"/>
            <a:ext cx="1797025" cy="2906915"/>
            <a:chOff x="12403271" y="-1"/>
            <a:chExt cx="1796791" cy="2907588"/>
          </a:xfrm>
        </p:grpSpPr>
        <p:pic>
          <p:nvPicPr>
            <p:cNvPr id="17" name="Picture 16">
              <a:extLst>
                <a:ext uri="{FF2B5EF4-FFF2-40B4-BE49-F238E27FC236}">
                  <a16:creationId xmlns:a16="http://schemas.microsoft.com/office/drawing/2014/main" id="{AF0FEF35-0958-440B-A77A-2699A83990A6}"/>
                </a:ext>
              </a:extLst>
            </p:cNvPr>
            <p:cNvPicPr>
              <a:picLocks noChangeAspect="1"/>
            </p:cNvPicPr>
            <p:nvPr userDrawn="1"/>
          </p:nvPicPr>
          <p:blipFill>
            <a:blip r:embed="rId2"/>
            <a:stretch>
              <a:fillRect/>
            </a:stretch>
          </p:blipFill>
          <p:spPr>
            <a:xfrm>
              <a:off x="12414617" y="1122667"/>
              <a:ext cx="1261627" cy="1565633"/>
            </a:xfrm>
            <a:prstGeom prst="rect">
              <a:avLst/>
            </a:prstGeom>
          </p:spPr>
        </p:pic>
        <p:grpSp>
          <p:nvGrpSpPr>
            <p:cNvPr id="18" name="Group 17">
              <a:extLst>
                <a:ext uri="{FF2B5EF4-FFF2-40B4-BE49-F238E27FC236}">
                  <a16:creationId xmlns:a16="http://schemas.microsoft.com/office/drawing/2014/main" id="{24203BB4-30A9-4057-A809-926EDEDB9F4F}"/>
                </a:ext>
              </a:extLst>
            </p:cNvPr>
            <p:cNvGrpSpPr/>
            <p:nvPr userDrawn="1"/>
          </p:nvGrpSpPr>
          <p:grpSpPr>
            <a:xfrm>
              <a:off x="12403271" y="-1"/>
              <a:ext cx="1796791" cy="2907588"/>
              <a:chOff x="9009867" y="1645032"/>
              <a:chExt cx="2365739" cy="3828268"/>
            </a:xfrm>
          </p:grpSpPr>
          <p:pic>
            <p:nvPicPr>
              <p:cNvPr id="19" name="Picture 18">
                <a:extLst>
                  <a:ext uri="{FF2B5EF4-FFF2-40B4-BE49-F238E27FC236}">
                    <a16:creationId xmlns:a16="http://schemas.microsoft.com/office/drawing/2014/main" id="{7139BD4A-714C-44AF-902B-B7BB51BF1ECF}"/>
                  </a:ext>
                </a:extLst>
              </p:cNvPr>
              <p:cNvPicPr>
                <a:picLocks noChangeAspect="1"/>
              </p:cNvPicPr>
              <p:nvPr/>
            </p:nvPicPr>
            <p:blipFill>
              <a:blip r:embed="rId3"/>
              <a:stretch>
                <a:fillRect/>
              </a:stretch>
            </p:blipFill>
            <p:spPr>
              <a:xfrm>
                <a:off x="9182748" y="1852126"/>
                <a:ext cx="599367" cy="280555"/>
              </a:xfrm>
              <a:prstGeom prst="rect">
                <a:avLst/>
              </a:prstGeom>
            </p:spPr>
          </p:pic>
          <p:sp>
            <p:nvSpPr>
              <p:cNvPr id="20" name="TextBox 19">
                <a:extLst>
                  <a:ext uri="{FF2B5EF4-FFF2-40B4-BE49-F238E27FC236}">
                    <a16:creationId xmlns:a16="http://schemas.microsoft.com/office/drawing/2014/main" id="{FBB5C133-0407-4A77-B2F7-7E365D047DE4}"/>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21" name="Rectangle: Rounded Corners 20">
                <a:extLst>
                  <a:ext uri="{FF2B5EF4-FFF2-40B4-BE49-F238E27FC236}">
                    <a16:creationId xmlns:a16="http://schemas.microsoft.com/office/drawing/2014/main" id="{1BBC228B-197B-44A3-99D0-D56237507B14}"/>
                  </a:ext>
                </a:extLst>
              </p:cNvPr>
              <p:cNvSpPr/>
              <p:nvPr/>
            </p:nvSpPr>
            <p:spPr>
              <a:xfrm>
                <a:off x="9009867" y="1645032"/>
                <a:ext cx="2365739" cy="3828268"/>
              </a:xfrm>
              <a:prstGeom prst="roundRect">
                <a:avLst>
                  <a:gd name="adj" fmla="val 2970"/>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grpSp>
      <p:sp>
        <p:nvSpPr>
          <p:cNvPr id="13" name="Footer Placeholder 4">
            <a:extLst>
              <a:ext uri="{FF2B5EF4-FFF2-40B4-BE49-F238E27FC236}">
                <a16:creationId xmlns:a16="http://schemas.microsoft.com/office/drawing/2014/main" id="{CE9B38D5-AD3D-4AE8-88F2-0F9D25BB30CD}"/>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5" name="Date_DateCustomA">
            <a:extLst>
              <a:ext uri="{FF2B5EF4-FFF2-40B4-BE49-F238E27FC236}">
                <a16:creationId xmlns:a16="http://schemas.microsoft.com/office/drawing/2014/main" id="{1AC23FC6-140A-4E04-B1F9-995F52FC873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A79F0066-3164-42E7-92E6-6ECB81B57310}" type="datetime1">
              <a:rPr lang="en-GB" smtClean="0"/>
              <a:t>06/09/2023</a:t>
            </a:fld>
            <a:endParaRPr lang="en-GB"/>
          </a:p>
        </p:txBody>
      </p:sp>
    </p:spTree>
    <p:extLst>
      <p:ext uri="{BB962C8B-B14F-4D97-AF65-F5344CB8AC3E}">
        <p14:creationId xmlns:p14="http://schemas.microsoft.com/office/powerpoint/2010/main" val="16955098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act text and content">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6868B673-9D9F-4BF4-8D81-D1B3477E6F0F}"/>
              </a:ext>
            </a:extLst>
          </p:cNvPr>
          <p:cNvGrpSpPr/>
          <p:nvPr userDrawn="1"/>
        </p:nvGrpSpPr>
        <p:grpSpPr>
          <a:xfrm>
            <a:off x="-1972350" y="1633992"/>
            <a:ext cx="1797025" cy="2906915"/>
            <a:chOff x="12339857" y="1634370"/>
            <a:chExt cx="1796791" cy="2907588"/>
          </a:xfrm>
        </p:grpSpPr>
        <p:sp>
          <p:nvSpPr>
            <p:cNvPr id="19" name="Rectangle: Rounded Corners 18">
              <a:extLst>
                <a:ext uri="{FF2B5EF4-FFF2-40B4-BE49-F238E27FC236}">
                  <a16:creationId xmlns:a16="http://schemas.microsoft.com/office/drawing/2014/main" id="{9F61C6D9-96E6-46EB-8545-E257C98220F8}"/>
                </a:ext>
              </a:extLst>
            </p:cNvPr>
            <p:cNvSpPr/>
            <p:nvPr/>
          </p:nvSpPr>
          <p:spPr>
            <a:xfrm>
              <a:off x="12339857" y="1634370"/>
              <a:ext cx="1796791" cy="2907588"/>
            </a:xfrm>
            <a:prstGeom prst="roundRect">
              <a:avLst>
                <a:gd name="adj" fmla="val 2970"/>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pic>
          <p:nvPicPr>
            <p:cNvPr id="17" name="Picture 16">
              <a:extLst>
                <a:ext uri="{FF2B5EF4-FFF2-40B4-BE49-F238E27FC236}">
                  <a16:creationId xmlns:a16="http://schemas.microsoft.com/office/drawing/2014/main" id="{23EC8C10-6A9E-4C2B-B6BA-69C39462851D}"/>
                </a:ext>
              </a:extLst>
            </p:cNvPr>
            <p:cNvPicPr>
              <a:picLocks noChangeAspect="1"/>
            </p:cNvPicPr>
            <p:nvPr/>
          </p:nvPicPr>
          <p:blipFill>
            <a:blip r:embed="rId2"/>
            <a:stretch>
              <a:fillRect/>
            </a:stretch>
          </p:blipFill>
          <p:spPr>
            <a:xfrm>
              <a:off x="12471161" y="1791659"/>
              <a:ext cx="455222" cy="213083"/>
            </a:xfrm>
            <a:prstGeom prst="rect">
              <a:avLst/>
            </a:prstGeom>
          </p:spPr>
        </p:pic>
        <p:sp>
          <p:nvSpPr>
            <p:cNvPr id="18" name="TextBox 17">
              <a:extLst>
                <a:ext uri="{FF2B5EF4-FFF2-40B4-BE49-F238E27FC236}">
                  <a16:creationId xmlns:a16="http://schemas.microsoft.com/office/drawing/2014/main" id="{BF580C90-4416-41DC-ADAC-F1014BB16E65}"/>
                </a:ext>
              </a:extLst>
            </p:cNvPr>
            <p:cNvSpPr txBox="1"/>
            <p:nvPr/>
          </p:nvSpPr>
          <p:spPr bwMode="auto">
            <a:xfrm>
              <a:off x="12483714" y="2086228"/>
              <a:ext cx="1433633" cy="10351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pic>
          <p:nvPicPr>
            <p:cNvPr id="15" name="Picture 14">
              <a:extLst>
                <a:ext uri="{FF2B5EF4-FFF2-40B4-BE49-F238E27FC236}">
                  <a16:creationId xmlns:a16="http://schemas.microsoft.com/office/drawing/2014/main" id="{22C7FA45-BEB8-4FA0-89DA-4AF47CEA9ACF}"/>
                </a:ext>
              </a:extLst>
            </p:cNvPr>
            <p:cNvPicPr>
              <a:picLocks noChangeAspect="1"/>
            </p:cNvPicPr>
            <p:nvPr userDrawn="1"/>
          </p:nvPicPr>
          <p:blipFill>
            <a:blip r:embed="rId3"/>
            <a:stretch>
              <a:fillRect/>
            </a:stretch>
          </p:blipFill>
          <p:spPr>
            <a:xfrm>
              <a:off x="12351204" y="2757038"/>
              <a:ext cx="1261627" cy="1565633"/>
            </a:xfrm>
            <a:prstGeom prst="rect">
              <a:avLst/>
            </a:prstGeom>
          </p:spPr>
        </p:pic>
      </p:grpSp>
      <p:grpSp>
        <p:nvGrpSpPr>
          <p:cNvPr id="21" name="Group 20">
            <a:extLst>
              <a:ext uri="{FF2B5EF4-FFF2-40B4-BE49-F238E27FC236}">
                <a16:creationId xmlns:a16="http://schemas.microsoft.com/office/drawing/2014/main" id="{21327CDE-D280-433E-A1DD-9B88BC9A9D74}"/>
              </a:ext>
            </a:extLst>
          </p:cNvPr>
          <p:cNvGrpSpPr/>
          <p:nvPr userDrawn="1"/>
        </p:nvGrpSpPr>
        <p:grpSpPr>
          <a:xfrm>
            <a:off x="12341465" y="1633992"/>
            <a:ext cx="1797025" cy="2906915"/>
            <a:chOff x="-1899137" y="-1"/>
            <a:chExt cx="1796791" cy="2907588"/>
          </a:xfrm>
        </p:grpSpPr>
        <p:grpSp>
          <p:nvGrpSpPr>
            <p:cNvPr id="22" name="Group 21">
              <a:extLst>
                <a:ext uri="{FF2B5EF4-FFF2-40B4-BE49-F238E27FC236}">
                  <a16:creationId xmlns:a16="http://schemas.microsoft.com/office/drawing/2014/main" id="{4AE14B58-12EA-4B20-8931-337F0DC7BE74}"/>
                </a:ext>
              </a:extLst>
            </p:cNvPr>
            <p:cNvGrpSpPr/>
            <p:nvPr userDrawn="1"/>
          </p:nvGrpSpPr>
          <p:grpSpPr>
            <a:xfrm>
              <a:off x="-1899137" y="-1"/>
              <a:ext cx="1796791" cy="2907588"/>
              <a:chOff x="9009867" y="1645032"/>
              <a:chExt cx="2365739" cy="3828268"/>
            </a:xfrm>
          </p:grpSpPr>
          <p:pic>
            <p:nvPicPr>
              <p:cNvPr id="24" name="Picture 23">
                <a:extLst>
                  <a:ext uri="{FF2B5EF4-FFF2-40B4-BE49-F238E27FC236}">
                    <a16:creationId xmlns:a16="http://schemas.microsoft.com/office/drawing/2014/main" id="{E1E15413-4664-4681-9444-310804612302}"/>
                  </a:ext>
                </a:extLst>
              </p:cNvPr>
              <p:cNvPicPr>
                <a:picLocks noChangeAspect="1"/>
              </p:cNvPicPr>
              <p:nvPr/>
            </p:nvPicPr>
            <p:blipFill>
              <a:blip r:embed="rId2"/>
              <a:stretch>
                <a:fillRect/>
              </a:stretch>
            </p:blipFill>
            <p:spPr>
              <a:xfrm>
                <a:off x="9182748" y="1852126"/>
                <a:ext cx="599367" cy="280555"/>
              </a:xfrm>
              <a:prstGeom prst="rect">
                <a:avLst/>
              </a:prstGeom>
            </p:spPr>
          </p:pic>
          <p:sp>
            <p:nvSpPr>
              <p:cNvPr id="25" name="TextBox 24">
                <a:extLst>
                  <a:ext uri="{FF2B5EF4-FFF2-40B4-BE49-F238E27FC236}">
                    <a16:creationId xmlns:a16="http://schemas.microsoft.com/office/drawing/2014/main" id="{D2D38E9D-D309-4835-BB4A-24E940357F1D}"/>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26" name="Rectangle: Rounded Corners 25">
                <a:extLst>
                  <a:ext uri="{FF2B5EF4-FFF2-40B4-BE49-F238E27FC236}">
                    <a16:creationId xmlns:a16="http://schemas.microsoft.com/office/drawing/2014/main" id="{3408A5E0-BE3B-4CF6-B031-C7BDEAE8EF42}"/>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pic>
          <p:nvPicPr>
            <p:cNvPr id="23" name="Picture 22">
              <a:extLst>
                <a:ext uri="{FF2B5EF4-FFF2-40B4-BE49-F238E27FC236}">
                  <a16:creationId xmlns:a16="http://schemas.microsoft.com/office/drawing/2014/main" id="{74467B95-2571-401A-B1E8-0E4825008764}"/>
                </a:ext>
              </a:extLst>
            </p:cNvPr>
            <p:cNvPicPr>
              <a:picLocks noChangeAspect="1"/>
            </p:cNvPicPr>
            <p:nvPr userDrawn="1"/>
          </p:nvPicPr>
          <p:blipFill>
            <a:blip r:embed="rId4"/>
            <a:stretch>
              <a:fillRect/>
            </a:stretch>
          </p:blipFill>
          <p:spPr>
            <a:xfrm>
              <a:off x="-1884053" y="1200637"/>
              <a:ext cx="1418614" cy="1444137"/>
            </a:xfrm>
            <a:prstGeom prst="rect">
              <a:avLst/>
            </a:prstGeom>
          </p:spPr>
        </p:pic>
      </p:grpSp>
      <p:sp>
        <p:nvSpPr>
          <p:cNvPr id="4" name="Title 1"/>
          <p:cNvSpPr>
            <a:spLocks noGrp="1"/>
          </p:cNvSpPr>
          <p:nvPr>
            <p:ph type="title"/>
          </p:nvPr>
        </p:nvSpPr>
        <p:spPr>
          <a:xfrm>
            <a:off x="798617" y="453496"/>
            <a:ext cx="10590003" cy="748626"/>
          </a:xfrm>
        </p:spPr>
        <p:txBody>
          <a:bodyPr/>
          <a:lstStyle/>
          <a:p>
            <a:r>
              <a:rPr lang="en-US"/>
              <a:t>Click to edit Master title style</a:t>
            </a:r>
            <a:endParaRPr lang="en-GB"/>
          </a:p>
        </p:txBody>
      </p:sp>
      <p:sp>
        <p:nvSpPr>
          <p:cNvPr id="3" name="Content Placeholder 2"/>
          <p:cNvSpPr>
            <a:spLocks noGrp="1"/>
          </p:cNvSpPr>
          <p:nvPr>
            <p:ph idx="1" hasCustomPrompt="1"/>
          </p:nvPr>
        </p:nvSpPr>
        <p:spPr>
          <a:xfrm>
            <a:off x="4056592" y="1644652"/>
            <a:ext cx="7332028"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Text Placeholder 6">
            <a:extLst>
              <a:ext uri="{FF2B5EF4-FFF2-40B4-BE49-F238E27FC236}">
                <a16:creationId xmlns:a16="http://schemas.microsoft.com/office/drawing/2014/main" id="{344D76E6-1904-4038-80C4-8BC46CEBB703}"/>
              </a:ext>
            </a:extLst>
          </p:cNvPr>
          <p:cNvSpPr>
            <a:spLocks noGrp="1"/>
          </p:cNvSpPr>
          <p:nvPr>
            <p:ph type="body" sz="quarter" idx="15" hasCustomPrompt="1"/>
          </p:nvPr>
        </p:nvSpPr>
        <p:spPr>
          <a:xfrm>
            <a:off x="798619" y="1644391"/>
            <a:ext cx="2443480"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0" name="Text Placeholder 6">
            <a:extLst>
              <a:ext uri="{FF2B5EF4-FFF2-40B4-BE49-F238E27FC236}">
                <a16:creationId xmlns:a16="http://schemas.microsoft.com/office/drawing/2014/main" id="{6CAB1BFF-44E8-48FF-AF80-4144B6650AAE}"/>
              </a:ext>
            </a:extLst>
          </p:cNvPr>
          <p:cNvSpPr>
            <a:spLocks noGrp="1"/>
          </p:cNvSpPr>
          <p:nvPr>
            <p:ph type="body" sz="quarter" idx="14" hasCustomPrompt="1"/>
          </p:nvPr>
        </p:nvSpPr>
        <p:spPr>
          <a:xfrm>
            <a:off x="798619" y="4991259"/>
            <a:ext cx="2443479" cy="715807"/>
          </a:xfrm>
        </p:spPr>
        <p:txBody>
          <a:bodyPr lIns="0" anchor="b" anchorCtr="0"/>
          <a:lstStyle>
            <a:lvl1pPr marL="73310" indent="-73310">
              <a:lnSpc>
                <a:spcPct val="80000"/>
              </a:lnSpc>
              <a:spcAft>
                <a:spcPts val="385"/>
              </a:spcAft>
              <a:buFont typeface="+mj-lt"/>
              <a:buAutoNum type="arabicParenR"/>
              <a:defRPr sz="321" b="0" i="1" cap="none" spc="0" baseline="0">
                <a:solidFill>
                  <a:schemeClr val="bg2"/>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Not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27" name="Footer Placeholder 4">
            <a:extLst>
              <a:ext uri="{FF2B5EF4-FFF2-40B4-BE49-F238E27FC236}">
                <a16:creationId xmlns:a16="http://schemas.microsoft.com/office/drawing/2014/main" id="{BB98BEF1-8B24-44DD-B00E-B069E4D5CA5D}"/>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29" name="Date_DateCustomA">
            <a:extLst>
              <a:ext uri="{FF2B5EF4-FFF2-40B4-BE49-F238E27FC236}">
                <a16:creationId xmlns:a16="http://schemas.microsoft.com/office/drawing/2014/main" id="{5AF2CA37-37E6-4F35-A8D3-13E15E8256C8}"/>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E8FCDCF-FAAC-48D8-97CE-71AEDA9EFE29}" type="datetime1">
              <a:rPr lang="en-GB" smtClean="0"/>
              <a:t>06/09/2023</a:t>
            </a:fld>
            <a:endParaRPr lang="en-GB"/>
          </a:p>
        </p:txBody>
      </p:sp>
    </p:spTree>
    <p:extLst>
      <p:ext uri="{BB962C8B-B14F-4D97-AF65-F5344CB8AC3E}">
        <p14:creationId xmlns:p14="http://schemas.microsoft.com/office/powerpoint/2010/main" val="144707282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 and image (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6556C8-A731-4240-9800-194A4F70A1D8}"/>
              </a:ext>
            </a:extLst>
          </p:cNvPr>
          <p:cNvSpPr>
            <a:spLocks noGrp="1"/>
          </p:cNvSpPr>
          <p:nvPr>
            <p:ph type="title"/>
          </p:nvPr>
        </p:nvSpPr>
        <p:spPr>
          <a:xfrm>
            <a:off x="798618" y="452439"/>
            <a:ext cx="4072466" cy="748626"/>
          </a:xfrm>
        </p:spPr>
        <p:txBody>
          <a:bodyPr/>
          <a:lstStyle/>
          <a:p>
            <a:r>
              <a:rPr lang="en-US"/>
              <a:t>Click to edit Master title style</a:t>
            </a:r>
            <a:endParaRPr lang="en-GB"/>
          </a:p>
        </p:txBody>
      </p:sp>
      <p:sp>
        <p:nvSpPr>
          <p:cNvPr id="7" name="Content Placeholder 2">
            <a:extLst>
              <a:ext uri="{FF2B5EF4-FFF2-40B4-BE49-F238E27FC236}">
                <a16:creationId xmlns:a16="http://schemas.microsoft.com/office/drawing/2014/main" id="{F530FD33-AB9C-4A88-9BBB-1E385B91358C}"/>
              </a:ext>
            </a:extLst>
          </p:cNvPr>
          <p:cNvSpPr>
            <a:spLocks noGrp="1"/>
          </p:cNvSpPr>
          <p:nvPr>
            <p:ph idx="17" hasCustomPrompt="1"/>
          </p:nvPr>
        </p:nvSpPr>
        <p:spPr>
          <a:xfrm>
            <a:off x="798618" y="1644652"/>
            <a:ext cx="4072467"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6" name="Text Placeholder 6">
            <a:extLst>
              <a:ext uri="{FF2B5EF4-FFF2-40B4-BE49-F238E27FC236}">
                <a16:creationId xmlns:a16="http://schemas.microsoft.com/office/drawing/2014/main" id="{9C52035C-C8B1-4C44-976C-626BFFA7790E}"/>
              </a:ext>
            </a:extLst>
          </p:cNvPr>
          <p:cNvSpPr>
            <a:spLocks noGrp="1"/>
          </p:cNvSpPr>
          <p:nvPr>
            <p:ph type="body" sz="quarter" idx="14" hasCustomPrompt="1"/>
          </p:nvPr>
        </p:nvSpPr>
        <p:spPr>
          <a:xfrm>
            <a:off x="5685579" y="5388899"/>
            <a:ext cx="570304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5579" y="536905"/>
            <a:ext cx="5703042" cy="4851994"/>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8" name="Footer Placeholder 4">
            <a:extLst>
              <a:ext uri="{FF2B5EF4-FFF2-40B4-BE49-F238E27FC236}">
                <a16:creationId xmlns:a16="http://schemas.microsoft.com/office/drawing/2014/main" id="{49DC368E-8BDB-41BB-B406-A3B0A25665D3}"/>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1" name="Date_DateCustomA">
            <a:extLst>
              <a:ext uri="{FF2B5EF4-FFF2-40B4-BE49-F238E27FC236}">
                <a16:creationId xmlns:a16="http://schemas.microsoft.com/office/drawing/2014/main" id="{6531AD21-BE76-4592-909B-A3B963868059}"/>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7E088B74-D5F8-4D6D-B466-6D0723103653}" type="datetime1">
              <a:rPr lang="en-GB" smtClean="0"/>
              <a:t>06/09/2023</a:t>
            </a:fld>
            <a:endParaRPr lang="en-GB"/>
          </a:p>
        </p:txBody>
      </p:sp>
    </p:spTree>
    <p:extLst>
      <p:ext uri="{BB962C8B-B14F-4D97-AF65-F5344CB8AC3E}">
        <p14:creationId xmlns:p14="http://schemas.microsoft.com/office/powerpoint/2010/main" val="404079408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xt and image (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2CDE71F-8FC2-4DE4-9423-EE57143478CB}"/>
              </a:ext>
            </a:extLst>
          </p:cNvPr>
          <p:cNvSpPr>
            <a:spLocks noGrp="1"/>
          </p:cNvSpPr>
          <p:nvPr>
            <p:ph type="title"/>
          </p:nvPr>
        </p:nvSpPr>
        <p:spPr>
          <a:xfrm>
            <a:off x="798617" y="452439"/>
            <a:ext cx="2443480" cy="748626"/>
          </a:xfrm>
        </p:spPr>
        <p:txBody>
          <a:bodyPr/>
          <a:lstStyle/>
          <a:p>
            <a:r>
              <a:rPr lang="en-US"/>
              <a:t>Click to edit Master title style</a:t>
            </a:r>
            <a:endParaRPr lang="en-GB"/>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hasCustomPrompt="1"/>
          </p:nvPr>
        </p:nvSpPr>
        <p:spPr>
          <a:xfrm>
            <a:off x="798619" y="1644653"/>
            <a:ext cx="2443480" cy="4061090"/>
          </a:xfrm>
        </p:spPr>
        <p:txBody>
          <a:bodyPr/>
          <a:lstStyle>
            <a:lvl4pPr>
              <a:defRPr sz="449"/>
            </a:lvl4pPr>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Text Placeholder 6">
            <a:extLst>
              <a:ext uri="{FF2B5EF4-FFF2-40B4-BE49-F238E27FC236}">
                <a16:creationId xmlns:a16="http://schemas.microsoft.com/office/drawing/2014/main" id="{9159BA8D-3D13-45A1-A0BE-92A0162F204C}"/>
              </a:ext>
            </a:extLst>
          </p:cNvPr>
          <p:cNvSpPr>
            <a:spLocks noGrp="1"/>
          </p:cNvSpPr>
          <p:nvPr>
            <p:ph type="body" sz="quarter" idx="14" hasCustomPrompt="1"/>
          </p:nvPr>
        </p:nvSpPr>
        <p:spPr>
          <a:xfrm>
            <a:off x="4056592" y="5388899"/>
            <a:ext cx="7332029"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4056592" y="536905"/>
            <a:ext cx="7332029" cy="4851994"/>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7" name="Footer Placeholder 4">
            <a:extLst>
              <a:ext uri="{FF2B5EF4-FFF2-40B4-BE49-F238E27FC236}">
                <a16:creationId xmlns:a16="http://schemas.microsoft.com/office/drawing/2014/main" id="{E7D9B79D-FD5C-45BD-97EA-6B24E7C00453}"/>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11E666E0-9E5A-4A77-8B2D-91C35C22746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2EEB1991-01A7-4A1C-9C66-872C05E5583D}" type="datetime1">
              <a:rPr lang="en-GB" smtClean="0"/>
              <a:t>06/09/2023</a:t>
            </a:fld>
            <a:endParaRPr lang="en-GB"/>
          </a:p>
        </p:txBody>
      </p:sp>
    </p:spTree>
    <p:extLst>
      <p:ext uri="{BB962C8B-B14F-4D97-AF65-F5344CB8AC3E}">
        <p14:creationId xmlns:p14="http://schemas.microsoft.com/office/powerpoint/2010/main" val="1730012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F411269-BEE2-492E-A6F4-24EC4E0745B3}"/>
              </a:ext>
            </a:extLst>
          </p:cNvPr>
          <p:cNvGraphicFramePr>
            <a:graphicFrameLocks noChangeAspect="1"/>
          </p:cNvGraphicFramePr>
          <p:nvPr userDrawn="1">
            <p:custDataLst>
              <p:tags r:id="rId1"/>
            </p:custDataLst>
            <p:extLst>
              <p:ext uri="{D42A27DB-BD31-4B8C-83A1-F6EECF244321}">
                <p14:modId xmlns:p14="http://schemas.microsoft.com/office/powerpoint/2010/main" val="4142377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F411269-BEE2-492E-A6F4-24EC4E074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CE630481-804D-4542-835F-93D05E69FE5F}" type="datetime1">
              <a:rPr lang="da-DK" smtClean="0"/>
              <a:pPr/>
              <a:t>06-09-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234044073"/>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and image (C)">
    <p:spTree>
      <p:nvGrpSpPr>
        <p:cNvPr id="1" name=""/>
        <p:cNvGrpSpPr/>
        <p:nvPr/>
      </p:nvGrpSpPr>
      <p:grpSpPr>
        <a:xfrm>
          <a:off x="0" y="0"/>
          <a:ext cx="0" cy="0"/>
          <a:chOff x="0" y="0"/>
          <a:chExt cx="0" cy="0"/>
        </a:xfrm>
      </p:grpSpPr>
      <p:sp>
        <p:nvSpPr>
          <p:cNvPr id="4" name="Title 1"/>
          <p:cNvSpPr>
            <a:spLocks noGrp="1"/>
          </p:cNvSpPr>
          <p:nvPr>
            <p:ph type="title"/>
          </p:nvPr>
        </p:nvSpPr>
        <p:spPr>
          <a:xfrm>
            <a:off x="798618" y="452439"/>
            <a:ext cx="10590003" cy="748626"/>
          </a:xfrm>
        </p:spPr>
        <p:txBody>
          <a:bodyPr/>
          <a:lstStyle/>
          <a:p>
            <a:r>
              <a:rPr lang="en-US"/>
              <a:t>Click to edit Master title style</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5579" y="1644652"/>
            <a:ext cx="5703042" cy="3744247"/>
          </a:xfrm>
          <a:solidFill>
            <a:srgbClr val="F6F6F4"/>
          </a:solidFill>
        </p:spPr>
        <p:txBody>
          <a:bodyPr tIns="0" anchor="t" anchorCtr="0"/>
          <a:lstStyle>
            <a:lvl1pPr>
              <a:buNone/>
              <a:defRPr/>
            </a:lvl1pPr>
          </a:lstStyle>
          <a:p>
            <a:r>
              <a:rPr lang="en-GB" noProof="0"/>
              <a:t>Mark placeholder to insert image</a:t>
            </a:r>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hasCustomPrompt="1"/>
          </p:nvPr>
        </p:nvSpPr>
        <p:spPr>
          <a:xfrm>
            <a:off x="798618" y="1644652"/>
            <a:ext cx="4072467" cy="4062413"/>
          </a:xfrm>
        </p:spPr>
        <p:txBody>
          <a:bodyPr/>
          <a:lstStyle>
            <a:lvl4pPr>
              <a:defRPr sz="449"/>
            </a:lvl4pPr>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6">
            <a:extLst>
              <a:ext uri="{FF2B5EF4-FFF2-40B4-BE49-F238E27FC236}">
                <a16:creationId xmlns:a16="http://schemas.microsoft.com/office/drawing/2014/main" id="{385A6CB6-503A-43E4-95E9-49CCA6BE0AA8}"/>
              </a:ext>
            </a:extLst>
          </p:cNvPr>
          <p:cNvSpPr>
            <a:spLocks noGrp="1"/>
          </p:cNvSpPr>
          <p:nvPr>
            <p:ph type="body" sz="quarter" idx="14" hasCustomPrompt="1"/>
          </p:nvPr>
        </p:nvSpPr>
        <p:spPr>
          <a:xfrm>
            <a:off x="5685579" y="5388899"/>
            <a:ext cx="570304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7" name="Footer Placeholder 4">
            <a:extLst>
              <a:ext uri="{FF2B5EF4-FFF2-40B4-BE49-F238E27FC236}">
                <a16:creationId xmlns:a16="http://schemas.microsoft.com/office/drawing/2014/main" id="{5BE177DB-3D97-4178-B41E-C5E88E6EF6FE}"/>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1" name="Date_DateCustomA">
            <a:extLst>
              <a:ext uri="{FF2B5EF4-FFF2-40B4-BE49-F238E27FC236}">
                <a16:creationId xmlns:a16="http://schemas.microsoft.com/office/drawing/2014/main" id="{A29EE775-E260-4614-9C8B-28623B33C6B7}"/>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310C8F63-746D-49AA-89DD-F720C3C3E8E3}" type="datetime1">
              <a:rPr lang="en-GB" smtClean="0"/>
              <a:t>06/09/2023</a:t>
            </a:fld>
            <a:endParaRPr lang="en-GB"/>
          </a:p>
        </p:txBody>
      </p:sp>
    </p:spTree>
    <p:extLst>
      <p:ext uri="{BB962C8B-B14F-4D97-AF65-F5344CB8AC3E}">
        <p14:creationId xmlns:p14="http://schemas.microsoft.com/office/powerpoint/2010/main" val="273904435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9" y="1644652"/>
            <a:ext cx="2443480" cy="3744247"/>
          </a:xfrm>
          <a:solidFill>
            <a:srgbClr val="F6F6F4"/>
          </a:solidFill>
        </p:spPr>
        <p:txBody>
          <a:bodyPr tIns="0" anchor="t" anchorCtr="0"/>
          <a:lstStyle>
            <a:lvl1pPr marL="0" indent="0">
              <a:buNone/>
              <a:defRPr/>
            </a:lvl1pPr>
          </a:lstStyle>
          <a:p>
            <a:r>
              <a:rPr lang="en-GB" noProof="0"/>
              <a:t>Mark placeholder to insert image</a:t>
            </a:r>
          </a:p>
        </p:txBody>
      </p:sp>
      <p:sp>
        <p:nvSpPr>
          <p:cNvPr id="3" name="Title 2">
            <a:extLst>
              <a:ext uri="{FF2B5EF4-FFF2-40B4-BE49-F238E27FC236}">
                <a16:creationId xmlns:a16="http://schemas.microsoft.com/office/drawing/2014/main" id="{D10A7420-B42B-4A1E-801C-58F73E98E720}"/>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6" name="Content Placeholder 2">
            <a:extLst>
              <a:ext uri="{FF2B5EF4-FFF2-40B4-BE49-F238E27FC236}">
                <a16:creationId xmlns:a16="http://schemas.microsoft.com/office/drawing/2014/main" id="{EE94D7C6-6298-49CF-9E54-6442A65BE7EB}"/>
              </a:ext>
            </a:extLst>
          </p:cNvPr>
          <p:cNvSpPr>
            <a:spLocks noGrp="1"/>
          </p:cNvSpPr>
          <p:nvPr>
            <p:ph idx="1" hasCustomPrompt="1"/>
          </p:nvPr>
        </p:nvSpPr>
        <p:spPr>
          <a:xfrm>
            <a:off x="4056592" y="1644652"/>
            <a:ext cx="7332029"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6">
            <a:extLst>
              <a:ext uri="{FF2B5EF4-FFF2-40B4-BE49-F238E27FC236}">
                <a16:creationId xmlns:a16="http://schemas.microsoft.com/office/drawing/2014/main" id="{36C9629C-CF41-41C8-B234-06D2B62B588B}"/>
              </a:ext>
            </a:extLst>
          </p:cNvPr>
          <p:cNvSpPr>
            <a:spLocks noGrp="1"/>
          </p:cNvSpPr>
          <p:nvPr>
            <p:ph type="body" sz="quarter" idx="14" hasCustomPrompt="1"/>
          </p:nvPr>
        </p:nvSpPr>
        <p:spPr>
          <a:xfrm>
            <a:off x="797029" y="5388899"/>
            <a:ext cx="2445068"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7" name="Footer Placeholder 4">
            <a:extLst>
              <a:ext uri="{FF2B5EF4-FFF2-40B4-BE49-F238E27FC236}">
                <a16:creationId xmlns:a16="http://schemas.microsoft.com/office/drawing/2014/main" id="{F72ED723-2034-4873-8F5F-84CD3DF067D2}"/>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1" name="Date_DateCustomA">
            <a:extLst>
              <a:ext uri="{FF2B5EF4-FFF2-40B4-BE49-F238E27FC236}">
                <a16:creationId xmlns:a16="http://schemas.microsoft.com/office/drawing/2014/main" id="{70AABF26-1E97-4163-9AEB-8A08056A2CF2}"/>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07D9B8B2-2B26-4659-AFD3-8F852FE9A4D5}" type="datetime1">
              <a:rPr lang="en-GB" smtClean="0"/>
              <a:t>06/09/2023</a:t>
            </a:fld>
            <a:endParaRPr lang="en-GB"/>
          </a:p>
        </p:txBody>
      </p:sp>
    </p:spTree>
    <p:extLst>
      <p:ext uri="{BB962C8B-B14F-4D97-AF65-F5344CB8AC3E}">
        <p14:creationId xmlns:p14="http://schemas.microsoft.com/office/powerpoint/2010/main" val="231841478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One imag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7" y="536906"/>
            <a:ext cx="10590003" cy="4851993"/>
          </a:xfrm>
          <a:solidFill>
            <a:srgbClr val="F6F6F4"/>
          </a:solidFill>
        </p:spPr>
        <p:txBody>
          <a:bodyPr tIns="0" anchor="t" anchorCtr="0"/>
          <a:lstStyle>
            <a:lvl1pPr>
              <a:buNone/>
              <a:defRPr/>
            </a:lvl1pPr>
          </a:lstStyle>
          <a:p>
            <a:r>
              <a:rPr lang="en-GB" noProof="0"/>
              <a:t>Mark placeholder to insert image</a:t>
            </a:r>
          </a:p>
        </p:txBody>
      </p:sp>
      <p:sp>
        <p:nvSpPr>
          <p:cNvPr id="4" name="Title 1"/>
          <p:cNvSpPr>
            <a:spLocks noGrp="1"/>
          </p:cNvSpPr>
          <p:nvPr>
            <p:ph type="title"/>
          </p:nvPr>
        </p:nvSpPr>
        <p:spPr>
          <a:xfrm>
            <a:off x="1613111" y="906489"/>
            <a:ext cx="3257974" cy="2157549"/>
          </a:xfrm>
        </p:spPr>
        <p:txBody>
          <a:bodyPr/>
          <a:lstStyle/>
          <a:p>
            <a:r>
              <a:rPr lang="en-US"/>
              <a:t>Click to edit Master title style</a:t>
            </a:r>
            <a:endParaRPr lang="en-GB"/>
          </a:p>
        </p:txBody>
      </p:sp>
      <p:sp>
        <p:nvSpPr>
          <p:cNvPr id="6" name="Text Placeholder 6">
            <a:extLst>
              <a:ext uri="{FF2B5EF4-FFF2-40B4-BE49-F238E27FC236}">
                <a16:creationId xmlns:a16="http://schemas.microsoft.com/office/drawing/2014/main" id="{9159BA8D-3D13-45A1-A0BE-92A0162F204C}"/>
              </a:ext>
            </a:extLst>
          </p:cNvPr>
          <p:cNvSpPr>
            <a:spLocks noGrp="1"/>
          </p:cNvSpPr>
          <p:nvPr>
            <p:ph type="body" sz="quarter" idx="14" hasCustomPrompt="1"/>
          </p:nvPr>
        </p:nvSpPr>
        <p:spPr>
          <a:xfrm>
            <a:off x="797030" y="5388899"/>
            <a:ext cx="1059159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7" name="Footer Placeholder 4">
            <a:extLst>
              <a:ext uri="{FF2B5EF4-FFF2-40B4-BE49-F238E27FC236}">
                <a16:creationId xmlns:a16="http://schemas.microsoft.com/office/drawing/2014/main" id="{040854D9-4A7F-43DD-ADEE-729ECE38A71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13B009AD-71AF-4311-AB8D-836DCA3740C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A2D02C2F-C8D1-4CA6-BC85-74B401D907FB}" type="datetime1">
              <a:rPr lang="en-GB" smtClean="0"/>
              <a:t>06/09/2023</a:t>
            </a:fld>
            <a:endParaRPr lang="en-GB"/>
          </a:p>
        </p:txBody>
      </p:sp>
    </p:spTree>
    <p:extLst>
      <p:ext uri="{BB962C8B-B14F-4D97-AF65-F5344CB8AC3E}">
        <p14:creationId xmlns:p14="http://schemas.microsoft.com/office/powerpoint/2010/main" val="26258483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images (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A48E567-47F5-4B08-99D6-069385ECECE3}"/>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1" name="Text Placeholder 3">
            <a:extLst>
              <a:ext uri="{FF2B5EF4-FFF2-40B4-BE49-F238E27FC236}">
                <a16:creationId xmlns:a16="http://schemas.microsoft.com/office/drawing/2014/main" id="{E3950CBF-72E1-4385-99DA-211C9A719C86}"/>
              </a:ext>
            </a:extLst>
          </p:cNvPr>
          <p:cNvSpPr>
            <a:spLocks noGrp="1"/>
          </p:cNvSpPr>
          <p:nvPr>
            <p:ph type="body" sz="quarter" idx="18" hasCustomPrompt="1"/>
          </p:nvPr>
        </p:nvSpPr>
        <p:spPr>
          <a:xfrm>
            <a:off x="797030" y="5387834"/>
            <a:ext cx="4074055"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5" name="Text Placeholder 4">
            <a:extLst>
              <a:ext uri="{FF2B5EF4-FFF2-40B4-BE49-F238E27FC236}">
                <a16:creationId xmlns:a16="http://schemas.microsoft.com/office/drawing/2014/main" id="{45D561B5-A7F3-463C-BD8C-C2813F3D379D}"/>
              </a:ext>
            </a:extLst>
          </p:cNvPr>
          <p:cNvSpPr>
            <a:spLocks noGrp="1"/>
          </p:cNvSpPr>
          <p:nvPr>
            <p:ph type="body" sz="quarter" idx="19" hasCustomPrompt="1"/>
          </p:nvPr>
        </p:nvSpPr>
        <p:spPr>
          <a:xfrm>
            <a:off x="5685579" y="5387836"/>
            <a:ext cx="5703042" cy="317907"/>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798618" y="1644653"/>
            <a:ext cx="4072467" cy="3743181"/>
          </a:xfrm>
          <a:solidFill>
            <a:srgbClr val="F6F6F4"/>
          </a:solidFill>
        </p:spPr>
        <p:txBody>
          <a:bodyPr tIns="0" anchor="t" anchorCtr="0"/>
          <a:lstStyle>
            <a:lvl1pPr>
              <a:buNone/>
              <a:defRPr/>
            </a:lvl1pPr>
          </a:lstStyle>
          <a:p>
            <a:r>
              <a:rPr lang="en-GB" noProof="0"/>
              <a:t>Mark placeholder to insert image</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5579" y="1644652"/>
            <a:ext cx="5703042" cy="3744247"/>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8" name="Footer Placeholder 4">
            <a:extLst>
              <a:ext uri="{FF2B5EF4-FFF2-40B4-BE49-F238E27FC236}">
                <a16:creationId xmlns:a16="http://schemas.microsoft.com/office/drawing/2014/main" id="{C5F701B6-51A4-429E-BAE7-303D346C10A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2" name="Date_DateCustomA">
            <a:extLst>
              <a:ext uri="{FF2B5EF4-FFF2-40B4-BE49-F238E27FC236}">
                <a16:creationId xmlns:a16="http://schemas.microsoft.com/office/drawing/2014/main" id="{AF6FCEB8-934A-4A77-A838-C33FC03CC5FA}"/>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9317641B-8A6E-4000-8D18-8C26E74C5E0D}" type="datetime1">
              <a:rPr lang="en-GB" smtClean="0"/>
              <a:t>06/09/2023</a:t>
            </a:fld>
            <a:endParaRPr lang="en-GB"/>
          </a:p>
        </p:txBody>
      </p:sp>
    </p:spTree>
    <p:extLst>
      <p:ext uri="{BB962C8B-B14F-4D97-AF65-F5344CB8AC3E}">
        <p14:creationId xmlns:p14="http://schemas.microsoft.com/office/powerpoint/2010/main" val="240273826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images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8144935" cy="3744247"/>
          </a:xfrm>
          <a:solidFill>
            <a:srgbClr val="F6F6F4"/>
          </a:solidFill>
        </p:spPr>
        <p:txBody>
          <a:bodyPr tIns="0" anchor="t" anchorCtr="0"/>
          <a:lstStyle>
            <a:lvl1pPr>
              <a:buNone/>
              <a:defRPr/>
            </a:lvl1pPr>
          </a:lstStyle>
          <a:p>
            <a:r>
              <a:rPr lang="en-GB" noProof="0"/>
              <a:t>Mark placeholder to insert image</a:t>
            </a:r>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8" y="5387836"/>
            <a:ext cx="8144935"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2" name="Picture Placeholder 3">
            <a:extLst>
              <a:ext uri="{FF2B5EF4-FFF2-40B4-BE49-F238E27FC236}">
                <a16:creationId xmlns:a16="http://schemas.microsoft.com/office/drawing/2014/main" id="{89424118-58CD-42CA-86D2-8D172442E460}"/>
              </a:ext>
            </a:extLst>
          </p:cNvPr>
          <p:cNvSpPr>
            <a:spLocks noGrp="1"/>
          </p:cNvSpPr>
          <p:nvPr>
            <p:ph type="pic" sz="quarter" idx="17" hasCustomPrompt="1"/>
          </p:nvPr>
        </p:nvSpPr>
        <p:spPr>
          <a:xfrm>
            <a:off x="9758046" y="1644652"/>
            <a:ext cx="1630575" cy="3744248"/>
          </a:xfrm>
          <a:solidFill>
            <a:srgbClr val="F6F6F4"/>
          </a:solidFill>
        </p:spPr>
        <p:txBody>
          <a:bodyPr tIns="0" anchor="t" anchorCtr="0"/>
          <a:lstStyle>
            <a:lvl1pPr marL="0" indent="0">
              <a:buNone/>
              <a:defRPr/>
            </a:lvl1pPr>
          </a:lstStyle>
          <a:p>
            <a:r>
              <a:rPr lang="en-GB" noProof="0"/>
              <a:t>Mark placeholder to insert image</a:t>
            </a:r>
          </a:p>
        </p:txBody>
      </p:sp>
      <p:sp>
        <p:nvSpPr>
          <p:cNvPr id="8" name="Text Placeholder 4">
            <a:extLst>
              <a:ext uri="{FF2B5EF4-FFF2-40B4-BE49-F238E27FC236}">
                <a16:creationId xmlns:a16="http://schemas.microsoft.com/office/drawing/2014/main" id="{45AEC6E4-C3EF-4192-856D-9039F171C484}"/>
              </a:ext>
            </a:extLst>
          </p:cNvPr>
          <p:cNvSpPr>
            <a:spLocks noGrp="1"/>
          </p:cNvSpPr>
          <p:nvPr>
            <p:ph type="body" sz="quarter" idx="19" hasCustomPrompt="1"/>
          </p:nvPr>
        </p:nvSpPr>
        <p:spPr>
          <a:xfrm>
            <a:off x="9758046" y="5387836"/>
            <a:ext cx="1630575" cy="317907"/>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11" name="Footer Placeholder 4">
            <a:extLst>
              <a:ext uri="{FF2B5EF4-FFF2-40B4-BE49-F238E27FC236}">
                <a16:creationId xmlns:a16="http://schemas.microsoft.com/office/drawing/2014/main" id="{C5D31929-EC68-4BA9-818F-D9E7F43918E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4" name="Date_DateCustomA">
            <a:extLst>
              <a:ext uri="{FF2B5EF4-FFF2-40B4-BE49-F238E27FC236}">
                <a16:creationId xmlns:a16="http://schemas.microsoft.com/office/drawing/2014/main" id="{F7836BF7-FD55-405A-874B-61C805C2E3C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49976E51-1FC3-4474-950D-AA48067650FE}" type="datetime1">
              <a:rPr lang="en-GB" smtClean="0"/>
              <a:t>06/09/2023</a:t>
            </a:fld>
            <a:endParaRPr lang="en-GB"/>
          </a:p>
        </p:txBody>
      </p:sp>
    </p:spTree>
    <p:extLst>
      <p:ext uri="{BB962C8B-B14F-4D97-AF65-F5344CB8AC3E}">
        <p14:creationId xmlns:p14="http://schemas.microsoft.com/office/powerpoint/2010/main" val="216596092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images and fact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AD88E7-3B12-4449-81F1-3C8219EE77CB}"/>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9" y="5387836"/>
            <a:ext cx="3257974"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1" name="Text Placeholder 4">
            <a:extLst>
              <a:ext uri="{FF2B5EF4-FFF2-40B4-BE49-F238E27FC236}">
                <a16:creationId xmlns:a16="http://schemas.microsoft.com/office/drawing/2014/main" id="{F7D20742-1518-4D1C-84E0-A50DB3F71AB2}"/>
              </a:ext>
            </a:extLst>
          </p:cNvPr>
          <p:cNvSpPr>
            <a:spLocks noGrp="1"/>
          </p:cNvSpPr>
          <p:nvPr>
            <p:ph type="body" sz="quarter" idx="25" hasCustomPrompt="1"/>
          </p:nvPr>
        </p:nvSpPr>
        <p:spPr>
          <a:xfrm>
            <a:off x="4871085" y="5387836"/>
            <a:ext cx="3257974" cy="317907"/>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9" y="1644652"/>
            <a:ext cx="3257974" cy="3744247"/>
          </a:xfrm>
          <a:solidFill>
            <a:srgbClr val="F6F6F4"/>
          </a:solidFill>
        </p:spPr>
        <p:txBody>
          <a:bodyPr tIns="0" anchor="t" anchorCtr="0"/>
          <a:lstStyle>
            <a:lvl1pPr marL="0" indent="0">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4871085" y="1644650"/>
            <a:ext cx="3257973" cy="3744249"/>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12" name="Text Placeholder 6">
            <a:extLst>
              <a:ext uri="{FF2B5EF4-FFF2-40B4-BE49-F238E27FC236}">
                <a16:creationId xmlns:a16="http://schemas.microsoft.com/office/drawing/2014/main" id="{2AD0405A-0FD7-4F0F-AF7F-B2047DF5CF9E}"/>
              </a:ext>
            </a:extLst>
          </p:cNvPr>
          <p:cNvSpPr>
            <a:spLocks noGrp="1"/>
          </p:cNvSpPr>
          <p:nvPr>
            <p:ph type="body" sz="quarter" idx="15" hasCustomPrompt="1"/>
          </p:nvPr>
        </p:nvSpPr>
        <p:spPr>
          <a:xfrm>
            <a:off x="8943552" y="1644391"/>
            <a:ext cx="2445069"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3" name="Footer Placeholder 4">
            <a:extLst>
              <a:ext uri="{FF2B5EF4-FFF2-40B4-BE49-F238E27FC236}">
                <a16:creationId xmlns:a16="http://schemas.microsoft.com/office/drawing/2014/main" id="{918E1753-D849-4306-90F0-AE9E3B1E439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6" name="Date_DateCustomA">
            <a:extLst>
              <a:ext uri="{FF2B5EF4-FFF2-40B4-BE49-F238E27FC236}">
                <a16:creationId xmlns:a16="http://schemas.microsoft.com/office/drawing/2014/main" id="{4824DA6C-1660-454E-AE9F-DA89A04C5D00}"/>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19B1F6A8-6B7A-461C-8C18-9117AB04685F}" type="datetime1">
              <a:rPr lang="en-GB" smtClean="0"/>
              <a:t>06/09/2023</a:t>
            </a:fld>
            <a:endParaRPr lang="en-GB"/>
          </a:p>
        </p:txBody>
      </p:sp>
    </p:spTree>
    <p:extLst>
      <p:ext uri="{BB962C8B-B14F-4D97-AF65-F5344CB8AC3E}">
        <p14:creationId xmlns:p14="http://schemas.microsoft.com/office/powerpoint/2010/main" val="182373749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ree images (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A0290B9-8984-4B63-9584-E3AE12BC8408}"/>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8" y="5387836"/>
            <a:ext cx="4886961"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1" name="Text Placeholder 4">
            <a:extLst>
              <a:ext uri="{FF2B5EF4-FFF2-40B4-BE49-F238E27FC236}">
                <a16:creationId xmlns:a16="http://schemas.microsoft.com/office/drawing/2014/main" id="{A7ABCE10-41F5-4BFF-B780-36E38A40F95C}"/>
              </a:ext>
            </a:extLst>
          </p:cNvPr>
          <p:cNvSpPr>
            <a:spLocks noGrp="1"/>
          </p:cNvSpPr>
          <p:nvPr>
            <p:ph type="body" sz="quarter" idx="25" hasCustomPrompt="1"/>
          </p:nvPr>
        </p:nvSpPr>
        <p:spPr>
          <a:xfrm>
            <a:off x="6500070" y="5387835"/>
            <a:ext cx="2443482" cy="317908"/>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5" name="Text Placeholder 5">
            <a:extLst>
              <a:ext uri="{FF2B5EF4-FFF2-40B4-BE49-F238E27FC236}">
                <a16:creationId xmlns:a16="http://schemas.microsoft.com/office/drawing/2014/main" id="{6B139212-6CFC-41D2-8FC4-04AFFFB5F675}"/>
              </a:ext>
            </a:extLst>
          </p:cNvPr>
          <p:cNvSpPr>
            <a:spLocks noGrp="1"/>
          </p:cNvSpPr>
          <p:nvPr>
            <p:ph type="body" sz="quarter" idx="26" hasCustomPrompt="1"/>
          </p:nvPr>
        </p:nvSpPr>
        <p:spPr>
          <a:xfrm>
            <a:off x="9758046" y="5387836"/>
            <a:ext cx="1630575" cy="317907"/>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4886961" cy="3744247"/>
          </a:xfrm>
          <a:solidFill>
            <a:srgbClr val="F6F6F4"/>
          </a:solidFill>
        </p:spPr>
        <p:txBody>
          <a:bodyPr tIns="0" anchor="t" anchorCtr="0"/>
          <a:lstStyle>
            <a:lvl1pPr>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6500072" y="1644650"/>
            <a:ext cx="2443480" cy="3744249"/>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6" y="1644652"/>
            <a:ext cx="1630575" cy="3744248"/>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12" name="Footer Placeholder 4">
            <a:extLst>
              <a:ext uri="{FF2B5EF4-FFF2-40B4-BE49-F238E27FC236}">
                <a16:creationId xmlns:a16="http://schemas.microsoft.com/office/drawing/2014/main" id="{5874BC50-6BE9-4C0E-B354-8E1950E1DEC6}"/>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5" name="Date_DateCustomA">
            <a:extLst>
              <a:ext uri="{FF2B5EF4-FFF2-40B4-BE49-F238E27FC236}">
                <a16:creationId xmlns:a16="http://schemas.microsoft.com/office/drawing/2014/main" id="{A27BE1DC-8318-4E12-A678-697DBD2158D0}"/>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670B47BD-1B93-49E8-8F1A-50F28146FAEE}" type="datetime1">
              <a:rPr lang="en-GB" smtClean="0"/>
              <a:t>06/09/2023</a:t>
            </a:fld>
            <a:endParaRPr lang="en-GB"/>
          </a:p>
        </p:txBody>
      </p:sp>
    </p:spTree>
    <p:extLst>
      <p:ext uri="{BB962C8B-B14F-4D97-AF65-F5344CB8AC3E}">
        <p14:creationId xmlns:p14="http://schemas.microsoft.com/office/powerpoint/2010/main" val="47863326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images (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9AAF93-6D36-4195-82B9-DF0720EC521B}"/>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8" y="5387835"/>
            <a:ext cx="5701454"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1" name="Text Placeholder 4">
            <a:extLst>
              <a:ext uri="{FF2B5EF4-FFF2-40B4-BE49-F238E27FC236}">
                <a16:creationId xmlns:a16="http://schemas.microsoft.com/office/drawing/2014/main" id="{3E2CB951-B63B-4713-9C55-151E8F70764A}"/>
              </a:ext>
            </a:extLst>
          </p:cNvPr>
          <p:cNvSpPr>
            <a:spLocks noGrp="1"/>
          </p:cNvSpPr>
          <p:nvPr>
            <p:ph type="body" sz="quarter" idx="25" hasCustomPrompt="1"/>
          </p:nvPr>
        </p:nvSpPr>
        <p:spPr>
          <a:xfrm>
            <a:off x="7314564" y="5387835"/>
            <a:ext cx="1628988"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12" name="Text Placeholder 5">
            <a:extLst>
              <a:ext uri="{FF2B5EF4-FFF2-40B4-BE49-F238E27FC236}">
                <a16:creationId xmlns:a16="http://schemas.microsoft.com/office/drawing/2014/main" id="{4ABF96D0-72C6-404F-8711-EC888AA24B29}"/>
              </a:ext>
            </a:extLst>
          </p:cNvPr>
          <p:cNvSpPr>
            <a:spLocks noGrp="1"/>
          </p:cNvSpPr>
          <p:nvPr>
            <p:ph type="body" sz="quarter" idx="26" hasCustomPrompt="1"/>
          </p:nvPr>
        </p:nvSpPr>
        <p:spPr>
          <a:xfrm>
            <a:off x="9758046" y="5387835"/>
            <a:ext cx="1630575"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7029" y="1644652"/>
            <a:ext cx="5703042" cy="3744247"/>
          </a:xfrm>
          <a:solidFill>
            <a:srgbClr val="F6F6F4"/>
          </a:solidFill>
        </p:spPr>
        <p:txBody>
          <a:bodyPr tIns="0" anchor="t" anchorCtr="0"/>
          <a:lstStyle>
            <a:lvl1pPr>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4" y="1644650"/>
            <a:ext cx="1628988" cy="3744249"/>
          </a:xfrm>
          <a:solidFill>
            <a:srgbClr val="F6F6F4"/>
          </a:solidFill>
        </p:spPr>
        <p:txBody>
          <a:bodyPr tIns="0" anchor="t" anchorCtr="0"/>
          <a:lstStyle>
            <a:lvl1pPr marL="0" indent="0">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6" y="1644652"/>
            <a:ext cx="1630575" cy="3744248"/>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13" name="Footer Placeholder 4">
            <a:extLst>
              <a:ext uri="{FF2B5EF4-FFF2-40B4-BE49-F238E27FC236}">
                <a16:creationId xmlns:a16="http://schemas.microsoft.com/office/drawing/2014/main" id="{B6ABE9CB-A3E8-48D2-82D8-BB162FBC2ACE}"/>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6" name="Date_DateCustomA">
            <a:extLst>
              <a:ext uri="{FF2B5EF4-FFF2-40B4-BE49-F238E27FC236}">
                <a16:creationId xmlns:a16="http://schemas.microsoft.com/office/drawing/2014/main" id="{F8AC17EF-756D-46C0-9E6D-5F5BC146218E}"/>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98217C0B-9033-4A97-8B9B-43B4113B467B}" type="datetime1">
              <a:rPr lang="en-GB" smtClean="0"/>
              <a:t>06/09/2023</a:t>
            </a:fld>
            <a:endParaRPr lang="en-GB"/>
          </a:p>
        </p:txBody>
      </p:sp>
    </p:spTree>
    <p:extLst>
      <p:ext uri="{BB962C8B-B14F-4D97-AF65-F5344CB8AC3E}">
        <p14:creationId xmlns:p14="http://schemas.microsoft.com/office/powerpoint/2010/main" val="57953887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images (A)">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23A1CA0-6B95-4682-8F2B-A2CB29E9A06F}"/>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29" y="5387835"/>
            <a:ext cx="570304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2" name="Text Placeholder 4">
            <a:extLst>
              <a:ext uri="{FF2B5EF4-FFF2-40B4-BE49-F238E27FC236}">
                <a16:creationId xmlns:a16="http://schemas.microsoft.com/office/drawing/2014/main" id="{7F8FEFC5-5B98-4110-A017-739F63CE87B2}"/>
              </a:ext>
            </a:extLst>
          </p:cNvPr>
          <p:cNvSpPr>
            <a:spLocks noGrp="1"/>
          </p:cNvSpPr>
          <p:nvPr>
            <p:ph type="body" sz="quarter" idx="25" hasCustomPrompt="1"/>
          </p:nvPr>
        </p:nvSpPr>
        <p:spPr>
          <a:xfrm>
            <a:off x="7314565" y="5387835"/>
            <a:ext cx="162898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13" name="Text Placeholder 5">
            <a:extLst>
              <a:ext uri="{FF2B5EF4-FFF2-40B4-BE49-F238E27FC236}">
                <a16:creationId xmlns:a16="http://schemas.microsoft.com/office/drawing/2014/main" id="{EED6E484-ADE4-491D-A306-116A904F4278}"/>
              </a:ext>
            </a:extLst>
          </p:cNvPr>
          <p:cNvSpPr>
            <a:spLocks noGrp="1"/>
          </p:cNvSpPr>
          <p:nvPr>
            <p:ph type="body" sz="quarter" idx="26" hasCustomPrompt="1"/>
          </p:nvPr>
        </p:nvSpPr>
        <p:spPr>
          <a:xfrm>
            <a:off x="9758046" y="3144372"/>
            <a:ext cx="1630575"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5" name="Text Placeholder 6">
            <a:extLst>
              <a:ext uri="{FF2B5EF4-FFF2-40B4-BE49-F238E27FC236}">
                <a16:creationId xmlns:a16="http://schemas.microsoft.com/office/drawing/2014/main" id="{1D494126-0696-4DB9-B563-2B5C9722422F}"/>
              </a:ext>
            </a:extLst>
          </p:cNvPr>
          <p:cNvSpPr>
            <a:spLocks noGrp="1"/>
          </p:cNvSpPr>
          <p:nvPr>
            <p:ph type="body" sz="quarter" idx="27" hasCustomPrompt="1"/>
          </p:nvPr>
        </p:nvSpPr>
        <p:spPr>
          <a:xfrm>
            <a:off x="9758046" y="5387835"/>
            <a:ext cx="1630575"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5701453" cy="3744247"/>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6" y="1644650"/>
            <a:ext cx="1628987" cy="3744249"/>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6" y="1644652"/>
            <a:ext cx="1630575" cy="1483526"/>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6" y="3905375"/>
            <a:ext cx="1630575" cy="1483526"/>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15" name="Footer Placeholder 4">
            <a:extLst>
              <a:ext uri="{FF2B5EF4-FFF2-40B4-BE49-F238E27FC236}">
                <a16:creationId xmlns:a16="http://schemas.microsoft.com/office/drawing/2014/main" id="{4567020D-E32F-49AD-ADAE-9E64ADBB8FDF}"/>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8" name="Date_DateCustomA">
            <a:extLst>
              <a:ext uri="{FF2B5EF4-FFF2-40B4-BE49-F238E27FC236}">
                <a16:creationId xmlns:a16="http://schemas.microsoft.com/office/drawing/2014/main" id="{32279A45-1217-4472-8344-3C0A19130A7A}"/>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93200B9-2419-488B-B3B4-69557D1FB50C}" type="datetime1">
              <a:rPr lang="en-GB" smtClean="0"/>
              <a:t>06/09/2023</a:t>
            </a:fld>
            <a:endParaRPr lang="en-GB"/>
          </a:p>
        </p:txBody>
      </p:sp>
    </p:spTree>
    <p:extLst>
      <p:ext uri="{BB962C8B-B14F-4D97-AF65-F5344CB8AC3E}">
        <p14:creationId xmlns:p14="http://schemas.microsoft.com/office/powerpoint/2010/main" val="8196401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our images (B)">
    <p:spTree>
      <p:nvGrpSpPr>
        <p:cNvPr id="1" name=""/>
        <p:cNvGrpSpPr/>
        <p:nvPr/>
      </p:nvGrpSpPr>
      <p:grpSpPr>
        <a:xfrm>
          <a:off x="0" y="0"/>
          <a:ext cx="0" cy="0"/>
          <a:chOff x="0" y="0"/>
          <a:chExt cx="0" cy="0"/>
        </a:xfrm>
      </p:grpSpPr>
      <p:sp>
        <p:nvSpPr>
          <p:cNvPr id="17" name="Title 7">
            <a:extLst>
              <a:ext uri="{FF2B5EF4-FFF2-40B4-BE49-F238E27FC236}">
                <a16:creationId xmlns:a16="http://schemas.microsoft.com/office/drawing/2014/main" id="{6DA88F43-D409-4504-A063-DA4B451A4720}"/>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5701453" cy="3744247"/>
          </a:xfrm>
          <a:solidFill>
            <a:srgbClr val="F6F6F4"/>
          </a:solidFill>
        </p:spPr>
        <p:txBody>
          <a:bodyPr tIns="0" anchor="t" anchorCtr="0"/>
          <a:lstStyle>
            <a:lvl1pPr>
              <a:buNone/>
              <a:defRPr/>
            </a:lvl1pPr>
          </a:lstStyle>
          <a:p>
            <a:r>
              <a:rPr lang="en-GB" noProof="0"/>
              <a:t>Mark placeholder to insert image</a:t>
            </a:r>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31" y="5387836"/>
            <a:ext cx="5703042"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2" name="Text Placeholder 4">
            <a:extLst>
              <a:ext uri="{FF2B5EF4-FFF2-40B4-BE49-F238E27FC236}">
                <a16:creationId xmlns:a16="http://schemas.microsoft.com/office/drawing/2014/main" id="{A1F7B2BE-FFF8-4897-A35A-DDFEEB4911B6}"/>
              </a:ext>
            </a:extLst>
          </p:cNvPr>
          <p:cNvSpPr>
            <a:spLocks noGrp="1"/>
          </p:cNvSpPr>
          <p:nvPr>
            <p:ph type="body" sz="quarter" idx="25" hasCustomPrompt="1"/>
          </p:nvPr>
        </p:nvSpPr>
        <p:spPr>
          <a:xfrm>
            <a:off x="7314564" y="3145672"/>
            <a:ext cx="407405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4" y="1644651"/>
            <a:ext cx="4074057" cy="1483526"/>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13" name="Text Placeholder 5">
            <a:extLst>
              <a:ext uri="{FF2B5EF4-FFF2-40B4-BE49-F238E27FC236}">
                <a16:creationId xmlns:a16="http://schemas.microsoft.com/office/drawing/2014/main" id="{735B3C8D-4ACE-428F-8AD3-7A13F1213FD2}"/>
              </a:ext>
            </a:extLst>
          </p:cNvPr>
          <p:cNvSpPr>
            <a:spLocks noGrp="1"/>
          </p:cNvSpPr>
          <p:nvPr>
            <p:ph type="body" sz="quarter" idx="26" hasCustomPrompt="1"/>
          </p:nvPr>
        </p:nvSpPr>
        <p:spPr>
          <a:xfrm>
            <a:off x="7314566" y="5387835"/>
            <a:ext cx="1628987"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5" name="Text Placeholder 6">
            <a:extLst>
              <a:ext uri="{FF2B5EF4-FFF2-40B4-BE49-F238E27FC236}">
                <a16:creationId xmlns:a16="http://schemas.microsoft.com/office/drawing/2014/main" id="{C7A95160-7865-47B1-BBD0-32DA9C96FEC4}"/>
              </a:ext>
            </a:extLst>
          </p:cNvPr>
          <p:cNvSpPr>
            <a:spLocks noGrp="1"/>
          </p:cNvSpPr>
          <p:nvPr>
            <p:ph type="body" sz="quarter" idx="27" hasCustomPrompt="1"/>
          </p:nvPr>
        </p:nvSpPr>
        <p:spPr>
          <a:xfrm>
            <a:off x="9758044" y="5387835"/>
            <a:ext cx="1630576"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4566" y="3905375"/>
            <a:ext cx="1628987" cy="1483526"/>
          </a:xfrm>
          <a:solidFill>
            <a:srgbClr val="F6F6F4"/>
          </a:solidFill>
        </p:spPr>
        <p:txBody>
          <a:bodyPr tIns="0" anchor="t" anchorCtr="0"/>
          <a:lstStyle>
            <a:lvl1pPr marL="0" indent="0">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4" y="3905375"/>
            <a:ext cx="1630576" cy="1483526"/>
          </a:xfrm>
          <a:solidFill>
            <a:srgbClr val="F6F6F4"/>
          </a:solidFill>
        </p:spPr>
        <p:txBody>
          <a:bodyPr tIns="0" anchor="t" anchorCtr="0"/>
          <a:lstStyle>
            <a:lvl1pPr marL="0" indent="0">
              <a:buNone/>
              <a:defRPr/>
            </a:lvl1pPr>
          </a:lstStyle>
          <a:p>
            <a:r>
              <a:rPr lang="en-GB" noProof="0"/>
              <a:t>Mark placeholder to insert image</a:t>
            </a:r>
          </a:p>
        </p:txBody>
      </p:sp>
      <p:sp>
        <p:nvSpPr>
          <p:cNvPr id="19" name="Footer Placeholder 4">
            <a:extLst>
              <a:ext uri="{FF2B5EF4-FFF2-40B4-BE49-F238E27FC236}">
                <a16:creationId xmlns:a16="http://schemas.microsoft.com/office/drawing/2014/main" id="{651A90D8-504E-4DC5-901B-5180BA0DE16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21" name="Date_DateCustomA">
            <a:extLst>
              <a:ext uri="{FF2B5EF4-FFF2-40B4-BE49-F238E27FC236}">
                <a16:creationId xmlns:a16="http://schemas.microsoft.com/office/drawing/2014/main" id="{C64ACC7F-7EC9-4D88-B2D9-4BD783C75A0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36191CC-81E4-40E2-A3EA-FD9630412644}" type="datetime1">
              <a:rPr lang="en-GB" smtClean="0"/>
              <a:t>06/09/2023</a:t>
            </a:fld>
            <a:endParaRPr lang="en-GB"/>
          </a:p>
        </p:txBody>
      </p:sp>
    </p:spTree>
    <p:extLst>
      <p:ext uri="{BB962C8B-B14F-4D97-AF65-F5344CB8AC3E}">
        <p14:creationId xmlns:p14="http://schemas.microsoft.com/office/powerpoint/2010/main" val="38905907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A92B2C7-5E53-4EA1-BAD0-D814DF20E580}"/>
              </a:ext>
            </a:extLst>
          </p:cNvPr>
          <p:cNvGraphicFramePr>
            <a:graphicFrameLocks noChangeAspect="1"/>
          </p:cNvGraphicFramePr>
          <p:nvPr userDrawn="1">
            <p:custDataLst>
              <p:tags r:id="rId1"/>
            </p:custDataLst>
            <p:extLst>
              <p:ext uri="{D42A27DB-BD31-4B8C-83A1-F6EECF244321}">
                <p14:modId xmlns:p14="http://schemas.microsoft.com/office/powerpoint/2010/main" val="1329640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DA92B2C7-5E53-4EA1-BAD0-D814DF20E5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lvl1pPr rtl="0">
              <a:defRPr/>
            </a:lvl1pPr>
          </a:lstStyle>
          <a:p>
            <a:fld id="{7BF43399-B145-4BBC-AF2A-C9EC8B4305A6}" type="datetime1">
              <a:rPr lang="da-DK" smtClean="0"/>
              <a:pPr/>
              <a:t>06-09-2023</a:t>
            </a:fld>
            <a:endParaRPr lang="da-DK"/>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726481537"/>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ive images (A)">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31" y="5388899"/>
            <a:ext cx="5703042" cy="316843"/>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20" name="Text Placeholder 4">
            <a:extLst>
              <a:ext uri="{FF2B5EF4-FFF2-40B4-BE49-F238E27FC236}">
                <a16:creationId xmlns:a16="http://schemas.microsoft.com/office/drawing/2014/main" id="{42DF0A72-5AF0-4ACE-B2DB-4155F465E0B5}"/>
              </a:ext>
            </a:extLst>
          </p:cNvPr>
          <p:cNvSpPr>
            <a:spLocks noGrp="1"/>
          </p:cNvSpPr>
          <p:nvPr>
            <p:ph type="body" sz="quarter" idx="25" hasCustomPrompt="1"/>
          </p:nvPr>
        </p:nvSpPr>
        <p:spPr>
          <a:xfrm>
            <a:off x="7314564" y="3144193"/>
            <a:ext cx="1628988"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21" name="Text Placeholder 5">
            <a:extLst>
              <a:ext uri="{FF2B5EF4-FFF2-40B4-BE49-F238E27FC236}">
                <a16:creationId xmlns:a16="http://schemas.microsoft.com/office/drawing/2014/main" id="{0F958486-0A01-4664-898B-849018028B9C}"/>
              </a:ext>
            </a:extLst>
          </p:cNvPr>
          <p:cNvSpPr>
            <a:spLocks noGrp="1"/>
          </p:cNvSpPr>
          <p:nvPr>
            <p:ph type="body" sz="quarter" idx="26" hasCustomPrompt="1"/>
          </p:nvPr>
        </p:nvSpPr>
        <p:spPr>
          <a:xfrm>
            <a:off x="7314564" y="5387953"/>
            <a:ext cx="1628988"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22" name="Text Placeholder 6">
            <a:extLst>
              <a:ext uri="{FF2B5EF4-FFF2-40B4-BE49-F238E27FC236}">
                <a16:creationId xmlns:a16="http://schemas.microsoft.com/office/drawing/2014/main" id="{72AE0D8A-202F-43F6-AB72-839F68F575A8}"/>
              </a:ext>
            </a:extLst>
          </p:cNvPr>
          <p:cNvSpPr>
            <a:spLocks noGrp="1"/>
          </p:cNvSpPr>
          <p:nvPr>
            <p:ph type="body" sz="quarter" idx="27" hasCustomPrompt="1"/>
          </p:nvPr>
        </p:nvSpPr>
        <p:spPr>
          <a:xfrm>
            <a:off x="9758044" y="3144193"/>
            <a:ext cx="1630576"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p>
        </p:txBody>
      </p:sp>
      <p:sp>
        <p:nvSpPr>
          <p:cNvPr id="5" name="Text Placeholder 7">
            <a:extLst>
              <a:ext uri="{FF2B5EF4-FFF2-40B4-BE49-F238E27FC236}">
                <a16:creationId xmlns:a16="http://schemas.microsoft.com/office/drawing/2014/main" id="{553D49DA-A17B-44D7-8EBB-64C685A23079}"/>
              </a:ext>
            </a:extLst>
          </p:cNvPr>
          <p:cNvSpPr>
            <a:spLocks noGrp="1"/>
          </p:cNvSpPr>
          <p:nvPr>
            <p:ph type="body" sz="quarter" idx="28" hasCustomPrompt="1"/>
          </p:nvPr>
        </p:nvSpPr>
        <p:spPr>
          <a:xfrm>
            <a:off x="9758044" y="5387953"/>
            <a:ext cx="1630576"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5701453" cy="3744247"/>
          </a:xfrm>
          <a:solidFill>
            <a:srgbClr val="F6F6F4"/>
          </a:solidFill>
        </p:spPr>
        <p:txBody>
          <a:bodyPr tIns="0" anchor="t" anchorCtr="0"/>
          <a:lstStyle>
            <a:lvl1pPr>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4" y="1644651"/>
            <a:ext cx="1628988" cy="1483526"/>
          </a:xfrm>
          <a:solidFill>
            <a:srgbClr val="F6F6F4"/>
          </a:solidFill>
        </p:spPr>
        <p:txBody>
          <a:bodyPr tIns="0" anchor="t" anchorCtr="0"/>
          <a:lstStyle>
            <a:lvl1pPr marL="0" indent="0">
              <a:buNone/>
              <a:defRPr/>
            </a:lvl1pPr>
          </a:lstStyle>
          <a:p>
            <a:r>
              <a:rPr lang="en-GB" noProof="0"/>
              <a:t>Mark placeholder to insert image</a:t>
            </a:r>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4564" y="3905375"/>
            <a:ext cx="1628988" cy="1483526"/>
          </a:xfrm>
          <a:solidFill>
            <a:srgbClr val="F6F6F4"/>
          </a:solidFill>
        </p:spPr>
        <p:txBody>
          <a:bodyPr tIns="0" anchor="t" anchorCtr="0"/>
          <a:lstStyle>
            <a:lvl1pPr marL="0" indent="0">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4" y="1644652"/>
            <a:ext cx="1630576" cy="1483526"/>
          </a:xfrm>
          <a:solidFill>
            <a:srgbClr val="F6F6F4"/>
          </a:solidFill>
        </p:spPr>
        <p:txBody>
          <a:bodyPr tIns="0" anchor="t" anchorCtr="0"/>
          <a:lstStyle>
            <a:lvl1pPr marL="0" indent="0">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5" y="3905375"/>
            <a:ext cx="1630575" cy="1483526"/>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15" name="Title 7">
            <a:extLst>
              <a:ext uri="{FF2B5EF4-FFF2-40B4-BE49-F238E27FC236}">
                <a16:creationId xmlns:a16="http://schemas.microsoft.com/office/drawing/2014/main" id="{109E8909-9BF2-426F-A556-859081C99CFB}"/>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7" name="Footer Placeholder 4">
            <a:extLst>
              <a:ext uri="{FF2B5EF4-FFF2-40B4-BE49-F238E27FC236}">
                <a16:creationId xmlns:a16="http://schemas.microsoft.com/office/drawing/2014/main" id="{89EC51AE-5F71-4517-A9E0-7E30DE0DEAED}"/>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23" name="Date_DateCustomA">
            <a:extLst>
              <a:ext uri="{FF2B5EF4-FFF2-40B4-BE49-F238E27FC236}">
                <a16:creationId xmlns:a16="http://schemas.microsoft.com/office/drawing/2014/main" id="{9986C71A-FB30-4BC3-80B0-20BC5417034B}"/>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178DCDE-D1A1-4EB4-8F09-37541DFBB130}" type="datetime1">
              <a:rPr lang="en-GB" smtClean="0"/>
              <a:t>06/09/2023</a:t>
            </a:fld>
            <a:endParaRPr lang="en-GB"/>
          </a:p>
        </p:txBody>
      </p:sp>
    </p:spTree>
    <p:extLst>
      <p:ext uri="{BB962C8B-B14F-4D97-AF65-F5344CB8AC3E}">
        <p14:creationId xmlns:p14="http://schemas.microsoft.com/office/powerpoint/2010/main" val="97436111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Five images (B)">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29" y="5387953"/>
            <a:ext cx="325956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5" name="Text Placeholder 4">
            <a:extLst>
              <a:ext uri="{FF2B5EF4-FFF2-40B4-BE49-F238E27FC236}">
                <a16:creationId xmlns:a16="http://schemas.microsoft.com/office/drawing/2014/main" id="{F02B0B2F-7F53-4AFC-9446-DB6C5777E698}"/>
              </a:ext>
            </a:extLst>
          </p:cNvPr>
          <p:cNvSpPr>
            <a:spLocks noGrp="1"/>
          </p:cNvSpPr>
          <p:nvPr>
            <p:ph type="body" sz="quarter" idx="27" hasCustomPrompt="1"/>
          </p:nvPr>
        </p:nvSpPr>
        <p:spPr>
          <a:xfrm>
            <a:off x="4875849" y="3145672"/>
            <a:ext cx="648677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20" name="Text Placeholder 5">
            <a:extLst>
              <a:ext uri="{FF2B5EF4-FFF2-40B4-BE49-F238E27FC236}">
                <a16:creationId xmlns:a16="http://schemas.microsoft.com/office/drawing/2014/main" id="{0662756F-E3F0-402D-9E22-0BE6B392C8C9}"/>
              </a:ext>
            </a:extLst>
          </p:cNvPr>
          <p:cNvSpPr>
            <a:spLocks noGrp="1"/>
          </p:cNvSpPr>
          <p:nvPr>
            <p:ph type="body" sz="quarter" idx="28" hasCustomPrompt="1"/>
          </p:nvPr>
        </p:nvSpPr>
        <p:spPr>
          <a:xfrm>
            <a:off x="4871086" y="5387953"/>
            <a:ext cx="1625811"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21" name="Text Placeholder 6">
            <a:extLst>
              <a:ext uri="{FF2B5EF4-FFF2-40B4-BE49-F238E27FC236}">
                <a16:creationId xmlns:a16="http://schemas.microsoft.com/office/drawing/2014/main" id="{BE7208CB-CE86-4F3D-B12C-D8268891AA47}"/>
              </a:ext>
            </a:extLst>
          </p:cNvPr>
          <p:cNvSpPr>
            <a:spLocks noGrp="1"/>
          </p:cNvSpPr>
          <p:nvPr>
            <p:ph type="body" sz="quarter" idx="29" hasCustomPrompt="1"/>
          </p:nvPr>
        </p:nvSpPr>
        <p:spPr>
          <a:xfrm>
            <a:off x="7314566" y="5387953"/>
            <a:ext cx="162898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p>
        </p:txBody>
      </p:sp>
      <p:sp>
        <p:nvSpPr>
          <p:cNvPr id="22" name="Text Placeholder 7">
            <a:extLst>
              <a:ext uri="{FF2B5EF4-FFF2-40B4-BE49-F238E27FC236}">
                <a16:creationId xmlns:a16="http://schemas.microsoft.com/office/drawing/2014/main" id="{06E02B92-F862-4F76-B8DC-8C3D1FC7F977}"/>
              </a:ext>
            </a:extLst>
          </p:cNvPr>
          <p:cNvSpPr>
            <a:spLocks noGrp="1"/>
          </p:cNvSpPr>
          <p:nvPr>
            <p:ph type="body" sz="quarter" idx="30" hasCustomPrompt="1"/>
          </p:nvPr>
        </p:nvSpPr>
        <p:spPr>
          <a:xfrm>
            <a:off x="9758046" y="5387953"/>
            <a:ext cx="1630575"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9" y="1644652"/>
            <a:ext cx="3257974" cy="3744247"/>
          </a:xfrm>
          <a:solidFill>
            <a:srgbClr val="F6F6F4"/>
          </a:solidFill>
        </p:spPr>
        <p:txBody>
          <a:bodyPr tIns="0" anchor="t" anchorCtr="0"/>
          <a:lstStyle>
            <a:lvl1pPr marL="0" indent="0">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4871085" y="1644651"/>
            <a:ext cx="6517536" cy="1483526"/>
          </a:xfrm>
          <a:solidFill>
            <a:srgbClr val="F6F6F4"/>
          </a:solidFill>
        </p:spPr>
        <p:txBody>
          <a:bodyPr tIns="0" anchor="t" anchorCtr="0"/>
          <a:lstStyle>
            <a:lvl1pPr marL="0" indent="0">
              <a:buNone/>
              <a:defRPr/>
            </a:lvl1pPr>
          </a:lstStyle>
          <a:p>
            <a:r>
              <a:rPr lang="en-GB" noProof="0"/>
              <a:t>Mark placeholder to insert image</a:t>
            </a:r>
          </a:p>
        </p:txBody>
      </p:sp>
      <p:sp>
        <p:nvSpPr>
          <p:cNvPr id="32" name="Picture Placeholder 3">
            <a:extLst>
              <a:ext uri="{FF2B5EF4-FFF2-40B4-BE49-F238E27FC236}">
                <a16:creationId xmlns:a16="http://schemas.microsoft.com/office/drawing/2014/main" id="{BD840AF9-BBF8-4202-BC96-375E5BEB71AA}"/>
              </a:ext>
            </a:extLst>
          </p:cNvPr>
          <p:cNvSpPr>
            <a:spLocks noGrp="1"/>
          </p:cNvSpPr>
          <p:nvPr>
            <p:ph type="pic" sz="quarter" idx="26" hasCustomPrompt="1"/>
          </p:nvPr>
        </p:nvSpPr>
        <p:spPr>
          <a:xfrm>
            <a:off x="4871085" y="3905096"/>
            <a:ext cx="1628987" cy="1483526"/>
          </a:xfrm>
          <a:solidFill>
            <a:srgbClr val="F6F6F4"/>
          </a:solidFill>
        </p:spPr>
        <p:txBody>
          <a:bodyPr tIns="0" anchor="t" anchorCtr="0"/>
          <a:lstStyle>
            <a:lvl1pPr marL="0" indent="0">
              <a:buNone/>
              <a:defRPr/>
            </a:lvl1pPr>
          </a:lstStyle>
          <a:p>
            <a:r>
              <a:rPr lang="en-GB" noProof="0"/>
              <a:t>Mark placeholder to insert image</a:t>
            </a:r>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4566" y="3905375"/>
            <a:ext cx="1628987" cy="1483526"/>
          </a:xfrm>
          <a:solidFill>
            <a:srgbClr val="F6F6F4"/>
          </a:solidFill>
        </p:spPr>
        <p:txBody>
          <a:bodyPr tIns="0" anchor="t" anchorCtr="0"/>
          <a:lstStyle>
            <a:lvl1pPr marL="0" indent="0">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5" y="3905375"/>
            <a:ext cx="1630575" cy="1483526"/>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17" name="Title 7">
            <a:extLst>
              <a:ext uri="{FF2B5EF4-FFF2-40B4-BE49-F238E27FC236}">
                <a16:creationId xmlns:a16="http://schemas.microsoft.com/office/drawing/2014/main" id="{299AE5C6-8512-40FE-B386-E39B5659754F}"/>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9" name="Footer Placeholder 4">
            <a:extLst>
              <a:ext uri="{FF2B5EF4-FFF2-40B4-BE49-F238E27FC236}">
                <a16:creationId xmlns:a16="http://schemas.microsoft.com/office/drawing/2014/main" id="{DB9DA6D0-8869-4337-BEAF-0ADAFE06FB4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24" name="Date_DateCustomA">
            <a:extLst>
              <a:ext uri="{FF2B5EF4-FFF2-40B4-BE49-F238E27FC236}">
                <a16:creationId xmlns:a16="http://schemas.microsoft.com/office/drawing/2014/main" id="{A387D7D7-69FC-41FF-BDFD-687A499B6122}"/>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5944EB0A-8F31-4F12-A58B-82FA23A642B9}" type="datetime1">
              <a:rPr lang="en-GB" smtClean="0"/>
              <a:t>06/09/2023</a:t>
            </a:fld>
            <a:endParaRPr lang="en-GB"/>
          </a:p>
        </p:txBody>
      </p:sp>
    </p:spTree>
    <p:extLst>
      <p:ext uri="{BB962C8B-B14F-4D97-AF65-F5344CB8AC3E}">
        <p14:creationId xmlns:p14="http://schemas.microsoft.com/office/powerpoint/2010/main" val="31925310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full slide image">
    <p:spTree>
      <p:nvGrpSpPr>
        <p:cNvPr id="1" name=""/>
        <p:cNvGrpSpPr/>
        <p:nvPr/>
      </p:nvGrpSpPr>
      <p:grpSpPr>
        <a:xfrm>
          <a:off x="0" y="0"/>
          <a:ext cx="0" cy="0"/>
          <a:chOff x="0" y="0"/>
          <a:chExt cx="0" cy="0"/>
        </a:xfrm>
      </p:grpSpPr>
      <p:sp>
        <p:nvSpPr>
          <p:cNvPr id="4" name="Background"/>
          <p:cNvSpPr/>
          <p:nvPr userDrawn="1"/>
        </p:nvSpPr>
        <p:spPr>
          <a:xfrm>
            <a:off x="0" y="1"/>
            <a:ext cx="12191187" cy="68564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577"/>
          </a:p>
        </p:txBody>
      </p:sp>
      <p:sp>
        <p:nvSpPr>
          <p:cNvPr id="7" name="Picture Placeholder 5"/>
          <p:cNvSpPr>
            <a:spLocks noGrp="1"/>
          </p:cNvSpPr>
          <p:nvPr>
            <p:ph type="pic" sz="quarter" idx="10" hasCustomPrompt="1"/>
          </p:nvPr>
        </p:nvSpPr>
        <p:spPr>
          <a:xfrm>
            <a:off x="-1" y="0"/>
            <a:ext cx="12194788" cy="6860012"/>
          </a:xfrm>
          <a:solidFill>
            <a:srgbClr val="F6F6F4"/>
          </a:solidFill>
        </p:spPr>
        <p:txBody>
          <a:bodyPr tIns="0" anchor="t" anchorCtr="0"/>
          <a:lstStyle>
            <a:lvl1pPr algn="ctr">
              <a:buNone/>
              <a:defRPr>
                <a:solidFill>
                  <a:schemeClr val="tx1"/>
                </a:solidFill>
              </a:defRPr>
            </a:lvl1pPr>
          </a:lstStyle>
          <a:p>
            <a:r>
              <a:rPr lang="en-GB" noProof="0"/>
              <a:t>Mark placeholder to insert image</a:t>
            </a:r>
          </a:p>
        </p:txBody>
      </p:sp>
      <p:sp>
        <p:nvSpPr>
          <p:cNvPr id="2" name="Title 1"/>
          <p:cNvSpPr>
            <a:spLocks noGrp="1"/>
          </p:cNvSpPr>
          <p:nvPr>
            <p:ph type="title"/>
          </p:nvPr>
        </p:nvSpPr>
        <p:spPr>
          <a:xfrm>
            <a:off x="817035" y="452439"/>
            <a:ext cx="10556574" cy="1056000"/>
          </a:xfrm>
        </p:spPr>
        <p:txBody>
          <a:bodyPr/>
          <a:lstStyle>
            <a:lvl1pPr>
              <a:defRPr>
                <a:solidFill>
                  <a:schemeClr val="tx2"/>
                </a:solidFill>
              </a:defRPr>
            </a:lvl1pPr>
          </a:lstStyle>
          <a:p>
            <a:r>
              <a:rPr lang="en-US" noProof="0"/>
              <a:t>Click to edit Master title style</a:t>
            </a:r>
            <a:endParaRPr lang="en-GB" noProof="0"/>
          </a:p>
        </p:txBody>
      </p:sp>
      <p:sp>
        <p:nvSpPr>
          <p:cNvPr id="9" name="Text Placeholder 15">
            <a:extLst>
              <a:ext uri="{FF2B5EF4-FFF2-40B4-BE49-F238E27FC236}">
                <a16:creationId xmlns:a16="http://schemas.microsoft.com/office/drawing/2014/main" id="{1C804A56-02C2-4000-8DE1-4C682601C756}"/>
              </a:ext>
            </a:extLst>
          </p:cNvPr>
          <p:cNvSpPr>
            <a:spLocks noGrp="1"/>
          </p:cNvSpPr>
          <p:nvPr>
            <p:ph type="body" sz="quarter" idx="12" hasCustomPrompt="1"/>
          </p:nvPr>
        </p:nvSpPr>
        <p:spPr bwMode="auto">
          <a:xfrm>
            <a:off x="798617" y="6158174"/>
            <a:ext cx="1220559" cy="255541"/>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p>
        </p:txBody>
      </p:sp>
      <p:sp>
        <p:nvSpPr>
          <p:cNvPr id="11" name="Slide Number Placeholder 5" hidden="1">
            <a:extLst>
              <a:ext uri="{FF2B5EF4-FFF2-40B4-BE49-F238E27FC236}">
                <a16:creationId xmlns:a16="http://schemas.microsoft.com/office/drawing/2014/main" id="{F8065A6C-B087-4C37-B9BF-238078D124A4}"/>
              </a:ext>
            </a:extLst>
          </p:cNvPr>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12" name="Footer Placeholder 4" hidden="1">
            <a:extLst>
              <a:ext uri="{FF2B5EF4-FFF2-40B4-BE49-F238E27FC236}">
                <a16:creationId xmlns:a16="http://schemas.microsoft.com/office/drawing/2014/main" id="{E644527C-AD14-4EB9-ADCA-31C61EBA6546}"/>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13" name="Date_DateCustomA" hidden="1">
            <a:extLst>
              <a:ext uri="{FF2B5EF4-FFF2-40B4-BE49-F238E27FC236}">
                <a16:creationId xmlns:a16="http://schemas.microsoft.com/office/drawing/2014/main" id="{264006B7-F2E6-4F4A-8D05-3F44F8F318B8}"/>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Tree>
    <p:extLst>
      <p:ext uri="{BB962C8B-B14F-4D97-AF65-F5344CB8AC3E}">
        <p14:creationId xmlns:p14="http://schemas.microsoft.com/office/powerpoint/2010/main" val="34765572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ull slide image">
    <p:spTree>
      <p:nvGrpSpPr>
        <p:cNvPr id="1" name=""/>
        <p:cNvGrpSpPr/>
        <p:nvPr/>
      </p:nvGrpSpPr>
      <p:grpSpPr>
        <a:xfrm>
          <a:off x="0" y="0"/>
          <a:ext cx="0" cy="0"/>
          <a:chOff x="0" y="0"/>
          <a:chExt cx="0" cy="0"/>
        </a:xfrm>
      </p:grpSpPr>
      <p:sp>
        <p:nvSpPr>
          <p:cNvPr id="3" name="Background"/>
          <p:cNvSpPr/>
          <p:nvPr userDrawn="1"/>
        </p:nvSpPr>
        <p:spPr>
          <a:xfrm>
            <a:off x="0" y="1"/>
            <a:ext cx="12191187" cy="68564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577"/>
          </a:p>
        </p:txBody>
      </p:sp>
      <p:sp>
        <p:nvSpPr>
          <p:cNvPr id="6" name="Picture Placeholder 5"/>
          <p:cNvSpPr>
            <a:spLocks noGrp="1"/>
          </p:cNvSpPr>
          <p:nvPr>
            <p:ph type="pic" sz="quarter" idx="10" hasCustomPrompt="1"/>
          </p:nvPr>
        </p:nvSpPr>
        <p:spPr>
          <a:xfrm>
            <a:off x="-1" y="0"/>
            <a:ext cx="12194788" cy="6860012"/>
          </a:xfrm>
          <a:solidFill>
            <a:srgbClr val="F6F6F4"/>
          </a:solidFill>
        </p:spPr>
        <p:txBody>
          <a:bodyPr tIns="0" anchor="t" anchorCtr="0"/>
          <a:lstStyle>
            <a:lvl1pPr marL="0" indent="0" algn="ctr">
              <a:buNone/>
              <a:defRPr baseline="0">
                <a:solidFill>
                  <a:schemeClr val="tx1"/>
                </a:solidFill>
              </a:defRPr>
            </a:lvl1pPr>
          </a:lstStyle>
          <a:p>
            <a:r>
              <a:rPr lang="en-GB" noProof="0"/>
              <a:t>Mark placeholder to insert image</a:t>
            </a:r>
          </a:p>
        </p:txBody>
      </p:sp>
      <p:sp>
        <p:nvSpPr>
          <p:cNvPr id="7" name="Text Placeholder 15">
            <a:extLst>
              <a:ext uri="{FF2B5EF4-FFF2-40B4-BE49-F238E27FC236}">
                <a16:creationId xmlns:a16="http://schemas.microsoft.com/office/drawing/2014/main" id="{D502E4A2-448F-4BE7-8814-15A06BDE1CF9}"/>
              </a:ext>
            </a:extLst>
          </p:cNvPr>
          <p:cNvSpPr>
            <a:spLocks noGrp="1"/>
          </p:cNvSpPr>
          <p:nvPr>
            <p:ph type="body" sz="quarter" idx="12" hasCustomPrompt="1"/>
          </p:nvPr>
        </p:nvSpPr>
        <p:spPr bwMode="auto">
          <a:xfrm>
            <a:off x="798617" y="6158174"/>
            <a:ext cx="1220559" cy="255541"/>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p>
        </p:txBody>
      </p:sp>
      <p:sp>
        <p:nvSpPr>
          <p:cNvPr id="10" name="Slide Number Placeholder 5" hidden="1">
            <a:extLst>
              <a:ext uri="{FF2B5EF4-FFF2-40B4-BE49-F238E27FC236}">
                <a16:creationId xmlns:a16="http://schemas.microsoft.com/office/drawing/2014/main" id="{DB3E8C21-56F3-43EB-BF88-4EEB72C3F75D}"/>
              </a:ext>
            </a:extLst>
          </p:cNvPr>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11" name="Footer Placeholder 4" hidden="1">
            <a:extLst>
              <a:ext uri="{FF2B5EF4-FFF2-40B4-BE49-F238E27FC236}">
                <a16:creationId xmlns:a16="http://schemas.microsoft.com/office/drawing/2014/main" id="{35D10A95-9140-4D91-8BAE-655D1782D7D6}"/>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12" name="Date_DateCustomA" hidden="1">
            <a:extLst>
              <a:ext uri="{FF2B5EF4-FFF2-40B4-BE49-F238E27FC236}">
                <a16:creationId xmlns:a16="http://schemas.microsoft.com/office/drawing/2014/main" id="{3FA8083C-E59E-4629-A5C9-D403872552DF}"/>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Tree>
    <p:extLst>
      <p:ext uri="{BB962C8B-B14F-4D97-AF65-F5344CB8AC3E}">
        <p14:creationId xmlns:p14="http://schemas.microsoft.com/office/powerpoint/2010/main" val="373864703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Quote">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10" name="Title 1">
            <a:extLst>
              <a:ext uri="{FF2B5EF4-FFF2-40B4-BE49-F238E27FC236}">
                <a16:creationId xmlns:a16="http://schemas.microsoft.com/office/drawing/2014/main" id="{6C267E1F-9146-4D51-A3EA-9E268FC35F7A}"/>
              </a:ext>
            </a:extLst>
          </p:cNvPr>
          <p:cNvSpPr>
            <a:spLocks noGrp="1"/>
          </p:cNvSpPr>
          <p:nvPr>
            <p:ph type="title" hasCustomPrompt="1"/>
          </p:nvPr>
        </p:nvSpPr>
        <p:spPr>
          <a:xfrm>
            <a:off x="798618" y="1945915"/>
            <a:ext cx="7330441" cy="2768684"/>
          </a:xfrm>
        </p:spPr>
        <p:txBody>
          <a:bodyPr/>
          <a:lstStyle>
            <a:lvl1pPr>
              <a:defRPr sz="1026" b="0" cap="none">
                <a:solidFill>
                  <a:schemeClr val="tx1"/>
                </a:solidFill>
              </a:defRPr>
            </a:lvl1pPr>
          </a:lstStyle>
          <a:p>
            <a:r>
              <a:rPr lang="en-GB"/>
              <a:t>Quotation</a:t>
            </a:r>
          </a:p>
        </p:txBody>
      </p:sp>
      <p:sp>
        <p:nvSpPr>
          <p:cNvPr id="26" name="Text Placeholder 5">
            <a:extLst>
              <a:ext uri="{FF2B5EF4-FFF2-40B4-BE49-F238E27FC236}">
                <a16:creationId xmlns:a16="http://schemas.microsoft.com/office/drawing/2014/main" id="{1E1ADCAE-53E0-4B32-A2CA-095078D0C634}"/>
              </a:ext>
            </a:extLst>
          </p:cNvPr>
          <p:cNvSpPr>
            <a:spLocks noGrp="1"/>
          </p:cNvSpPr>
          <p:nvPr>
            <p:ph type="body" sz="quarter" idx="11" hasCustomPrompt="1"/>
          </p:nvPr>
        </p:nvSpPr>
        <p:spPr>
          <a:xfrm>
            <a:off x="796073" y="5018936"/>
            <a:ext cx="7332990" cy="1084011"/>
          </a:xfrm>
        </p:spPr>
        <p:txBody>
          <a:bodyPr lIns="0"/>
          <a:lstStyle>
            <a:lvl1pPr marL="0" indent="0">
              <a:buFont typeface="Arial" panose="020B0604020202020204" pitchFamily="34" charset="0"/>
              <a:buChar char="​"/>
              <a:defRPr sz="513" baseline="0">
                <a:solidFill>
                  <a:schemeClr val="tx1"/>
                </a:solidFill>
              </a:defRPr>
            </a:lvl1pPr>
          </a:lstStyle>
          <a:p>
            <a:pPr lvl="0"/>
            <a:r>
              <a:rPr lang="en-GB"/>
              <a:t>Name, Title</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31421AFA-3AE7-4CEA-BC9B-447859BED57B}" type="slidenum">
              <a:rPr lang="en-GB" smtClean="0"/>
              <a:pPr/>
              <a:t>‹nr.›</a:t>
            </a:fld>
            <a:endParaRPr lang="en-GB"/>
          </a:p>
        </p:txBody>
      </p:sp>
      <p:sp>
        <p:nvSpPr>
          <p:cNvPr id="6" name="TextBox 5">
            <a:extLst>
              <a:ext uri="{FF2B5EF4-FFF2-40B4-BE49-F238E27FC236}">
                <a16:creationId xmlns:a16="http://schemas.microsoft.com/office/drawing/2014/main" id="{CEE8FF56-E9E6-4CE1-A183-9B907183A27A}"/>
              </a:ext>
            </a:extLst>
          </p:cNvPr>
          <p:cNvSpPr txBox="1"/>
          <p:nvPr userDrawn="1"/>
        </p:nvSpPr>
        <p:spPr bwMode="auto">
          <a:xfrm>
            <a:off x="805542" y="2249831"/>
            <a:ext cx="1671854" cy="2829504"/>
          </a:xfrm>
          <a:prstGeom prst="rect">
            <a:avLst/>
          </a:prstGeom>
          <a:noFill/>
          <a:ln w="9525">
            <a:noFill/>
            <a:miter lim="800000"/>
            <a:headEnd/>
            <a:tailEnd/>
          </a:ln>
          <a:effectLst/>
        </p:spPr>
        <p:txBody>
          <a:bodyPr vert="horz" wrap="square" lIns="11546" tIns="0" rIns="0" bIns="0" numCol="1" rtlCol="0" anchor="t" anchorCtr="0" compatLnSpc="1">
            <a:prstTxWarp prst="textNoShape">
              <a:avLst/>
            </a:prstTxWarp>
            <a:noAutofit/>
          </a:bodyPr>
          <a:lstStyle/>
          <a:p>
            <a:pPr marL="4073" marR="0" indent="-8145" algn="l" defTabSz="146621" rtl="0" eaLnBrk="0" fontAlgn="base" latinLnBrk="0" hangingPunct="0">
              <a:lnSpc>
                <a:spcPts val="694"/>
              </a:lnSpc>
              <a:spcBef>
                <a:spcPct val="0"/>
              </a:spcBef>
              <a:spcAft>
                <a:spcPts val="481"/>
              </a:spcAft>
              <a:buClrTx/>
              <a:buSzTx/>
              <a:tabLst/>
            </a:pPr>
            <a:r>
              <a:rPr kumimoji="0" lang="en-GB" sz="6382"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a:t>
            </a:r>
          </a:p>
        </p:txBody>
      </p:sp>
      <p:sp>
        <p:nvSpPr>
          <p:cNvPr id="14" name="Freeform 5">
            <a:extLst>
              <a:ext uri="{FF2B5EF4-FFF2-40B4-BE49-F238E27FC236}">
                <a16:creationId xmlns:a16="http://schemas.microsoft.com/office/drawing/2014/main" id="{A9AB153B-AFF1-4043-8D3F-263FEAF2377E}"/>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tx1"/>
          </a:solidFill>
          <a:ln>
            <a:noFill/>
          </a:ln>
        </p:spPr>
        <p:txBody>
          <a:bodyPr vert="horz" wrap="square" lIns="29326" tIns="14663" rIns="29326" bIns="14663" numCol="1" anchor="t" anchorCtr="0" compatLnSpc="1">
            <a:prstTxWarp prst="textNoShape">
              <a:avLst/>
            </a:prstTxWarp>
          </a:bodyPr>
          <a:lstStyle/>
          <a:p>
            <a:endParaRPr lang="en-GB" sz="577"/>
          </a:p>
        </p:txBody>
      </p:sp>
      <p:sp>
        <p:nvSpPr>
          <p:cNvPr id="15" name="Footer Placeholder 4">
            <a:extLst>
              <a:ext uri="{FF2B5EF4-FFF2-40B4-BE49-F238E27FC236}">
                <a16:creationId xmlns:a16="http://schemas.microsoft.com/office/drawing/2014/main" id="{55D8EFE0-F00D-46BC-9E29-8C829868EFF4}"/>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tx1"/>
                </a:solidFill>
              </a:defRPr>
            </a:lvl1pPr>
          </a:lstStyle>
          <a:p>
            <a:pPr algn="r"/>
            <a:endParaRPr lang="en-GB"/>
          </a:p>
        </p:txBody>
      </p:sp>
      <p:sp>
        <p:nvSpPr>
          <p:cNvPr id="17" name="Date_DateCustomA">
            <a:extLst>
              <a:ext uri="{FF2B5EF4-FFF2-40B4-BE49-F238E27FC236}">
                <a16:creationId xmlns:a16="http://schemas.microsoft.com/office/drawing/2014/main" id="{BA90A93D-37F9-4C65-91AC-8C8D05B4C5B1}"/>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A8D4E2C-4AD4-4902-9AA6-258C412AEED1}" type="datetime1">
              <a:rPr lang="en-GB" smtClean="0"/>
              <a:t>06/09/2023</a:t>
            </a:fld>
            <a:endParaRPr lang="en-GB"/>
          </a:p>
        </p:txBody>
      </p:sp>
    </p:spTree>
    <p:extLst>
      <p:ext uri="{BB962C8B-B14F-4D97-AF65-F5344CB8AC3E}">
        <p14:creationId xmlns:p14="http://schemas.microsoft.com/office/powerpoint/2010/main" val="3416332022"/>
      </p:ext>
    </p:extLst>
  </p:cSld>
  <p:clrMapOvr>
    <a:overrideClrMapping bg1="dk1" tx1="lt1" bg2="dk2" tx2="lt2" accent1="accent1" accent2="accent2" accent3="accent3" accent4="accent4" accent5="accent5" accent6="accent6" hlink="hlink" folHlink="folHlink"/>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4" name="Title 7">
            <a:extLst>
              <a:ext uri="{FF2B5EF4-FFF2-40B4-BE49-F238E27FC236}">
                <a16:creationId xmlns:a16="http://schemas.microsoft.com/office/drawing/2014/main" id="{65C857B0-BA7F-4231-B59A-526700FAC84B}"/>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702E9997-006D-492C-9877-F7617EDD299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7" name="Date_DateCustomA">
            <a:extLst>
              <a:ext uri="{FF2B5EF4-FFF2-40B4-BE49-F238E27FC236}">
                <a16:creationId xmlns:a16="http://schemas.microsoft.com/office/drawing/2014/main" id="{5FC6988B-A4CB-4E12-A565-68D705C3ABC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2E10D1A-D613-41CE-B02A-846290684BA0}" type="datetime1">
              <a:rPr lang="en-GB" smtClean="0"/>
              <a:t>06/09/2023</a:t>
            </a:fld>
            <a:endParaRPr lang="en-GB"/>
          </a:p>
        </p:txBody>
      </p:sp>
    </p:spTree>
    <p:extLst>
      <p:ext uri="{BB962C8B-B14F-4D97-AF65-F5344CB8AC3E}">
        <p14:creationId xmlns:p14="http://schemas.microsoft.com/office/powerpoint/2010/main" val="122514384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3" name="Footer Placeholder 4">
            <a:extLst>
              <a:ext uri="{FF2B5EF4-FFF2-40B4-BE49-F238E27FC236}">
                <a16:creationId xmlns:a16="http://schemas.microsoft.com/office/drawing/2014/main" id="{3ED85EA1-D7DA-4042-AE58-E34BD5AC52E3}"/>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5" name="Date_DateCustomA">
            <a:extLst>
              <a:ext uri="{FF2B5EF4-FFF2-40B4-BE49-F238E27FC236}">
                <a16:creationId xmlns:a16="http://schemas.microsoft.com/office/drawing/2014/main" id="{235F65ED-2265-47AB-ACC6-E4B66C390755}"/>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47FB7D42-25F0-4925-AB91-37097B4A81F1}" type="datetime1">
              <a:rPr lang="en-GB" smtClean="0"/>
              <a:t>06/09/2023</a:t>
            </a:fld>
            <a:endParaRPr lang="en-GB"/>
          </a:p>
        </p:txBody>
      </p:sp>
    </p:spTree>
    <p:extLst>
      <p:ext uri="{BB962C8B-B14F-4D97-AF65-F5344CB8AC3E}">
        <p14:creationId xmlns:p14="http://schemas.microsoft.com/office/powerpoint/2010/main" val="116382812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End slide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2" name="Title Placeholder 1"/>
          <p:cNvSpPr>
            <a:spLocks noGrp="1"/>
          </p:cNvSpPr>
          <p:nvPr>
            <p:ph type="ctrTitle"/>
          </p:nvPr>
        </p:nvSpPr>
        <p:spPr>
          <a:xfrm>
            <a:off x="798617" y="452440"/>
            <a:ext cx="10590003" cy="1196444"/>
          </a:xfrm>
        </p:spPr>
        <p:txBody>
          <a:bodyPr tIns="0"/>
          <a:lstStyle>
            <a:lvl1pPr>
              <a:defRPr sz="1026" cap="all" baseline="0" smtClean="0">
                <a:solidFill>
                  <a:schemeClr val="bg1"/>
                </a:solidFill>
                <a:latin typeface="Verdana" pitchFamily="34" charset="0"/>
              </a:defRPr>
            </a:lvl1pPr>
          </a:lstStyle>
          <a:p>
            <a:r>
              <a:rPr lang="en-US" noProof="0"/>
              <a:t>Click to edit Master title style</a:t>
            </a:r>
            <a:endParaRPr lang="en-GB" noProof="0"/>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nr.›</a:t>
            </a:fld>
            <a:endParaRPr lang="en-GB"/>
          </a:p>
        </p:txBody>
      </p:sp>
      <p:sp>
        <p:nvSpPr>
          <p:cNvPr id="10" name="Footer Placeholder 4">
            <a:extLst>
              <a:ext uri="{FF2B5EF4-FFF2-40B4-BE49-F238E27FC236}">
                <a16:creationId xmlns:a16="http://schemas.microsoft.com/office/drawing/2014/main" id="{135857DB-8C0B-4148-8AB1-F694D65BFA7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5" name="Date_DateCustomA">
            <a:extLst>
              <a:ext uri="{FF2B5EF4-FFF2-40B4-BE49-F238E27FC236}">
                <a16:creationId xmlns:a16="http://schemas.microsoft.com/office/drawing/2014/main" id="{862E3217-7BDA-45E6-ADB1-C065AF264561}"/>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9270F80D-0DED-41DC-8003-ACA44099192B}" type="datetime1">
              <a:rPr lang="en-GB" smtClean="0"/>
              <a:t>06/09/2023</a:t>
            </a:fld>
            <a:endParaRPr lang="en-GB"/>
          </a:p>
        </p:txBody>
      </p:sp>
      <p:sp>
        <p:nvSpPr>
          <p:cNvPr id="11" name="Text Placeholder 2">
            <a:extLst>
              <a:ext uri="{FF2B5EF4-FFF2-40B4-BE49-F238E27FC236}">
                <a16:creationId xmlns:a16="http://schemas.microsoft.com/office/drawing/2014/main" id="{FCCD3D23-05BF-4B57-8284-15FF6D12171B}"/>
              </a:ext>
            </a:extLst>
          </p:cNvPr>
          <p:cNvSpPr>
            <a:spLocks noGrp="1"/>
          </p:cNvSpPr>
          <p:nvPr>
            <p:ph type="body" sz="quarter" idx="12" hasCustomPrompt="1"/>
          </p:nvPr>
        </p:nvSpPr>
        <p:spPr>
          <a:xfrm>
            <a:off x="798617" y="6158174"/>
            <a:ext cx="2826368" cy="255541"/>
          </a:xfrm>
          <a:blipFill>
            <a:blip r:embed="rId2"/>
            <a:stretch>
              <a:fillRect/>
            </a:stretch>
          </a:blipFill>
        </p:spPr>
        <p:txBody>
          <a:bodyPr/>
          <a:lstStyle>
            <a:lvl1pPr marL="0" indent="0">
              <a:buNone/>
              <a:defRPr sz="100">
                <a:noFill/>
              </a:defRPr>
            </a:lvl1pPr>
          </a:lstStyle>
          <a:p>
            <a:pPr lvl="0"/>
            <a:r>
              <a:rPr lang="en-US"/>
              <a:t>.</a:t>
            </a:r>
          </a:p>
        </p:txBody>
      </p:sp>
    </p:spTree>
    <p:extLst>
      <p:ext uri="{BB962C8B-B14F-4D97-AF65-F5344CB8AC3E}">
        <p14:creationId xmlns:p14="http://schemas.microsoft.com/office/powerpoint/2010/main" val="3827054176"/>
      </p:ext>
    </p:extLst>
  </p:cSld>
  <p:clrMapOvr>
    <a:overrideClrMapping bg1="lt1" tx1="dk1" bg2="lt2" tx2="dk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End slide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15" name="Title 1">
            <a:extLst>
              <a:ext uri="{FF2B5EF4-FFF2-40B4-BE49-F238E27FC236}">
                <a16:creationId xmlns:a16="http://schemas.microsoft.com/office/drawing/2014/main" id="{07DF7DBE-6CC3-4F9E-A396-E82820B89EC7}"/>
              </a:ext>
            </a:extLst>
          </p:cNvPr>
          <p:cNvSpPr>
            <a:spLocks noGrp="1"/>
          </p:cNvSpPr>
          <p:nvPr>
            <p:ph type="title" hasCustomPrompt="1"/>
          </p:nvPr>
        </p:nvSpPr>
        <p:spPr>
          <a:xfrm>
            <a:off x="798619" y="452439"/>
            <a:ext cx="4886960" cy="4431940"/>
          </a:xfrm>
        </p:spPr>
        <p:txBody>
          <a:bodyPr/>
          <a:lstStyle>
            <a:lvl1pPr>
              <a:defRPr>
                <a:solidFill>
                  <a:schemeClr val="bg1"/>
                </a:solidFill>
              </a:defRPr>
            </a:lvl1pPr>
          </a:lstStyle>
          <a:p>
            <a:r>
              <a:rPr lang="en-GB"/>
              <a:t>Thank you</a:t>
            </a:r>
          </a:p>
        </p:txBody>
      </p:sp>
      <p:sp>
        <p:nvSpPr>
          <p:cNvPr id="10" name="Text Placeholder 5">
            <a:extLst>
              <a:ext uri="{FF2B5EF4-FFF2-40B4-BE49-F238E27FC236}">
                <a16:creationId xmlns:a16="http://schemas.microsoft.com/office/drawing/2014/main" id="{7AAE5DB4-A422-4286-935C-1ABCA4CCEFA2}"/>
              </a:ext>
            </a:extLst>
          </p:cNvPr>
          <p:cNvSpPr>
            <a:spLocks noGrp="1"/>
          </p:cNvSpPr>
          <p:nvPr>
            <p:ph type="body" sz="quarter" idx="11" hasCustomPrompt="1"/>
          </p:nvPr>
        </p:nvSpPr>
        <p:spPr>
          <a:xfrm>
            <a:off x="798619" y="4970200"/>
            <a:ext cx="4886960" cy="365370"/>
          </a:xfrm>
        </p:spPr>
        <p:txBody>
          <a:bodyPr lIns="0" anchor="b" anchorCtr="0"/>
          <a:lstStyle>
            <a:lvl1pPr marL="0" indent="0">
              <a:buFont typeface="Arial" panose="020B0604020202020204" pitchFamily="34" charset="0"/>
              <a:buChar char="​"/>
              <a:defRPr sz="513">
                <a:solidFill>
                  <a:schemeClr val="bg1"/>
                </a:solidFill>
              </a:defRPr>
            </a:lvl1pPr>
          </a:lstStyle>
          <a:p>
            <a:pPr lvl="0"/>
            <a:r>
              <a:rPr lang="en-GB"/>
              <a:t>Name, Department </a:t>
            </a:r>
          </a:p>
        </p:txBody>
      </p:sp>
      <p:sp>
        <p:nvSpPr>
          <p:cNvPr id="6" name="Text Placeholder 5">
            <a:extLst>
              <a:ext uri="{FF2B5EF4-FFF2-40B4-BE49-F238E27FC236}">
                <a16:creationId xmlns:a16="http://schemas.microsoft.com/office/drawing/2014/main" id="{9B862EE0-F879-436B-A5EA-70A7F83ABF80}"/>
              </a:ext>
            </a:extLst>
          </p:cNvPr>
          <p:cNvSpPr>
            <a:spLocks noGrp="1"/>
          </p:cNvSpPr>
          <p:nvPr>
            <p:ph type="body" sz="quarter" idx="12" hasCustomPrompt="1"/>
          </p:nvPr>
        </p:nvSpPr>
        <p:spPr>
          <a:xfrm>
            <a:off x="798619" y="5332765"/>
            <a:ext cx="4886960" cy="424314"/>
          </a:xfrm>
        </p:spPr>
        <p:txBody>
          <a:bodyPr/>
          <a:lstStyle>
            <a:lvl1pPr marL="0" indent="0">
              <a:spcAft>
                <a:spcPts val="0"/>
              </a:spcAft>
              <a:buFontTx/>
              <a:buNone/>
              <a:defRPr sz="513">
                <a:solidFill>
                  <a:schemeClr val="bg1"/>
                </a:solidFill>
              </a:defRPr>
            </a:lvl1pPr>
            <a:lvl2pPr marL="126995" indent="0">
              <a:buFontTx/>
              <a:buNone/>
              <a:defRPr sz="513">
                <a:solidFill>
                  <a:schemeClr val="bg1"/>
                </a:solidFill>
              </a:defRPr>
            </a:lvl2pPr>
            <a:lvl3pPr marL="233208" indent="0">
              <a:buFontTx/>
              <a:buNone/>
              <a:defRPr sz="513">
                <a:solidFill>
                  <a:schemeClr val="bg1"/>
                </a:solidFill>
              </a:defRPr>
            </a:lvl3pPr>
            <a:lvl4pPr>
              <a:buFontTx/>
              <a:buNone/>
              <a:defRPr sz="513">
                <a:solidFill>
                  <a:schemeClr val="bg1"/>
                </a:solidFill>
              </a:defRPr>
            </a:lvl4pPr>
            <a:lvl5pPr>
              <a:buFontTx/>
              <a:buNone/>
              <a:defRPr sz="513">
                <a:solidFill>
                  <a:schemeClr val="bg1"/>
                </a:solidFill>
              </a:defRPr>
            </a:lvl5pPr>
          </a:lstStyle>
          <a:p>
            <a:pPr lvl="0"/>
            <a:r>
              <a:rPr lang="en-GB"/>
              <a:t>xxx@ramboll.com</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nr.›</a:t>
            </a:fld>
            <a:endParaRPr lang="en-GB"/>
          </a:p>
        </p:txBody>
      </p:sp>
      <p:sp>
        <p:nvSpPr>
          <p:cNvPr id="14" name="Footer Placeholder 4">
            <a:extLst>
              <a:ext uri="{FF2B5EF4-FFF2-40B4-BE49-F238E27FC236}">
                <a16:creationId xmlns:a16="http://schemas.microsoft.com/office/drawing/2014/main" id="{09855619-46E8-4B12-8D5A-DE355202193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8" name="Date_DateCustomA">
            <a:extLst>
              <a:ext uri="{FF2B5EF4-FFF2-40B4-BE49-F238E27FC236}">
                <a16:creationId xmlns:a16="http://schemas.microsoft.com/office/drawing/2014/main" id="{9CA6E42C-D397-4857-89FC-8B948A957D40}"/>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5E849237-3873-4459-A547-67B1C8011873}" type="datetime1">
              <a:rPr lang="en-GB" smtClean="0"/>
              <a:t>06/09/2023</a:t>
            </a:fld>
            <a:endParaRPr lang="en-GB"/>
          </a:p>
        </p:txBody>
      </p:sp>
      <p:pic>
        <p:nvPicPr>
          <p:cNvPr id="17" name="Picture 16">
            <a:extLst>
              <a:ext uri="{FF2B5EF4-FFF2-40B4-BE49-F238E27FC236}">
                <a16:creationId xmlns:a16="http://schemas.microsoft.com/office/drawing/2014/main" id="{649BD8C4-6612-438B-81F5-53DD9DF90E70}"/>
              </a:ext>
            </a:extLst>
          </p:cNvPr>
          <p:cNvPicPr>
            <a:picLocks noChangeAspect="1"/>
          </p:cNvPicPr>
          <p:nvPr userDrawn="1"/>
        </p:nvPicPr>
        <p:blipFill>
          <a:blip r:embed="rId2"/>
          <a:stretch>
            <a:fillRect/>
          </a:stretch>
        </p:blipFill>
        <p:spPr>
          <a:xfrm>
            <a:off x="798618" y="6158174"/>
            <a:ext cx="2826825" cy="255541"/>
          </a:xfrm>
          <a:prstGeom prst="rect">
            <a:avLst/>
          </a:prstGeom>
        </p:spPr>
      </p:pic>
    </p:spTree>
    <p:extLst>
      <p:ext uri="{BB962C8B-B14F-4D97-AF65-F5344CB8AC3E}">
        <p14:creationId xmlns:p14="http://schemas.microsoft.com/office/powerpoint/2010/main" val="3351188267"/>
      </p:ext>
    </p:extLst>
  </p:cSld>
  <p:clrMapOvr>
    <a:overrideClrMapping bg1="lt1" tx1="dk1" bg2="lt2" tx2="dk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End slide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pic>
        <p:nvPicPr>
          <p:cNvPr id="5" name="Picture 4">
            <a:extLst>
              <a:ext uri="{FF2B5EF4-FFF2-40B4-BE49-F238E27FC236}">
                <a16:creationId xmlns:a16="http://schemas.microsoft.com/office/drawing/2014/main" id="{550DA34D-CD01-4059-B449-4DCD238F6AE1}"/>
              </a:ext>
            </a:extLst>
          </p:cNvPr>
          <p:cNvPicPr>
            <a:picLocks noChangeAspect="1"/>
          </p:cNvPicPr>
          <p:nvPr userDrawn="1"/>
        </p:nvPicPr>
        <p:blipFill>
          <a:blip r:embed="rId2"/>
          <a:stretch>
            <a:fillRect/>
          </a:stretch>
        </p:blipFill>
        <p:spPr>
          <a:xfrm>
            <a:off x="1" y="1240"/>
            <a:ext cx="12192000" cy="6855521"/>
          </a:xfrm>
          <a:prstGeom prst="rect">
            <a:avLst/>
          </a:prstGeom>
        </p:spPr>
      </p:pic>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nr.›</a:t>
            </a:fld>
            <a:endParaRPr lang="en-GB"/>
          </a:p>
        </p:txBody>
      </p:sp>
      <p:sp>
        <p:nvSpPr>
          <p:cNvPr id="10" name="Footer Placeholder 4">
            <a:extLst>
              <a:ext uri="{FF2B5EF4-FFF2-40B4-BE49-F238E27FC236}">
                <a16:creationId xmlns:a16="http://schemas.microsoft.com/office/drawing/2014/main" id="{135857DB-8C0B-4148-8AB1-F694D65BFA7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5" name="Date_DateCustomA">
            <a:extLst>
              <a:ext uri="{FF2B5EF4-FFF2-40B4-BE49-F238E27FC236}">
                <a16:creationId xmlns:a16="http://schemas.microsoft.com/office/drawing/2014/main" id="{862E3217-7BDA-45E6-ADB1-C065AF264561}"/>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9270F80D-0DED-41DC-8003-ACA44099192B}" type="datetime1">
              <a:rPr lang="en-GB" smtClean="0"/>
              <a:t>06/09/2023</a:t>
            </a:fld>
            <a:endParaRPr lang="en-GB"/>
          </a:p>
        </p:txBody>
      </p:sp>
    </p:spTree>
    <p:extLst>
      <p:ext uri="{BB962C8B-B14F-4D97-AF65-F5344CB8AC3E}">
        <p14:creationId xmlns:p14="http://schemas.microsoft.com/office/powerpoint/2010/main" val="1343796918"/>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7F82B57-A829-4941-8BAC-1FE0A02EC16E}"/>
              </a:ext>
            </a:extLst>
          </p:cNvPr>
          <p:cNvGraphicFramePr>
            <a:graphicFrameLocks noChangeAspect="1"/>
          </p:cNvGraphicFramePr>
          <p:nvPr userDrawn="1">
            <p:custDataLst>
              <p:tags r:id="rId1"/>
            </p:custDataLst>
            <p:extLst>
              <p:ext uri="{D42A27DB-BD31-4B8C-83A1-F6EECF244321}">
                <p14:modId xmlns:p14="http://schemas.microsoft.com/office/powerpoint/2010/main" val="1708148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F7F82B57-A829-4941-8BAC-1FE0A02EC1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D74F0F3-9842-478D-99B7-277D0E19CEC9}" type="datetime1">
              <a:rPr lang="da-DK" smtClean="0"/>
              <a:pPr/>
              <a:t>06-09-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8247501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D3BE60-37F6-4FB6-8D33-8CFF25DED6D0}"/>
              </a:ext>
            </a:extLst>
          </p:cNvPr>
          <p:cNvGraphicFramePr>
            <a:graphicFrameLocks noChangeAspect="1"/>
          </p:cNvGraphicFramePr>
          <p:nvPr userDrawn="1">
            <p:custDataLst>
              <p:tags r:id="rId1"/>
            </p:custDataLst>
            <p:extLst>
              <p:ext uri="{D42A27DB-BD31-4B8C-83A1-F6EECF244321}">
                <p14:modId xmlns:p14="http://schemas.microsoft.com/office/powerpoint/2010/main" val="259510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54D3BE60-37F6-4FB6-8D33-8CFF25DED6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33B4BAF-2B92-4850-839C-D15349852EB5}" type="datetime1">
              <a:rPr lang="da-DK" smtClean="0"/>
              <a:pPr/>
              <a:t>06-09-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26103065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4BA132-22C9-4678-8278-1658D4954BF9}"/>
              </a:ext>
            </a:extLst>
          </p:cNvPr>
          <p:cNvGraphicFramePr>
            <a:graphicFrameLocks noChangeAspect="1"/>
          </p:cNvGraphicFramePr>
          <p:nvPr userDrawn="1">
            <p:custDataLst>
              <p:tags r:id="rId1"/>
            </p:custDataLst>
            <p:extLst>
              <p:ext uri="{D42A27DB-BD31-4B8C-83A1-F6EECF244321}">
                <p14:modId xmlns:p14="http://schemas.microsoft.com/office/powerpoint/2010/main" val="3953220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BE4BA132-22C9-4678-8278-1658D4954B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7B5352C5-81EC-4100-8EF4-0409291AC406}" type="datetime1">
              <a:rPr lang="da-DK" smtClean="0"/>
              <a:pPr/>
              <a:t>06-09-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36716850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08A3D5-478B-48A8-8581-C5B287E7C208}"/>
              </a:ext>
            </a:extLst>
          </p:cNvPr>
          <p:cNvGraphicFramePr>
            <a:graphicFrameLocks noChangeAspect="1"/>
          </p:cNvGraphicFramePr>
          <p:nvPr userDrawn="1">
            <p:custDataLst>
              <p:tags r:id="rId1"/>
            </p:custDataLst>
            <p:extLst>
              <p:ext uri="{D42A27DB-BD31-4B8C-83A1-F6EECF244321}">
                <p14:modId xmlns:p14="http://schemas.microsoft.com/office/powerpoint/2010/main" val="3206911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808A3D5-478B-48A8-8581-C5B287E7C2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8A4F6F59-6CB3-4166-9CD8-0F5BCD967261}" type="datetime1">
              <a:rPr lang="da-DK" smtClean="0"/>
              <a:pPr/>
              <a:t>06-09-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70262089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76188E-E253-4A4B-BD8D-1783856CAA04}"/>
              </a:ext>
            </a:extLst>
          </p:cNvPr>
          <p:cNvGraphicFramePr>
            <a:graphicFrameLocks noChangeAspect="1"/>
          </p:cNvGraphicFramePr>
          <p:nvPr userDrawn="1">
            <p:custDataLst>
              <p:tags r:id="rId1"/>
            </p:custDataLst>
            <p:extLst>
              <p:ext uri="{D42A27DB-BD31-4B8C-83A1-F6EECF244321}">
                <p14:modId xmlns:p14="http://schemas.microsoft.com/office/powerpoint/2010/main" val="4136364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E076188E-E253-4A4B-BD8D-1783856CAA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lvl1pPr rtl="0">
              <a:defRPr/>
            </a:lvl1pPr>
          </a:lstStyle>
          <a:p>
            <a:fld id="{6ACCEA19-5171-4127-A28C-C6D875C2D7D4}" type="datetime1">
              <a:rPr lang="da-DK" smtClean="0"/>
              <a:pPr/>
              <a:t>06-09-2023</a:t>
            </a:fld>
            <a:endParaRPr lang="da-DK"/>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9969635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B46BAA-A2E8-457D-94AC-1857CC2E6494}"/>
              </a:ext>
            </a:extLst>
          </p:cNvPr>
          <p:cNvGraphicFramePr>
            <a:graphicFrameLocks noChangeAspect="1"/>
          </p:cNvGraphicFramePr>
          <p:nvPr userDrawn="1">
            <p:custDataLst>
              <p:tags r:id="rId1"/>
            </p:custDataLst>
            <p:extLst>
              <p:ext uri="{D42A27DB-BD31-4B8C-83A1-F6EECF244321}">
                <p14:modId xmlns:p14="http://schemas.microsoft.com/office/powerpoint/2010/main" val="1559861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01B46BAA-A2E8-457D-94AC-1857CC2E64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1B42BF88-9EAB-4FF1-8C7D-3D1A57D94546}" type="datetime1">
              <a:rPr lang="da-DK" smtClean="0"/>
              <a:pPr/>
              <a:t>06-09-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4356286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9C1A5A-EB28-4216-AC93-A944D445B0E8}"/>
              </a:ext>
            </a:extLst>
          </p:cNvPr>
          <p:cNvGraphicFramePr>
            <a:graphicFrameLocks noChangeAspect="1"/>
          </p:cNvGraphicFramePr>
          <p:nvPr userDrawn="1">
            <p:custDataLst>
              <p:tags r:id="rId1"/>
            </p:custDataLst>
            <p:extLst>
              <p:ext uri="{D42A27DB-BD31-4B8C-83A1-F6EECF244321}">
                <p14:modId xmlns:p14="http://schemas.microsoft.com/office/powerpoint/2010/main" val="47672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E9C1A5A-EB28-4216-AC93-A944D445B0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8"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9AA3F283-0871-412B-8A65-5C27135FA311}" type="datetime1">
              <a:rPr lang="da-DK" smtClean="0"/>
              <a:pPr/>
              <a:t>06-09-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57416277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60DACD-5627-4F02-A9F8-42F94F50466D}"/>
              </a:ext>
            </a:extLst>
          </p:cNvPr>
          <p:cNvGraphicFramePr>
            <a:graphicFrameLocks noChangeAspect="1"/>
          </p:cNvGraphicFramePr>
          <p:nvPr userDrawn="1">
            <p:custDataLst>
              <p:tags r:id="rId1"/>
            </p:custDataLst>
            <p:extLst>
              <p:ext uri="{D42A27DB-BD31-4B8C-83A1-F6EECF244321}">
                <p14:modId xmlns:p14="http://schemas.microsoft.com/office/powerpoint/2010/main" val="3428621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6B60DACD-5627-4F02-A9F8-42F94F5046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302000"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lvl1pPr rtl="0">
              <a:defRPr/>
            </a:lvl1pPr>
          </a:lstStyle>
          <a:p>
            <a:fld id="{A67BCEC0-92C2-4FF9-A782-344903368E13}" type="datetime1">
              <a:rPr lang="da-DK" smtClean="0"/>
              <a:pPr/>
              <a:t>06-09-2023</a:t>
            </a:fld>
            <a:endParaRPr lang="da-DK"/>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lvl1pPr rtl="0">
              <a:defRPr/>
            </a:lvl1pPr>
          </a:lstStyle>
          <a:p>
            <a:endParaRPr lang="da-DK"/>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55366551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D67D169-DC2C-4C1E-847B-EE1C8436024E}"/>
              </a:ext>
            </a:extLst>
          </p:cNvPr>
          <p:cNvGraphicFramePr>
            <a:graphicFrameLocks noChangeAspect="1"/>
          </p:cNvGraphicFramePr>
          <p:nvPr userDrawn="1">
            <p:custDataLst>
              <p:tags r:id="rId1"/>
            </p:custDataLst>
            <p:extLst>
              <p:ext uri="{D42A27DB-BD31-4B8C-83A1-F6EECF244321}">
                <p14:modId xmlns:p14="http://schemas.microsoft.com/office/powerpoint/2010/main" val="299017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7D67D169-DC2C-4C1E-847B-EE1C843602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lvl1pPr>
          </a:lstStyle>
          <a:p>
            <a:fld id="{314D1594-E68D-46B5-98E0-BADEBF2D8E2F}" type="datetime1">
              <a:rPr lang="da-DK" smtClean="0"/>
              <a:pPr/>
              <a:t>06-09-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350232252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DE568B4-F905-46CA-9BB1-DEA2C5A448B9}"/>
              </a:ext>
            </a:extLst>
          </p:cNvPr>
          <p:cNvGraphicFramePr>
            <a:graphicFrameLocks noChangeAspect="1"/>
          </p:cNvGraphicFramePr>
          <p:nvPr userDrawn="1">
            <p:custDataLst>
              <p:tags r:id="rId1"/>
            </p:custDataLst>
            <p:extLst>
              <p:ext uri="{D42A27DB-BD31-4B8C-83A1-F6EECF244321}">
                <p14:modId xmlns:p14="http://schemas.microsoft.com/office/powerpoint/2010/main" val="13645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EDE568B4-F905-46CA-9BB1-DEA2C5A448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lvl1pPr rtl="0">
              <a:defRPr/>
            </a:lvl1pPr>
          </a:lstStyle>
          <a:p>
            <a:fld id="{265A58E6-12DB-4BF0-8165-AE5E60E9367A}" type="datetime1">
              <a:rPr lang="da-DK" smtClean="0"/>
              <a:pPr/>
              <a:t>06-09-2023</a:t>
            </a:fld>
            <a:endParaRPr lang="da-DK"/>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279330793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740CFA-D8D0-47FA-977A-041A1AEF5272}"/>
              </a:ext>
            </a:extLst>
          </p:cNvPr>
          <p:cNvGraphicFramePr>
            <a:graphicFrameLocks noChangeAspect="1"/>
          </p:cNvGraphicFramePr>
          <p:nvPr userDrawn="1">
            <p:custDataLst>
              <p:tags r:id="rId1"/>
            </p:custDataLst>
            <p:extLst>
              <p:ext uri="{D42A27DB-BD31-4B8C-83A1-F6EECF244321}">
                <p14:modId xmlns:p14="http://schemas.microsoft.com/office/powerpoint/2010/main" val="77703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3740CFA-D8D0-47FA-977A-041A1AEF52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904988D6-6DD0-4C39-8AE1-A7E25B5D1BF4}" type="datetime1">
              <a:rPr lang="da-DK" smtClean="0"/>
              <a:pPr/>
              <a:t>06-09-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66005419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BDDF649-3F2F-4F6B-B786-8C0CF77586C4}"/>
              </a:ext>
            </a:extLst>
          </p:cNvPr>
          <p:cNvGraphicFramePr>
            <a:graphicFrameLocks noChangeAspect="1"/>
          </p:cNvGraphicFramePr>
          <p:nvPr userDrawn="1">
            <p:custDataLst>
              <p:tags r:id="rId1"/>
            </p:custDataLst>
            <p:extLst>
              <p:ext uri="{D42A27DB-BD31-4B8C-83A1-F6EECF244321}">
                <p14:modId xmlns:p14="http://schemas.microsoft.com/office/powerpoint/2010/main" val="778587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FBDDF649-3F2F-4F6B-B786-8C0CF77586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tx2"/>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DC7F6929-E9B5-46A3-B5E9-6150C85426CE}" type="datetime1">
              <a:rPr lang="da-DK" smtClean="0"/>
              <a:pPr/>
              <a:t>06-09-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nr.›</a:t>
            </a:fld>
            <a:endParaRPr lang="da-DK"/>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86216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F20F4B-6951-4CEB-845B-4EE79F2B6881}"/>
              </a:ext>
            </a:extLst>
          </p:cNvPr>
          <p:cNvGraphicFramePr>
            <a:graphicFrameLocks noChangeAspect="1"/>
          </p:cNvGraphicFramePr>
          <p:nvPr userDrawn="1">
            <p:custDataLst>
              <p:tags r:id="rId1"/>
            </p:custDataLst>
            <p:extLst>
              <p:ext uri="{D42A27DB-BD31-4B8C-83A1-F6EECF244321}">
                <p14:modId xmlns:p14="http://schemas.microsoft.com/office/powerpoint/2010/main" val="119825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2EF20F4B-6951-4CEB-845B-4EE79F2B68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59FA29BE-106E-4609-97DE-EDE0B0C087F7}" type="datetime1">
              <a:rPr lang="da-DK" smtClean="0"/>
              <a:pPr/>
              <a:t>06-09-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nr.›</a:t>
            </a:fld>
            <a:endParaRPr lang="da-DK"/>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247462000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17C75E44-E8D7-4390-A552-8BCF697EBDF3}"/>
              </a:ext>
            </a:extLst>
          </p:cNvPr>
          <p:cNvGraphicFramePr>
            <a:graphicFrameLocks noChangeAspect="1"/>
          </p:cNvGraphicFramePr>
          <p:nvPr userDrawn="1">
            <p:custDataLst>
              <p:tags r:id="rId1"/>
            </p:custDataLst>
            <p:extLst>
              <p:ext uri="{D42A27DB-BD31-4B8C-83A1-F6EECF244321}">
                <p14:modId xmlns:p14="http://schemas.microsoft.com/office/powerpoint/2010/main" val="182054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17C75E44-E8D7-4390-A552-8BCF697EB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3EFAF684-C611-4113-B7D5-C3E527F22C4F}" type="datetime1">
              <a:rPr lang="da-DK" smtClean="0"/>
              <a:pPr/>
              <a:t>06-09-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nr.›</a:t>
            </a:fld>
            <a:endParaRPr lang="da-DK"/>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83064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500FB85-A754-4E47-8C8C-87941D6B2819}"/>
              </a:ext>
            </a:extLst>
          </p:cNvPr>
          <p:cNvGraphicFramePr>
            <a:graphicFrameLocks noChangeAspect="1"/>
          </p:cNvGraphicFramePr>
          <p:nvPr userDrawn="1">
            <p:custDataLst>
              <p:tags r:id="rId1"/>
            </p:custDataLst>
            <p:extLst>
              <p:ext uri="{D42A27DB-BD31-4B8C-83A1-F6EECF244321}">
                <p14:modId xmlns:p14="http://schemas.microsoft.com/office/powerpoint/2010/main" val="390953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C500FB85-A754-4E47-8C8C-87941D6B28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rtl="0">
              <a:defRPr sz="100">
                <a:noFill/>
              </a:defRPr>
            </a:lvl1pPr>
          </a:lstStyle>
          <a:p>
            <a:fld id="{C4B04AE4-03BB-4174-AD21-7567A4C959F4}" type="datetime1">
              <a:rPr lang="da-DK" smtClean="0"/>
              <a:pPr/>
              <a:t>06-09-2023</a:t>
            </a:fld>
            <a:endParaRPr lang="da-DK"/>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lvl1pPr rtl="0">
              <a:defRPr/>
            </a:lvl1pPr>
          </a:lstStyle>
          <a:p>
            <a:endParaRPr lang="da-DK"/>
          </a:p>
        </p:txBody>
      </p:sp>
    </p:spTree>
    <p:extLst>
      <p:ext uri="{BB962C8B-B14F-4D97-AF65-F5344CB8AC3E}">
        <p14:creationId xmlns:p14="http://schemas.microsoft.com/office/powerpoint/2010/main" val="184592025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A2EA8C-0D85-4C0B-ACDB-A259F1408229}"/>
              </a:ext>
            </a:extLst>
          </p:cNvPr>
          <p:cNvGraphicFramePr>
            <a:graphicFrameLocks noChangeAspect="1"/>
          </p:cNvGraphicFramePr>
          <p:nvPr userDrawn="1">
            <p:custDataLst>
              <p:tags r:id="rId1"/>
            </p:custDataLst>
            <p:extLst>
              <p:ext uri="{D42A27DB-BD31-4B8C-83A1-F6EECF244321}">
                <p14:modId xmlns:p14="http://schemas.microsoft.com/office/powerpoint/2010/main" val="3745654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C1A2EA8C-0D85-4C0B-ACDB-A259F14082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lvl1pPr rtl="0">
              <a:defRPr/>
            </a:lvl1pPr>
          </a:lstStyle>
          <a:p>
            <a:fld id="{3A46E679-721E-4A44-A034-B3833441D488}" type="datetime1">
              <a:rPr lang="da-DK" smtClean="0"/>
              <a:pPr/>
              <a:t>06-09-2023</a:t>
            </a:fld>
            <a:endParaRPr lang="da-DK"/>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590505054"/>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1DCF9-DF37-48BB-9DF8-64E9ADDE1E7E}"/>
              </a:ext>
            </a:extLst>
          </p:cNvPr>
          <p:cNvGraphicFramePr>
            <a:graphicFrameLocks noChangeAspect="1"/>
          </p:cNvGraphicFramePr>
          <p:nvPr userDrawn="1">
            <p:custDataLst>
              <p:tags r:id="rId1"/>
            </p:custDataLst>
            <p:extLst>
              <p:ext uri="{D42A27DB-BD31-4B8C-83A1-F6EECF244321}">
                <p14:modId xmlns:p14="http://schemas.microsoft.com/office/powerpoint/2010/main" val="1787301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1B1DCF9-DF37-48BB-9DF8-64E9ADDE1E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ED06D66A-00D9-479B-9856-27577BF36107}" type="datetime1">
              <a:rPr lang="da-DK" smtClean="0"/>
              <a:pPr/>
              <a:t>06-09-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vert="horz" anchor="t" anchorCtr="0"/>
          <a:lstStyle>
            <a:lvl1pPr algn="l" rtl="0">
              <a:lnSpc>
                <a:spcPct val="91000"/>
              </a:lnSpc>
              <a:defRPr sz="4100">
                <a:solidFill>
                  <a:schemeClr val="bg1"/>
                </a:solidFill>
              </a:defRPr>
            </a:lvl1pPr>
          </a:lstStyle>
          <a:p>
            <a:r>
              <a:rPr lang="da-DK"/>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766716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02D016-0FC6-4114-A928-57BCB225D30C}"/>
              </a:ext>
            </a:extLst>
          </p:cNvPr>
          <p:cNvGraphicFramePr>
            <a:graphicFrameLocks noChangeAspect="1"/>
          </p:cNvGraphicFramePr>
          <p:nvPr userDrawn="1">
            <p:custDataLst>
              <p:tags r:id="rId1"/>
            </p:custDataLst>
            <p:extLst>
              <p:ext uri="{D42A27DB-BD31-4B8C-83A1-F6EECF244321}">
                <p14:modId xmlns:p14="http://schemas.microsoft.com/office/powerpoint/2010/main" val="957947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A02D016-0FC6-4114-A928-57BCB225D3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rtl="0">
              <a:defRPr sz="100">
                <a:noFill/>
              </a:defRPr>
            </a:lvl1pPr>
          </a:lstStyle>
          <a:p>
            <a:fld id="{F6C1ADEE-7B52-423A-9878-0398FEFAF71F}" type="datetime1">
              <a:rPr lang="da-DK" smtClean="0"/>
              <a:pPr/>
              <a:t>06-09-2023</a:t>
            </a:fld>
            <a:endParaRPr lang="da-DK"/>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lvl1pPr rtl="0">
              <a:defRPr/>
            </a:lvl1pPr>
          </a:lstStyle>
          <a:p>
            <a:endParaRPr lang="da-DK"/>
          </a:p>
        </p:txBody>
      </p:sp>
    </p:spTree>
    <p:extLst>
      <p:ext uri="{BB962C8B-B14F-4D97-AF65-F5344CB8AC3E}">
        <p14:creationId xmlns:p14="http://schemas.microsoft.com/office/powerpoint/2010/main" val="2475563379"/>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6E0B296-B989-41FA-8D8F-F0016D23F026}"/>
              </a:ext>
            </a:extLst>
          </p:cNvPr>
          <p:cNvGraphicFramePr>
            <a:graphicFrameLocks noChangeAspect="1"/>
          </p:cNvGraphicFramePr>
          <p:nvPr userDrawn="1">
            <p:custDataLst>
              <p:tags r:id="rId1"/>
            </p:custDataLst>
            <p:extLst>
              <p:ext uri="{D42A27DB-BD31-4B8C-83A1-F6EECF244321}">
                <p14:modId xmlns:p14="http://schemas.microsoft.com/office/powerpoint/2010/main" val="2651852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E6E0B296-B989-41FA-8D8F-F0016D23F0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lvl1pPr rtl="0">
              <a:defRPr/>
            </a:lvl1pPr>
          </a:lstStyle>
          <a:p>
            <a:fld id="{3FD627AC-F023-4E38-BBE2-8CC6A4B15F9B}" type="datetime1">
              <a:rPr lang="da-DK" smtClean="0"/>
              <a:pPr/>
              <a:t>06-09-2023</a:t>
            </a:fld>
            <a:endParaRPr lang="da-DK"/>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368981122"/>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9D3CCD-B301-47C4-A93F-E7AE8BEC37C6}"/>
              </a:ext>
            </a:extLst>
          </p:cNvPr>
          <p:cNvGraphicFramePr>
            <a:graphicFrameLocks noChangeAspect="1"/>
          </p:cNvGraphicFramePr>
          <p:nvPr userDrawn="1">
            <p:custDataLst>
              <p:tags r:id="rId1"/>
            </p:custDataLst>
            <p:extLst>
              <p:ext uri="{D42A27DB-BD31-4B8C-83A1-F6EECF244321}">
                <p14:modId xmlns:p14="http://schemas.microsoft.com/office/powerpoint/2010/main" val="2940210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C9D3CCD-B301-47C4-A93F-E7AE8BEC37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rtl="0">
              <a:defRPr sz="100">
                <a:noFill/>
              </a:defRPr>
            </a:lvl1pPr>
          </a:lstStyle>
          <a:p>
            <a:fld id="{791AE312-9C38-4B88-A1BD-03872F0FCB4A}" type="datetime1">
              <a:rPr lang="da-DK" smtClean="0"/>
              <a:pPr/>
              <a:t>06-09-2023</a:t>
            </a:fld>
            <a:endParaRPr lang="da-DK"/>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rtl="0">
              <a:defRPr>
                <a:solidFill>
                  <a:schemeClr val="bg1"/>
                </a:solidFill>
              </a:defRPr>
            </a:lvl1pPr>
          </a:lstStyle>
          <a:p>
            <a:endParaRPr lang="da-DK"/>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275156765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D076864-73B2-46AC-82B9-3F6ED290747F}"/>
              </a:ext>
            </a:extLst>
          </p:cNvPr>
          <p:cNvGraphicFramePr>
            <a:graphicFrameLocks noChangeAspect="1"/>
          </p:cNvGraphicFramePr>
          <p:nvPr userDrawn="1">
            <p:custDataLst>
              <p:tags r:id="rId1"/>
            </p:custDataLst>
            <p:extLst>
              <p:ext uri="{D42A27DB-BD31-4B8C-83A1-F6EECF244321}">
                <p14:modId xmlns:p14="http://schemas.microsoft.com/office/powerpoint/2010/main" val="1966776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6D076864-73B2-46AC-82B9-3F6ED29074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50802"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bg1"/>
                </a:solidFill>
              </a:defRPr>
            </a:lvl1pPr>
          </a:lstStyle>
          <a:p>
            <a:fld id="{B28D1D58-AB37-4343-ADE9-EEBE954DF792}" type="datetime1">
              <a:rPr lang="da-DK" smtClean="0"/>
              <a:pPr/>
              <a:t>06-09-2023</a:t>
            </a:fld>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bg1"/>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409792071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A7D7B5-B60E-4F01-A5D4-9EC13B1333FC}"/>
              </a:ext>
            </a:extLst>
          </p:cNvPr>
          <p:cNvGraphicFramePr>
            <a:graphicFrameLocks noChangeAspect="1"/>
          </p:cNvGraphicFramePr>
          <p:nvPr userDrawn="1">
            <p:custDataLst>
              <p:tags r:id="rId1"/>
            </p:custDataLst>
            <p:extLst>
              <p:ext uri="{D42A27DB-BD31-4B8C-83A1-F6EECF244321}">
                <p14:modId xmlns:p14="http://schemas.microsoft.com/office/powerpoint/2010/main" val="2783326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6AA7D7B5-B60E-4F01-A5D4-9EC13B133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58225" y="654051"/>
            <a:ext cx="4563272"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lvl1pPr rtl="0">
              <a:defRPr/>
            </a:lvl1pPr>
          </a:lstStyle>
          <a:p>
            <a:fld id="{06093368-26E3-4532-8FD8-7B783022E688}" type="datetime1">
              <a:rPr lang="da-DK" smtClean="0"/>
              <a:pPr/>
              <a:t>06-09-2023</a:t>
            </a:fld>
            <a:endParaRPr lang="da-DK"/>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rtl="0">
              <a:defRPr>
                <a:solidFill>
                  <a:schemeClr val="bg1"/>
                </a:solidFill>
              </a:defRPr>
            </a:lvl1pPr>
          </a:lstStyle>
          <a:p>
            <a:endParaRPr lang="da-DK"/>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63308567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C4A377-AF00-475C-BBCA-2D62E63D9C7A}"/>
              </a:ext>
            </a:extLst>
          </p:cNvPr>
          <p:cNvGraphicFramePr>
            <a:graphicFrameLocks noChangeAspect="1"/>
          </p:cNvGraphicFramePr>
          <p:nvPr userDrawn="1">
            <p:custDataLst>
              <p:tags r:id="rId1"/>
            </p:custDataLst>
            <p:extLst>
              <p:ext uri="{D42A27DB-BD31-4B8C-83A1-F6EECF244321}">
                <p14:modId xmlns:p14="http://schemas.microsoft.com/office/powerpoint/2010/main" val="51601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3C4A377-AF00-475C-BBCA-2D62E63D9C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lvl1pPr rtl="0">
              <a:defRPr/>
            </a:lvl1pPr>
          </a:lstStyle>
          <a:p>
            <a:fld id="{851E3A26-CACC-472F-999E-6CEDC51DAFFB}" type="datetime1">
              <a:rPr lang="da-DK" smtClean="0"/>
              <a:pPr/>
              <a:t>06-09-2023</a:t>
            </a:fld>
            <a:endParaRPr lang="da-DK"/>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91409315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5C503-7C78-46DF-824F-5975E435B442}"/>
              </a:ext>
            </a:extLst>
          </p:cNvPr>
          <p:cNvGraphicFramePr>
            <a:graphicFrameLocks noChangeAspect="1"/>
          </p:cNvGraphicFramePr>
          <p:nvPr userDrawn="1">
            <p:custDataLst>
              <p:tags r:id="rId1"/>
            </p:custDataLst>
            <p:extLst>
              <p:ext uri="{D42A27DB-BD31-4B8C-83A1-F6EECF244321}">
                <p14:modId xmlns:p14="http://schemas.microsoft.com/office/powerpoint/2010/main" val="704113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A15C503-7C78-46DF-824F-5975E435B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48399" y="654050"/>
            <a:ext cx="6184800" cy="2349449"/>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lvl1pPr rtl="0">
              <a:defRPr/>
            </a:lvl1pPr>
          </a:lstStyle>
          <a:p>
            <a:fld id="{923212C7-A548-4370-9C24-272889F12011}" type="datetime1">
              <a:rPr lang="da-DK" smtClean="0"/>
              <a:pPr/>
              <a:t>06-09-2023</a:t>
            </a:fld>
            <a:endParaRPr lang="da-DK"/>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lvl1pPr rtl="0">
              <a:defRPr/>
            </a:lvl1pPr>
          </a:lstStyle>
          <a:p>
            <a:endParaRPr lang="da-DK"/>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409627768"/>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E480AF-7764-47E3-A9F5-384AC9908E98}"/>
              </a:ext>
            </a:extLst>
          </p:cNvPr>
          <p:cNvGraphicFramePr>
            <a:graphicFrameLocks noChangeAspect="1"/>
          </p:cNvGraphicFramePr>
          <p:nvPr userDrawn="1">
            <p:custDataLst>
              <p:tags r:id="rId1"/>
            </p:custDataLst>
            <p:extLst>
              <p:ext uri="{D42A27DB-BD31-4B8C-83A1-F6EECF244321}">
                <p14:modId xmlns:p14="http://schemas.microsoft.com/office/powerpoint/2010/main" val="238952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4E480AF-7764-47E3-A9F5-384AC9908E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lvl1pPr rtl="0">
              <a:defRPr/>
            </a:lvl1pPr>
          </a:lstStyle>
          <a:p>
            <a:fld id="{3393CB94-5BA6-4B5C-8025-21D6F4E52D5E}" type="datetime1">
              <a:rPr lang="da-DK" smtClean="0"/>
              <a:pPr/>
              <a:t>06-09-2023</a:t>
            </a:fld>
            <a:endParaRPr lang="da-DK"/>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95980719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6F77EE-4F2E-4D86-86A3-96B21BDC1F10}"/>
              </a:ext>
            </a:extLst>
          </p:cNvPr>
          <p:cNvGraphicFramePr>
            <a:graphicFrameLocks noChangeAspect="1"/>
          </p:cNvGraphicFramePr>
          <p:nvPr userDrawn="1">
            <p:custDataLst>
              <p:tags r:id="rId1"/>
            </p:custDataLst>
            <p:extLst>
              <p:ext uri="{D42A27DB-BD31-4B8C-83A1-F6EECF244321}">
                <p14:modId xmlns:p14="http://schemas.microsoft.com/office/powerpoint/2010/main" val="1514389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2B6F77EE-4F2E-4D86-86A3-96B21BDC1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7260312" y="654051"/>
            <a:ext cx="4575290" cy="2349448"/>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rtl="0">
              <a:defRPr>
                <a:solidFill>
                  <a:schemeClr val="tx2"/>
                </a:solidFill>
              </a:defRPr>
            </a:lvl1pPr>
          </a:lstStyle>
          <a:p>
            <a:fld id="{29D73515-F0A6-4B30-A688-5D4CF44B9186}" type="datetime1">
              <a:rPr lang="da-DK" smtClean="0"/>
              <a:pPr/>
              <a:t>06-09-2023</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rtl="0">
              <a:defRPr>
                <a:solidFill>
                  <a:schemeClr val="tx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76643522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0DB989-1269-4FDF-9A6E-D44A24AEC686}"/>
              </a:ext>
            </a:extLst>
          </p:cNvPr>
          <p:cNvGraphicFramePr>
            <a:graphicFrameLocks noChangeAspect="1"/>
          </p:cNvGraphicFramePr>
          <p:nvPr userDrawn="1">
            <p:custDataLst>
              <p:tags r:id="rId1"/>
            </p:custDataLst>
            <p:extLst>
              <p:ext uri="{D42A27DB-BD31-4B8C-83A1-F6EECF244321}">
                <p14:modId xmlns:p14="http://schemas.microsoft.com/office/powerpoint/2010/main" val="35232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C90DB989-1269-4FDF-9A6E-D44A24AEC6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360000" y="654051"/>
            <a:ext cx="3584974" cy="2136774"/>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lvl1pPr rtl="0">
              <a:defRPr/>
            </a:lvl1pPr>
          </a:lstStyle>
          <a:p>
            <a:fld id="{B6F065B1-CCC8-4072-99B6-C71232109F4F}" type="datetime1">
              <a:rPr lang="da-DK" smtClean="0"/>
              <a:pPr/>
              <a:t>06-09-2023</a:t>
            </a:fld>
            <a:endParaRPr lang="da-DK"/>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08307709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DC2A11-1DD0-425F-A52D-2082C12E4E36}"/>
              </a:ext>
            </a:extLst>
          </p:cNvPr>
          <p:cNvGraphicFramePr>
            <a:graphicFrameLocks noChangeAspect="1"/>
          </p:cNvGraphicFramePr>
          <p:nvPr userDrawn="1">
            <p:custDataLst>
              <p:tags r:id="rId1"/>
            </p:custDataLst>
            <p:extLst>
              <p:ext uri="{D42A27DB-BD31-4B8C-83A1-F6EECF244321}">
                <p14:modId xmlns:p14="http://schemas.microsoft.com/office/powerpoint/2010/main" val="2765510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36DC2A11-1DD0-425F-A52D-2082C12E4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2D3E1E10-4E6B-4C9C-B68B-DC96BC56ABFC}" type="datetime1">
              <a:rPr lang="da-DK" smtClean="0"/>
              <a:pPr/>
              <a:t>06-09-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474321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920216F-6E12-4240-AB6D-EF417D72D626}"/>
              </a:ext>
            </a:extLst>
          </p:cNvPr>
          <p:cNvGraphicFramePr>
            <a:graphicFrameLocks noChangeAspect="1"/>
          </p:cNvGraphicFramePr>
          <p:nvPr userDrawn="1">
            <p:custDataLst>
              <p:tags r:id="rId1"/>
            </p:custDataLst>
            <p:extLst>
              <p:ext uri="{D42A27DB-BD31-4B8C-83A1-F6EECF244321}">
                <p14:modId xmlns:p14="http://schemas.microsoft.com/office/powerpoint/2010/main" val="41226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9920216F-6E12-4240-AB6D-EF417D72D6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60312" y="654051"/>
            <a:ext cx="4575290" cy="2349448"/>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accent2"/>
                </a:solidFill>
              </a:defRPr>
            </a:lvl1pPr>
          </a:lstStyle>
          <a:p>
            <a:fld id="{4C0216E3-463B-4CB8-BE43-497F498BEEEE}" type="datetime1">
              <a:rPr lang="da-DK" smtClean="0"/>
              <a:pPr/>
              <a:t>06-09-2023</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rtl="0">
              <a:defRPr>
                <a:solidFill>
                  <a:schemeClr val="accent2"/>
                </a:solidFill>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accent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479295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AD7A57-5211-48E9-B1E5-AC3DD8BD021E}"/>
              </a:ext>
            </a:extLst>
          </p:cNvPr>
          <p:cNvGraphicFramePr>
            <a:graphicFrameLocks noChangeAspect="1"/>
          </p:cNvGraphicFramePr>
          <p:nvPr userDrawn="1">
            <p:custDataLst>
              <p:tags r:id="rId1"/>
            </p:custDataLst>
            <p:extLst>
              <p:ext uri="{D42A27DB-BD31-4B8C-83A1-F6EECF244321}">
                <p14:modId xmlns:p14="http://schemas.microsoft.com/office/powerpoint/2010/main" val="431509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46AD7A57-5211-48E9-B1E5-AC3DD8BD02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1"/>
            <a:ext cx="3584974" cy="2136774"/>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lvl1pPr rtl="0">
              <a:defRPr/>
            </a:lvl1pPr>
          </a:lstStyle>
          <a:p>
            <a:fld id="{49EE3078-35F5-4450-8DDB-1711F663AF0B}" type="datetime1">
              <a:rPr lang="da-DK" smtClean="0"/>
              <a:pPr/>
              <a:t>06-09-2023</a:t>
            </a:fld>
            <a:endParaRPr lang="da-DK"/>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221732795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3D240F-1179-41E3-ACCD-37AD84011860}"/>
              </a:ext>
            </a:extLst>
          </p:cNvPr>
          <p:cNvGraphicFramePr>
            <a:graphicFrameLocks noChangeAspect="1"/>
          </p:cNvGraphicFramePr>
          <p:nvPr userDrawn="1">
            <p:custDataLst>
              <p:tags r:id="rId1"/>
            </p:custDataLst>
            <p:extLst>
              <p:ext uri="{D42A27DB-BD31-4B8C-83A1-F6EECF244321}">
                <p14:modId xmlns:p14="http://schemas.microsoft.com/office/powerpoint/2010/main" val="2069276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3E3D240F-1179-41E3-ACCD-37AD840118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rtl="0">
              <a:defRPr sz="100">
                <a:noFill/>
              </a:defRPr>
            </a:lvl1pPr>
          </a:lstStyle>
          <a:p>
            <a:fld id="{87CEE0B2-D606-4C87-BD16-18AC95AF549F}" type="datetime1">
              <a:rPr lang="da-DK" smtClean="0"/>
              <a:pPr/>
              <a:t>06-09-2023</a:t>
            </a:fld>
            <a:endParaRPr lang="da-DK"/>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p:txBody>
          <a:bodyPr vert="horz"/>
          <a:lstStyle>
            <a:lvl1pPr rtl="0">
              <a:defRPr/>
            </a:lvl1pPr>
          </a:lstStyle>
          <a:p>
            <a:r>
              <a:rPr lang="da-DK" noProof="0"/>
              <a:t>Click to add title</a:t>
            </a:r>
          </a:p>
        </p:txBody>
      </p:sp>
    </p:spTree>
    <p:extLst>
      <p:ext uri="{BB962C8B-B14F-4D97-AF65-F5344CB8AC3E}">
        <p14:creationId xmlns:p14="http://schemas.microsoft.com/office/powerpoint/2010/main" val="31974764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Breaker (A)">
    <p:bg>
      <p:bgPr>
        <a:solidFill>
          <a:srgbClr val="E6E6E6"/>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5F233A-FD3C-49FA-BDA6-A9CA4569FFF7}"/>
              </a:ext>
            </a:extLst>
          </p:cNvPr>
          <p:cNvGraphicFramePr>
            <a:graphicFrameLocks noChangeAspect="1"/>
          </p:cNvGraphicFramePr>
          <p:nvPr userDrawn="1">
            <p:custDataLst>
              <p:tags r:id="rId1"/>
            </p:custDataLst>
            <p:extLst>
              <p:ext uri="{D42A27DB-BD31-4B8C-83A1-F6EECF244321}">
                <p14:modId xmlns:p14="http://schemas.microsoft.com/office/powerpoint/2010/main" val="4176184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C5F233A-FD3C-49FA-BDA6-A9CA4569FF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bg2"/>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4293249" y="4187860"/>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bg2"/>
                </a:solidFill>
              </a:defRPr>
            </a:lvl1pPr>
          </a:lstStyle>
          <a:p>
            <a:fld id="{075B1503-1805-4DC5-AF6E-FDE48DB177B4}" type="datetime1">
              <a:rPr lang="da-DK" smtClean="0"/>
              <a:pPr/>
              <a:t>06-09-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bg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bg2"/>
                </a:solidFill>
              </a:defRPr>
            </a:lvl1pPr>
          </a:lstStyle>
          <a:p>
            <a:fld id="{23AA811B-2EBD-4900-905E-5BE206449611}" type="slidenum">
              <a:rPr lang="da-DK" smtClean="0"/>
              <a:pPr/>
              <a:t>‹nr.›</a:t>
            </a:fld>
            <a:endParaRPr lang="da-DK"/>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2"/>
                </a:solidFill>
              </a:rPr>
              <a:t>Ramboll</a:t>
            </a:r>
          </a:p>
        </p:txBody>
      </p:sp>
      <p:grpSp>
        <p:nvGrpSpPr>
          <p:cNvPr id="9" name="Google Shape;112;p3">
            <a:extLst>
              <a:ext uri="{FF2B5EF4-FFF2-40B4-BE49-F238E27FC236}">
                <a16:creationId xmlns:a16="http://schemas.microsoft.com/office/drawing/2014/main" id="{07CC82E2-09C1-4622-A41A-D1941B226DC3}"/>
              </a:ext>
            </a:extLst>
          </p:cNvPr>
          <p:cNvGrpSpPr/>
          <p:nvPr userDrawn="1"/>
        </p:nvGrpSpPr>
        <p:grpSpPr>
          <a:xfrm>
            <a:off x="-31721" y="-76368"/>
            <a:ext cx="12255441" cy="7160172"/>
            <a:chOff x="-83913" y="-168653"/>
            <a:chExt cx="9288757" cy="5426904"/>
          </a:xfrm>
        </p:grpSpPr>
        <p:sp>
          <p:nvSpPr>
            <p:cNvPr id="10" name="Google Shape;113;p3">
              <a:extLst>
                <a:ext uri="{FF2B5EF4-FFF2-40B4-BE49-F238E27FC236}">
                  <a16:creationId xmlns:a16="http://schemas.microsoft.com/office/drawing/2014/main" id="{92B86184-6952-451E-8923-D1FFF61F2739}"/>
                </a:ext>
              </a:extLst>
            </p:cNvPr>
            <p:cNvSpPr/>
            <p:nvPr/>
          </p:nvSpPr>
          <p:spPr>
            <a:xfrm>
              <a:off x="3901992" y="271731"/>
              <a:ext cx="499650" cy="704779"/>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2" name="Google Shape;114;p3">
              <a:extLst>
                <a:ext uri="{FF2B5EF4-FFF2-40B4-BE49-F238E27FC236}">
                  <a16:creationId xmlns:a16="http://schemas.microsoft.com/office/drawing/2014/main" id="{C71AF609-7BB7-450F-A8AB-E493826AA9E9}"/>
                </a:ext>
              </a:extLst>
            </p:cNvPr>
            <p:cNvSpPr/>
            <p:nvPr/>
          </p:nvSpPr>
          <p:spPr>
            <a:xfrm>
              <a:off x="-73851" y="4335362"/>
              <a:ext cx="601266" cy="549535"/>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3" name="Google Shape;115;p3">
              <a:extLst>
                <a:ext uri="{FF2B5EF4-FFF2-40B4-BE49-F238E27FC236}">
                  <a16:creationId xmlns:a16="http://schemas.microsoft.com/office/drawing/2014/main" id="{AED2F901-8026-448D-A349-9CA72B883ABC}"/>
                </a:ext>
              </a:extLst>
            </p:cNvPr>
            <p:cNvSpPr/>
            <p:nvPr/>
          </p:nvSpPr>
          <p:spPr>
            <a:xfrm rot="2001982">
              <a:off x="136143" y="2216866"/>
              <a:ext cx="321474" cy="709766"/>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4" name="Google Shape;116;p3">
              <a:extLst>
                <a:ext uri="{FF2B5EF4-FFF2-40B4-BE49-F238E27FC236}">
                  <a16:creationId xmlns:a16="http://schemas.microsoft.com/office/drawing/2014/main" id="{13A0FF20-A9BC-4DAA-BC16-E4C747D6646E}"/>
                </a:ext>
              </a:extLst>
            </p:cNvPr>
            <p:cNvSpPr/>
            <p:nvPr/>
          </p:nvSpPr>
          <p:spPr>
            <a:xfrm rot="-1974315">
              <a:off x="1151275" y="3720972"/>
              <a:ext cx="252371" cy="554298"/>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5" name="Google Shape;117;p3">
              <a:extLst>
                <a:ext uri="{FF2B5EF4-FFF2-40B4-BE49-F238E27FC236}">
                  <a16:creationId xmlns:a16="http://schemas.microsoft.com/office/drawing/2014/main" id="{62047D3D-2B35-4A87-9CEF-A9996A3BA36D}"/>
                </a:ext>
              </a:extLst>
            </p:cNvPr>
            <p:cNvSpPr/>
            <p:nvPr/>
          </p:nvSpPr>
          <p:spPr>
            <a:xfrm>
              <a:off x="4101001" y="4649180"/>
              <a:ext cx="376856" cy="254902"/>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6" name="Google Shape;118;p3">
              <a:extLst>
                <a:ext uri="{FF2B5EF4-FFF2-40B4-BE49-F238E27FC236}">
                  <a16:creationId xmlns:a16="http://schemas.microsoft.com/office/drawing/2014/main" id="{36BACEDB-3231-4638-A682-B189FBE3FC4A}"/>
                </a:ext>
              </a:extLst>
            </p:cNvPr>
            <p:cNvSpPr/>
            <p:nvPr/>
          </p:nvSpPr>
          <p:spPr>
            <a:xfrm>
              <a:off x="8091625" y="827000"/>
              <a:ext cx="485245" cy="329049"/>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7" name="Google Shape;119;p3">
              <a:extLst>
                <a:ext uri="{FF2B5EF4-FFF2-40B4-BE49-F238E27FC236}">
                  <a16:creationId xmlns:a16="http://schemas.microsoft.com/office/drawing/2014/main" id="{80CF381C-9814-44B2-9E55-B8EC0B0AB8C4}"/>
                </a:ext>
              </a:extLst>
            </p:cNvPr>
            <p:cNvSpPr/>
            <p:nvPr/>
          </p:nvSpPr>
          <p:spPr>
            <a:xfrm rot="3971375">
              <a:off x="3138581" y="4622816"/>
              <a:ext cx="362909" cy="668479"/>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8" name="Google Shape;120;p3">
              <a:extLst>
                <a:ext uri="{FF2B5EF4-FFF2-40B4-BE49-F238E27FC236}">
                  <a16:creationId xmlns:a16="http://schemas.microsoft.com/office/drawing/2014/main" id="{DFDF226F-A40F-4BAA-9FAA-D845B566B9F8}"/>
                </a:ext>
              </a:extLst>
            </p:cNvPr>
            <p:cNvSpPr/>
            <p:nvPr/>
          </p:nvSpPr>
          <p:spPr>
            <a:xfrm rot="-3375824">
              <a:off x="8508205" y="4088864"/>
              <a:ext cx="623152" cy="166730"/>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9" name="Google Shape;121;p3">
              <a:extLst>
                <a:ext uri="{FF2B5EF4-FFF2-40B4-BE49-F238E27FC236}">
                  <a16:creationId xmlns:a16="http://schemas.microsoft.com/office/drawing/2014/main" id="{65745712-0C3F-45EC-9C30-CA73E2C17891}"/>
                </a:ext>
              </a:extLst>
            </p:cNvPr>
            <p:cNvSpPr/>
            <p:nvPr/>
          </p:nvSpPr>
          <p:spPr>
            <a:xfrm rot="3011666">
              <a:off x="3210524" y="657803"/>
              <a:ext cx="199800" cy="513948"/>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0" name="Google Shape;122;p3">
              <a:extLst>
                <a:ext uri="{FF2B5EF4-FFF2-40B4-BE49-F238E27FC236}">
                  <a16:creationId xmlns:a16="http://schemas.microsoft.com/office/drawing/2014/main" id="{7B829C39-2590-47E2-8710-BABEF413F2C4}"/>
                </a:ext>
              </a:extLst>
            </p:cNvPr>
            <p:cNvSpPr/>
            <p:nvPr/>
          </p:nvSpPr>
          <p:spPr>
            <a:xfrm rot="2196195">
              <a:off x="6146037" y="457710"/>
              <a:ext cx="248001" cy="64914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1" name="Google Shape;123;p3">
              <a:extLst>
                <a:ext uri="{FF2B5EF4-FFF2-40B4-BE49-F238E27FC236}">
                  <a16:creationId xmlns:a16="http://schemas.microsoft.com/office/drawing/2014/main" id="{E2175861-EC9F-4D11-A9B9-5ED7178A5D26}"/>
                </a:ext>
              </a:extLst>
            </p:cNvPr>
            <p:cNvSpPr/>
            <p:nvPr/>
          </p:nvSpPr>
          <p:spPr>
            <a:xfrm rot="9911830">
              <a:off x="5498424" y="4613124"/>
              <a:ext cx="338915" cy="323847"/>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2" name="Google Shape;124;p3">
              <a:extLst>
                <a:ext uri="{FF2B5EF4-FFF2-40B4-BE49-F238E27FC236}">
                  <a16:creationId xmlns:a16="http://schemas.microsoft.com/office/drawing/2014/main" id="{1A3525D8-70CE-4CE1-B00C-FC50C9741911}"/>
                </a:ext>
              </a:extLst>
            </p:cNvPr>
            <p:cNvSpPr/>
            <p:nvPr/>
          </p:nvSpPr>
          <p:spPr>
            <a:xfrm>
              <a:off x="510215" y="271717"/>
              <a:ext cx="557022" cy="619823"/>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3" name="Google Shape;125;p3">
              <a:extLst>
                <a:ext uri="{FF2B5EF4-FFF2-40B4-BE49-F238E27FC236}">
                  <a16:creationId xmlns:a16="http://schemas.microsoft.com/office/drawing/2014/main" id="{C350A2E7-53C0-405C-9A2C-01C66AD3068C}"/>
                </a:ext>
              </a:extLst>
            </p:cNvPr>
            <p:cNvSpPr/>
            <p:nvPr/>
          </p:nvSpPr>
          <p:spPr>
            <a:xfrm>
              <a:off x="1778886" y="4237081"/>
              <a:ext cx="556337" cy="631409"/>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4" name="Google Shape;126;p3">
              <a:extLst>
                <a:ext uri="{FF2B5EF4-FFF2-40B4-BE49-F238E27FC236}">
                  <a16:creationId xmlns:a16="http://schemas.microsoft.com/office/drawing/2014/main" id="{D93D1F43-D738-46E7-8390-A696F6D1FDAD}"/>
                </a:ext>
              </a:extLst>
            </p:cNvPr>
            <p:cNvSpPr/>
            <p:nvPr/>
          </p:nvSpPr>
          <p:spPr>
            <a:xfrm rot="-982808">
              <a:off x="7867083" y="4603094"/>
              <a:ext cx="701993" cy="567693"/>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5" name="Google Shape;127;p3">
              <a:extLst>
                <a:ext uri="{FF2B5EF4-FFF2-40B4-BE49-F238E27FC236}">
                  <a16:creationId xmlns:a16="http://schemas.microsoft.com/office/drawing/2014/main" id="{7B352C66-7B72-4D46-8287-9BD85434F192}"/>
                </a:ext>
              </a:extLst>
            </p:cNvPr>
            <p:cNvSpPr/>
            <p:nvPr/>
          </p:nvSpPr>
          <p:spPr>
            <a:xfrm rot="1185294">
              <a:off x="4798350" y="3885963"/>
              <a:ext cx="616477" cy="671778"/>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6" name="Google Shape;128;p3">
              <a:extLst>
                <a:ext uri="{FF2B5EF4-FFF2-40B4-BE49-F238E27FC236}">
                  <a16:creationId xmlns:a16="http://schemas.microsoft.com/office/drawing/2014/main" id="{DD11AFDF-9ADA-413F-88BB-D1A61CA48A22}"/>
                </a:ext>
              </a:extLst>
            </p:cNvPr>
            <p:cNvSpPr/>
            <p:nvPr/>
          </p:nvSpPr>
          <p:spPr>
            <a:xfrm>
              <a:off x="1393062" y="748927"/>
              <a:ext cx="579203" cy="652168"/>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7" name="Google Shape;129;p3">
              <a:extLst>
                <a:ext uri="{FF2B5EF4-FFF2-40B4-BE49-F238E27FC236}">
                  <a16:creationId xmlns:a16="http://schemas.microsoft.com/office/drawing/2014/main" id="{95430F5E-BF6A-479A-B0E5-4881661F4642}"/>
                </a:ext>
              </a:extLst>
            </p:cNvPr>
            <p:cNvSpPr/>
            <p:nvPr/>
          </p:nvSpPr>
          <p:spPr>
            <a:xfrm>
              <a:off x="7317433" y="2956555"/>
              <a:ext cx="716315" cy="573888"/>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8" name="Google Shape;130;p3">
              <a:extLst>
                <a:ext uri="{FF2B5EF4-FFF2-40B4-BE49-F238E27FC236}">
                  <a16:creationId xmlns:a16="http://schemas.microsoft.com/office/drawing/2014/main" id="{C58D23D2-086A-4899-96CA-FAF579AEAA82}"/>
                </a:ext>
              </a:extLst>
            </p:cNvPr>
            <p:cNvSpPr/>
            <p:nvPr/>
          </p:nvSpPr>
          <p:spPr>
            <a:xfrm>
              <a:off x="8750637" y="1716146"/>
              <a:ext cx="454206" cy="406096"/>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9" name="Google Shape;131;p3">
              <a:extLst>
                <a:ext uri="{FF2B5EF4-FFF2-40B4-BE49-F238E27FC236}">
                  <a16:creationId xmlns:a16="http://schemas.microsoft.com/office/drawing/2014/main" id="{322C0835-F152-41BD-9EE2-77C35F50ADB1}"/>
                </a:ext>
              </a:extLst>
            </p:cNvPr>
            <p:cNvSpPr/>
            <p:nvPr/>
          </p:nvSpPr>
          <p:spPr>
            <a:xfrm rot="-2424156">
              <a:off x="2052510" y="-106317"/>
              <a:ext cx="373867" cy="493313"/>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0" name="Google Shape;132;p3">
              <a:extLst>
                <a:ext uri="{FF2B5EF4-FFF2-40B4-BE49-F238E27FC236}">
                  <a16:creationId xmlns:a16="http://schemas.microsoft.com/office/drawing/2014/main" id="{9A8D009F-7E08-4CCE-A86A-BA4170D78ECD}"/>
                </a:ext>
              </a:extLst>
            </p:cNvPr>
            <p:cNvSpPr/>
            <p:nvPr/>
          </p:nvSpPr>
          <p:spPr>
            <a:xfrm>
              <a:off x="5960437" y="3855732"/>
              <a:ext cx="712864" cy="419317"/>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1" name="Google Shape;133;p3">
              <a:extLst>
                <a:ext uri="{FF2B5EF4-FFF2-40B4-BE49-F238E27FC236}">
                  <a16:creationId xmlns:a16="http://schemas.microsoft.com/office/drawing/2014/main" id="{B26D16EB-CAF3-40C1-B403-368196AE17A5}"/>
                </a:ext>
              </a:extLst>
            </p:cNvPr>
            <p:cNvGrpSpPr/>
            <p:nvPr/>
          </p:nvGrpSpPr>
          <p:grpSpPr>
            <a:xfrm rot="891035">
              <a:off x="1165229" y="1691730"/>
              <a:ext cx="657771" cy="386113"/>
              <a:chOff x="1429156" y="1387535"/>
              <a:chExt cx="657769" cy="386112"/>
            </a:xfrm>
          </p:grpSpPr>
          <p:sp>
            <p:nvSpPr>
              <p:cNvPr id="71" name="Google Shape;134;p3">
                <a:extLst>
                  <a:ext uri="{FF2B5EF4-FFF2-40B4-BE49-F238E27FC236}">
                    <a16:creationId xmlns:a16="http://schemas.microsoft.com/office/drawing/2014/main" id="{75ACE2E8-E896-4D2F-AA37-81A8AEFC8139}"/>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2" name="Google Shape;135;p3">
                <a:extLst>
                  <a:ext uri="{FF2B5EF4-FFF2-40B4-BE49-F238E27FC236}">
                    <a16:creationId xmlns:a16="http://schemas.microsoft.com/office/drawing/2014/main" id="{7206F198-9F89-4266-9D50-C07019C2CD7E}"/>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2" name="Google Shape;136;p3">
              <a:extLst>
                <a:ext uri="{FF2B5EF4-FFF2-40B4-BE49-F238E27FC236}">
                  <a16:creationId xmlns:a16="http://schemas.microsoft.com/office/drawing/2014/main" id="{375853E5-8D2D-4BFD-A344-777696706008}"/>
                </a:ext>
              </a:extLst>
            </p:cNvPr>
            <p:cNvSpPr/>
            <p:nvPr/>
          </p:nvSpPr>
          <p:spPr>
            <a:xfrm rot="-1696692">
              <a:off x="7441723" y="1525254"/>
              <a:ext cx="760522" cy="200454"/>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3" name="Google Shape;137;p3">
              <a:extLst>
                <a:ext uri="{FF2B5EF4-FFF2-40B4-BE49-F238E27FC236}">
                  <a16:creationId xmlns:a16="http://schemas.microsoft.com/office/drawing/2014/main" id="{6421FDF3-8380-4586-B83E-2921B2CFAF8F}"/>
                </a:ext>
              </a:extLst>
            </p:cNvPr>
            <p:cNvSpPr/>
            <p:nvPr/>
          </p:nvSpPr>
          <p:spPr>
            <a:xfrm>
              <a:off x="1161548" y="2558031"/>
              <a:ext cx="665135" cy="522113"/>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4" name="Google Shape;138;p3">
              <a:extLst>
                <a:ext uri="{FF2B5EF4-FFF2-40B4-BE49-F238E27FC236}">
                  <a16:creationId xmlns:a16="http://schemas.microsoft.com/office/drawing/2014/main" id="{5D66BD58-4BE5-4935-BF2C-EDC1609FD8BD}"/>
                </a:ext>
              </a:extLst>
            </p:cNvPr>
            <p:cNvGrpSpPr/>
            <p:nvPr/>
          </p:nvGrpSpPr>
          <p:grpSpPr>
            <a:xfrm>
              <a:off x="346827" y="3411153"/>
              <a:ext cx="376916" cy="455685"/>
              <a:chOff x="1010452" y="1144365"/>
              <a:chExt cx="376916" cy="455685"/>
            </a:xfrm>
          </p:grpSpPr>
          <p:sp>
            <p:nvSpPr>
              <p:cNvPr id="69" name="Google Shape;139;p3">
                <a:extLst>
                  <a:ext uri="{FF2B5EF4-FFF2-40B4-BE49-F238E27FC236}">
                    <a16:creationId xmlns:a16="http://schemas.microsoft.com/office/drawing/2014/main" id="{8C9BC79A-1AA0-4E0B-A67B-8A9CA8102CE9}"/>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0" name="Google Shape;140;p3">
                <a:extLst>
                  <a:ext uri="{FF2B5EF4-FFF2-40B4-BE49-F238E27FC236}">
                    <a16:creationId xmlns:a16="http://schemas.microsoft.com/office/drawing/2014/main" id="{75BFC764-F28D-40CD-A337-0DCD40399465}"/>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5" name="Google Shape;141;p3">
              <a:extLst>
                <a:ext uri="{FF2B5EF4-FFF2-40B4-BE49-F238E27FC236}">
                  <a16:creationId xmlns:a16="http://schemas.microsoft.com/office/drawing/2014/main" id="{B47530CC-894E-4F4E-A9E1-811A9F54E060}"/>
                </a:ext>
              </a:extLst>
            </p:cNvPr>
            <p:cNvSpPr/>
            <p:nvPr/>
          </p:nvSpPr>
          <p:spPr>
            <a:xfrm rot="-1109260">
              <a:off x="7493180" y="3971096"/>
              <a:ext cx="396713" cy="402269"/>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6" name="Google Shape;142;p3">
              <a:extLst>
                <a:ext uri="{FF2B5EF4-FFF2-40B4-BE49-F238E27FC236}">
                  <a16:creationId xmlns:a16="http://schemas.microsoft.com/office/drawing/2014/main" id="{BFFDEA78-7890-4D70-AE9F-F38D5F43582C}"/>
                </a:ext>
              </a:extLst>
            </p:cNvPr>
            <p:cNvSpPr/>
            <p:nvPr/>
          </p:nvSpPr>
          <p:spPr>
            <a:xfrm>
              <a:off x="6255960" y="791694"/>
              <a:ext cx="453103" cy="511439"/>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7" name="Google Shape;143;p3">
              <a:extLst>
                <a:ext uri="{FF2B5EF4-FFF2-40B4-BE49-F238E27FC236}">
                  <a16:creationId xmlns:a16="http://schemas.microsoft.com/office/drawing/2014/main" id="{594D8DC3-1DC1-4C04-8D8B-12D29A61F2A4}"/>
                </a:ext>
              </a:extLst>
            </p:cNvPr>
            <p:cNvSpPr/>
            <p:nvPr/>
          </p:nvSpPr>
          <p:spPr>
            <a:xfrm rot="1799564">
              <a:off x="7155158" y="4556613"/>
              <a:ext cx="351219" cy="440001"/>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8" name="Google Shape;144;p3">
              <a:extLst>
                <a:ext uri="{FF2B5EF4-FFF2-40B4-BE49-F238E27FC236}">
                  <a16:creationId xmlns:a16="http://schemas.microsoft.com/office/drawing/2014/main" id="{81F1ED35-B550-4F73-8A0D-BB1EA8636792}"/>
                </a:ext>
              </a:extLst>
            </p:cNvPr>
            <p:cNvSpPr/>
            <p:nvPr/>
          </p:nvSpPr>
          <p:spPr>
            <a:xfrm>
              <a:off x="7413193" y="740389"/>
              <a:ext cx="289739" cy="45623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9" name="Google Shape;145;p3">
              <a:extLst>
                <a:ext uri="{FF2B5EF4-FFF2-40B4-BE49-F238E27FC236}">
                  <a16:creationId xmlns:a16="http://schemas.microsoft.com/office/drawing/2014/main" id="{FCA7A200-8695-4433-80AB-6AD5C9BC8FB1}"/>
                </a:ext>
              </a:extLst>
            </p:cNvPr>
            <p:cNvSpPr/>
            <p:nvPr/>
          </p:nvSpPr>
          <p:spPr>
            <a:xfrm>
              <a:off x="7082287" y="-53997"/>
              <a:ext cx="602898" cy="641121"/>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0" name="Google Shape;146;p3">
              <a:extLst>
                <a:ext uri="{FF2B5EF4-FFF2-40B4-BE49-F238E27FC236}">
                  <a16:creationId xmlns:a16="http://schemas.microsoft.com/office/drawing/2014/main" id="{C35532D8-0C59-45DE-AEA2-EDF349D00105}"/>
                </a:ext>
              </a:extLst>
            </p:cNvPr>
            <p:cNvSpPr/>
            <p:nvPr/>
          </p:nvSpPr>
          <p:spPr>
            <a:xfrm>
              <a:off x="4981978" y="271723"/>
              <a:ext cx="738779" cy="460515"/>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1" name="Google Shape;147;p3">
              <a:extLst>
                <a:ext uri="{FF2B5EF4-FFF2-40B4-BE49-F238E27FC236}">
                  <a16:creationId xmlns:a16="http://schemas.microsoft.com/office/drawing/2014/main" id="{85AAC109-4491-463F-B14F-6FEBB7D58F80}"/>
                </a:ext>
              </a:extLst>
            </p:cNvPr>
            <p:cNvSpPr/>
            <p:nvPr/>
          </p:nvSpPr>
          <p:spPr>
            <a:xfrm rot="-1245048">
              <a:off x="7884626" y="2097617"/>
              <a:ext cx="363919" cy="537176"/>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2" name="Google Shape;148;p3">
              <a:extLst>
                <a:ext uri="{FF2B5EF4-FFF2-40B4-BE49-F238E27FC236}">
                  <a16:creationId xmlns:a16="http://schemas.microsoft.com/office/drawing/2014/main" id="{E58DA6A9-C278-4BB1-B2CB-D5E0026C1509}"/>
                </a:ext>
              </a:extLst>
            </p:cNvPr>
            <p:cNvSpPr/>
            <p:nvPr/>
          </p:nvSpPr>
          <p:spPr>
            <a:xfrm>
              <a:off x="313599" y="1360788"/>
              <a:ext cx="410163" cy="515682"/>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3" name="Google Shape;149;p3">
              <a:extLst>
                <a:ext uri="{FF2B5EF4-FFF2-40B4-BE49-F238E27FC236}">
                  <a16:creationId xmlns:a16="http://schemas.microsoft.com/office/drawing/2014/main" id="{789450D2-6F31-4A2B-B6F9-41770B7F2109}"/>
                </a:ext>
              </a:extLst>
            </p:cNvPr>
            <p:cNvSpPr/>
            <p:nvPr/>
          </p:nvSpPr>
          <p:spPr>
            <a:xfrm>
              <a:off x="2688787" y="4098763"/>
              <a:ext cx="455682" cy="43272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4" name="Google Shape;150;p3">
              <a:extLst>
                <a:ext uri="{FF2B5EF4-FFF2-40B4-BE49-F238E27FC236}">
                  <a16:creationId xmlns:a16="http://schemas.microsoft.com/office/drawing/2014/main" id="{5573F5F2-17BD-48C0-9F23-F83B1A5A8105}"/>
                </a:ext>
              </a:extLst>
            </p:cNvPr>
            <p:cNvSpPr/>
            <p:nvPr/>
          </p:nvSpPr>
          <p:spPr>
            <a:xfrm>
              <a:off x="933400" y="1069738"/>
              <a:ext cx="175646" cy="373020"/>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5" name="Google Shape;151;p3">
              <a:extLst>
                <a:ext uri="{FF2B5EF4-FFF2-40B4-BE49-F238E27FC236}">
                  <a16:creationId xmlns:a16="http://schemas.microsoft.com/office/drawing/2014/main" id="{1669DDF8-3A03-4864-9401-6964B3660B6E}"/>
                </a:ext>
              </a:extLst>
            </p:cNvPr>
            <p:cNvSpPr/>
            <p:nvPr/>
          </p:nvSpPr>
          <p:spPr>
            <a:xfrm>
              <a:off x="8204352" y="3801552"/>
              <a:ext cx="240787" cy="203050"/>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6" name="Google Shape;152;p3">
              <a:extLst>
                <a:ext uri="{FF2B5EF4-FFF2-40B4-BE49-F238E27FC236}">
                  <a16:creationId xmlns:a16="http://schemas.microsoft.com/office/drawing/2014/main" id="{FD5CC3CC-71F7-4EA4-9714-7E4B1A822154}"/>
                </a:ext>
              </a:extLst>
            </p:cNvPr>
            <p:cNvSpPr/>
            <p:nvPr/>
          </p:nvSpPr>
          <p:spPr>
            <a:xfrm>
              <a:off x="8204357" y="240186"/>
              <a:ext cx="175884" cy="17472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7" name="Google Shape;153;p3">
              <a:extLst>
                <a:ext uri="{FF2B5EF4-FFF2-40B4-BE49-F238E27FC236}">
                  <a16:creationId xmlns:a16="http://schemas.microsoft.com/office/drawing/2014/main" id="{66AD0467-5823-4999-AD6B-89A8E5203963}"/>
                </a:ext>
              </a:extLst>
            </p:cNvPr>
            <p:cNvSpPr/>
            <p:nvPr/>
          </p:nvSpPr>
          <p:spPr>
            <a:xfrm>
              <a:off x="8514477" y="3303552"/>
              <a:ext cx="236138" cy="229907"/>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8" name="Google Shape;154;p3">
              <a:extLst>
                <a:ext uri="{FF2B5EF4-FFF2-40B4-BE49-F238E27FC236}">
                  <a16:creationId xmlns:a16="http://schemas.microsoft.com/office/drawing/2014/main" id="{273E409A-ECD6-470B-8EF7-98B6344C2682}"/>
                </a:ext>
              </a:extLst>
            </p:cNvPr>
            <p:cNvSpPr/>
            <p:nvPr/>
          </p:nvSpPr>
          <p:spPr>
            <a:xfrm rot="9304419">
              <a:off x="3726725" y="4079275"/>
              <a:ext cx="219185" cy="471718"/>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9" name="Google Shape;155;p3">
              <a:extLst>
                <a:ext uri="{FF2B5EF4-FFF2-40B4-BE49-F238E27FC236}">
                  <a16:creationId xmlns:a16="http://schemas.microsoft.com/office/drawing/2014/main" id="{E9F45DAE-D07F-4A54-A8CA-371949E134EF}"/>
                </a:ext>
              </a:extLst>
            </p:cNvPr>
            <p:cNvSpPr/>
            <p:nvPr/>
          </p:nvSpPr>
          <p:spPr>
            <a:xfrm>
              <a:off x="3033704" y="205770"/>
              <a:ext cx="238646" cy="243555"/>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0" name="Google Shape;156;p3">
              <a:extLst>
                <a:ext uri="{FF2B5EF4-FFF2-40B4-BE49-F238E27FC236}">
                  <a16:creationId xmlns:a16="http://schemas.microsoft.com/office/drawing/2014/main" id="{658AC260-88AF-48F4-A331-C8C9FB4AF599}"/>
                </a:ext>
              </a:extLst>
            </p:cNvPr>
            <p:cNvSpPr/>
            <p:nvPr/>
          </p:nvSpPr>
          <p:spPr>
            <a:xfrm>
              <a:off x="8737650" y="439219"/>
              <a:ext cx="257856" cy="284838"/>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1" name="Google Shape;157;p3">
              <a:extLst>
                <a:ext uri="{FF2B5EF4-FFF2-40B4-BE49-F238E27FC236}">
                  <a16:creationId xmlns:a16="http://schemas.microsoft.com/office/drawing/2014/main" id="{FD01B15F-3134-4B86-81F7-196D34FD1337}"/>
                </a:ext>
              </a:extLst>
            </p:cNvPr>
            <p:cNvSpPr/>
            <p:nvPr/>
          </p:nvSpPr>
          <p:spPr>
            <a:xfrm>
              <a:off x="1334256" y="207258"/>
              <a:ext cx="223503" cy="240600"/>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2" name="Google Shape;158;p3">
              <a:extLst>
                <a:ext uri="{FF2B5EF4-FFF2-40B4-BE49-F238E27FC236}">
                  <a16:creationId xmlns:a16="http://schemas.microsoft.com/office/drawing/2014/main" id="{ECE62D4D-DAD1-4BD5-95D7-E4F2C4AB4E20}"/>
                </a:ext>
              </a:extLst>
            </p:cNvPr>
            <p:cNvSpPr/>
            <p:nvPr/>
          </p:nvSpPr>
          <p:spPr>
            <a:xfrm>
              <a:off x="7053257" y="3763614"/>
              <a:ext cx="204383" cy="27891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3" name="Google Shape;159;p3">
              <a:extLst>
                <a:ext uri="{FF2B5EF4-FFF2-40B4-BE49-F238E27FC236}">
                  <a16:creationId xmlns:a16="http://schemas.microsoft.com/office/drawing/2014/main" id="{E1411E4E-DD68-441C-BA24-04EC531F7CB4}"/>
                </a:ext>
              </a:extLst>
            </p:cNvPr>
            <p:cNvSpPr/>
            <p:nvPr/>
          </p:nvSpPr>
          <p:spPr>
            <a:xfrm>
              <a:off x="711508" y="3001159"/>
              <a:ext cx="154433" cy="272786"/>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4" name="Google Shape;160;p3">
              <a:extLst>
                <a:ext uri="{FF2B5EF4-FFF2-40B4-BE49-F238E27FC236}">
                  <a16:creationId xmlns:a16="http://schemas.microsoft.com/office/drawing/2014/main" id="{4FAAA02B-145E-42EF-9989-D3B3298B2D2D}"/>
                </a:ext>
              </a:extLst>
            </p:cNvPr>
            <p:cNvSpPr/>
            <p:nvPr/>
          </p:nvSpPr>
          <p:spPr>
            <a:xfrm>
              <a:off x="8576875" y="2558027"/>
              <a:ext cx="223822" cy="307981"/>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5" name="Google Shape;161;p3">
              <a:extLst>
                <a:ext uri="{FF2B5EF4-FFF2-40B4-BE49-F238E27FC236}">
                  <a16:creationId xmlns:a16="http://schemas.microsoft.com/office/drawing/2014/main" id="{A1BC7C48-F5BC-429D-A0C2-2F698A1C754A}"/>
                </a:ext>
              </a:extLst>
            </p:cNvPr>
            <p:cNvSpPr/>
            <p:nvPr/>
          </p:nvSpPr>
          <p:spPr>
            <a:xfrm>
              <a:off x="140852" y="836409"/>
              <a:ext cx="224053" cy="290283"/>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6" name="Google Shape;162;p3">
              <a:extLst>
                <a:ext uri="{FF2B5EF4-FFF2-40B4-BE49-F238E27FC236}">
                  <a16:creationId xmlns:a16="http://schemas.microsoft.com/office/drawing/2014/main" id="{061BBCF4-A94F-464F-9254-80F333F37689}"/>
                </a:ext>
              </a:extLst>
            </p:cNvPr>
            <p:cNvGrpSpPr/>
            <p:nvPr/>
          </p:nvGrpSpPr>
          <p:grpSpPr>
            <a:xfrm>
              <a:off x="6457245" y="4530131"/>
              <a:ext cx="216066" cy="276377"/>
              <a:chOff x="6422295" y="3351500"/>
              <a:chExt cx="252856" cy="323399"/>
            </a:xfrm>
          </p:grpSpPr>
          <p:sp>
            <p:nvSpPr>
              <p:cNvPr id="67" name="Google Shape;163;p3">
                <a:extLst>
                  <a:ext uri="{FF2B5EF4-FFF2-40B4-BE49-F238E27FC236}">
                    <a16:creationId xmlns:a16="http://schemas.microsoft.com/office/drawing/2014/main" id="{A5D8B871-971A-497E-88EA-BD3C7E11BB9B}"/>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8" name="Google Shape;164;p3">
                <a:extLst>
                  <a:ext uri="{FF2B5EF4-FFF2-40B4-BE49-F238E27FC236}">
                    <a16:creationId xmlns:a16="http://schemas.microsoft.com/office/drawing/2014/main" id="{EF015BEC-6C1B-40AC-A84D-118AD8944F9F}"/>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57" name="Google Shape;165;p3">
              <a:extLst>
                <a:ext uri="{FF2B5EF4-FFF2-40B4-BE49-F238E27FC236}">
                  <a16:creationId xmlns:a16="http://schemas.microsoft.com/office/drawing/2014/main" id="{A74C9D07-C230-4862-BDAB-5DE3DD971641}"/>
                </a:ext>
              </a:extLst>
            </p:cNvPr>
            <p:cNvSpPr/>
            <p:nvPr/>
          </p:nvSpPr>
          <p:spPr>
            <a:xfrm>
              <a:off x="2318449" y="613815"/>
              <a:ext cx="332332" cy="336908"/>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8" name="Google Shape;166;p3">
              <a:extLst>
                <a:ext uri="{FF2B5EF4-FFF2-40B4-BE49-F238E27FC236}">
                  <a16:creationId xmlns:a16="http://schemas.microsoft.com/office/drawing/2014/main" id="{CFF947DF-86EC-4D06-8402-0D28FAA07E2E}"/>
                </a:ext>
              </a:extLst>
            </p:cNvPr>
            <p:cNvSpPr/>
            <p:nvPr/>
          </p:nvSpPr>
          <p:spPr>
            <a:xfrm>
              <a:off x="6021196" y="137179"/>
              <a:ext cx="265484" cy="205157"/>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9" name="Google Shape;167;p3">
              <a:extLst>
                <a:ext uri="{FF2B5EF4-FFF2-40B4-BE49-F238E27FC236}">
                  <a16:creationId xmlns:a16="http://schemas.microsoft.com/office/drawing/2014/main" id="{296C5B09-63AC-4349-A8AD-5FC47298B7BF}"/>
                </a:ext>
              </a:extLst>
            </p:cNvPr>
            <p:cNvGrpSpPr/>
            <p:nvPr/>
          </p:nvGrpSpPr>
          <p:grpSpPr>
            <a:xfrm>
              <a:off x="1184427" y="4630083"/>
              <a:ext cx="229693" cy="293080"/>
              <a:chOff x="6793660" y="3322411"/>
              <a:chExt cx="268804" cy="342944"/>
            </a:xfrm>
          </p:grpSpPr>
          <p:sp>
            <p:nvSpPr>
              <p:cNvPr id="64" name="Google Shape;168;p3">
                <a:extLst>
                  <a:ext uri="{FF2B5EF4-FFF2-40B4-BE49-F238E27FC236}">
                    <a16:creationId xmlns:a16="http://schemas.microsoft.com/office/drawing/2014/main" id="{D43D496B-4A9F-4C55-9824-8149A5C3513C}"/>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5" name="Google Shape;169;p3">
                <a:extLst>
                  <a:ext uri="{FF2B5EF4-FFF2-40B4-BE49-F238E27FC236}">
                    <a16:creationId xmlns:a16="http://schemas.microsoft.com/office/drawing/2014/main" id="{66796A3A-7456-4310-BB79-D5EFA11CDF29}"/>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6" name="Google Shape;170;p3">
                <a:extLst>
                  <a:ext uri="{FF2B5EF4-FFF2-40B4-BE49-F238E27FC236}">
                    <a16:creationId xmlns:a16="http://schemas.microsoft.com/office/drawing/2014/main" id="{5AE20EA3-139D-4E96-87EA-6ABD338A141A}"/>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0" name="Google Shape;171;p3">
              <a:extLst>
                <a:ext uri="{FF2B5EF4-FFF2-40B4-BE49-F238E27FC236}">
                  <a16:creationId xmlns:a16="http://schemas.microsoft.com/office/drawing/2014/main" id="{64EE9073-F1CC-4483-89C9-142F060D1563}"/>
                </a:ext>
              </a:extLst>
            </p:cNvPr>
            <p:cNvSpPr/>
            <p:nvPr/>
          </p:nvSpPr>
          <p:spPr>
            <a:xfrm>
              <a:off x="4843337" y="836403"/>
              <a:ext cx="377232" cy="204888"/>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1" name="Google Shape;172;p3">
              <a:extLst>
                <a:ext uri="{FF2B5EF4-FFF2-40B4-BE49-F238E27FC236}">
                  <a16:creationId xmlns:a16="http://schemas.microsoft.com/office/drawing/2014/main" id="{CB7DB896-33B3-41DC-BB01-F2D7CB78EADD}"/>
                </a:ext>
              </a:extLst>
            </p:cNvPr>
            <p:cNvSpPr/>
            <p:nvPr/>
          </p:nvSpPr>
          <p:spPr>
            <a:xfrm rot="-2218186">
              <a:off x="-38492" y="151543"/>
              <a:ext cx="236276" cy="230041"/>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2" name="Google Shape;173;p3">
              <a:extLst>
                <a:ext uri="{FF2B5EF4-FFF2-40B4-BE49-F238E27FC236}">
                  <a16:creationId xmlns:a16="http://schemas.microsoft.com/office/drawing/2014/main" id="{F428F3A0-7407-4A41-8EC0-E729B29E0AB0}"/>
                </a:ext>
              </a:extLst>
            </p:cNvPr>
            <p:cNvSpPr/>
            <p:nvPr/>
          </p:nvSpPr>
          <p:spPr>
            <a:xfrm rot="1464154">
              <a:off x="4569091" y="-94554"/>
              <a:ext cx="235935" cy="229710"/>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3" name="Google Shape;174;p3">
              <a:extLst>
                <a:ext uri="{FF2B5EF4-FFF2-40B4-BE49-F238E27FC236}">
                  <a16:creationId xmlns:a16="http://schemas.microsoft.com/office/drawing/2014/main" id="{4F767371-F835-49CF-A9BA-C3C144C2E73A}"/>
                </a:ext>
              </a:extLst>
            </p:cNvPr>
            <p:cNvSpPr/>
            <p:nvPr/>
          </p:nvSpPr>
          <p:spPr>
            <a:xfrm rot="-2221343">
              <a:off x="1866371" y="3538528"/>
              <a:ext cx="206347" cy="200902"/>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Tree>
    <p:extLst>
      <p:ext uri="{BB962C8B-B14F-4D97-AF65-F5344CB8AC3E}">
        <p14:creationId xmlns:p14="http://schemas.microsoft.com/office/powerpoint/2010/main" val="1480811344"/>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reaker (B)">
    <p:bg>
      <p:bgPr>
        <a:solidFill>
          <a:srgbClr val="E6E6E6"/>
        </a:solidFill>
        <a:effectLst/>
      </p:bgPr>
    </p:bg>
    <p:spTree>
      <p:nvGrpSpPr>
        <p:cNvPr id="1" name=""/>
        <p:cNvGrpSpPr/>
        <p:nvPr/>
      </p:nvGrpSpPr>
      <p:grpSpPr>
        <a:xfrm>
          <a:off x="0" y="0"/>
          <a:ext cx="0" cy="0"/>
          <a:chOff x="0" y="0"/>
          <a:chExt cx="0" cy="0"/>
        </a:xfrm>
      </p:grpSpPr>
      <p:graphicFrame>
        <p:nvGraphicFramePr>
          <p:cNvPr id="74" name="Object 73" hidden="1">
            <a:extLst>
              <a:ext uri="{FF2B5EF4-FFF2-40B4-BE49-F238E27FC236}">
                <a16:creationId xmlns:a16="http://schemas.microsoft.com/office/drawing/2014/main" id="{84782DE8-9767-4702-8C7F-EAE3A0FA6E3B}"/>
              </a:ext>
            </a:extLst>
          </p:cNvPr>
          <p:cNvGraphicFramePr>
            <a:graphicFrameLocks noChangeAspect="1"/>
          </p:cNvGraphicFramePr>
          <p:nvPr userDrawn="1">
            <p:custDataLst>
              <p:tags r:id="rId1"/>
            </p:custDataLst>
            <p:extLst>
              <p:ext uri="{D42A27DB-BD31-4B8C-83A1-F6EECF244321}">
                <p14:modId xmlns:p14="http://schemas.microsoft.com/office/powerpoint/2010/main" val="405460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4" name="Object 73" hidden="1">
                        <a:extLst>
                          <a:ext uri="{FF2B5EF4-FFF2-40B4-BE49-F238E27FC236}">
                            <a16:creationId xmlns:a16="http://schemas.microsoft.com/office/drawing/2014/main" id="{84782DE8-9767-4702-8C7F-EAE3A0FA6E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B4DA3B0F-03CD-4108-8860-23727812948A}"/>
              </a:ext>
            </a:extLst>
          </p:cNvPr>
          <p:cNvPicPr>
            <a:picLocks noChangeAspect="1"/>
          </p:cNvPicPr>
          <p:nvPr userDrawn="1"/>
        </p:nvPicPr>
        <p:blipFill>
          <a:blip r:embed="rId5"/>
          <a:stretch>
            <a:fillRect/>
          </a:stretch>
        </p:blipFill>
        <p:spPr>
          <a:xfrm>
            <a:off x="-154675" y="-77484"/>
            <a:ext cx="12501349" cy="7162403"/>
          </a:xfrm>
          <a:prstGeom prst="rect">
            <a:avLst/>
          </a:prstGeom>
        </p:spPr>
      </p:pic>
      <p:sp>
        <p:nvSpPr>
          <p:cNvPr id="2" name="Title 1"/>
          <p:cNvSpPr>
            <a:spLocks noGrp="1"/>
          </p:cNvSpPr>
          <p:nvPr>
            <p:ph type="ctrTitle" hasCustomPrompt="1"/>
          </p:nvPr>
        </p:nvSpPr>
        <p:spPr bwMode="white">
          <a:xfrm>
            <a:off x="1609725" y="1122363"/>
            <a:ext cx="9010650" cy="1984631"/>
          </a:xfrm>
        </p:spPr>
        <p:txBody>
          <a:bodyPr vert="horz" anchor="ctr"/>
          <a:lstStyle>
            <a:lvl1pPr algn="ctr" rtl="0">
              <a:defRPr sz="6000">
                <a:solidFill>
                  <a:schemeClr val="tx1"/>
                </a:solidFill>
              </a:defRPr>
            </a:lvl1pPr>
          </a:lstStyle>
          <a:p>
            <a:r>
              <a:rPr lang="da-DK" noProof="0"/>
              <a:t>Click to add </a:t>
            </a:r>
            <a:r>
              <a:rPr lang="da-DK"/>
              <a:t>Breaker text</a:t>
            </a:r>
          </a:p>
        </p:txBody>
      </p:sp>
      <p:sp>
        <p:nvSpPr>
          <p:cNvPr id="75" name="Rectangle 74">
            <a:extLst>
              <a:ext uri="{FF2B5EF4-FFF2-40B4-BE49-F238E27FC236}">
                <a16:creationId xmlns:a16="http://schemas.microsoft.com/office/drawing/2014/main" id="{D3B8EA68-780D-408D-A1B0-D4E553F60DC6}"/>
              </a:ext>
            </a:extLst>
          </p:cNvPr>
          <p:cNvSpPr/>
          <p:nvPr userDrawn="1"/>
        </p:nvSpPr>
        <p:spPr>
          <a:xfrm>
            <a:off x="5991225" y="6496050"/>
            <a:ext cx="295275" cy="21907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Tree>
    <p:extLst>
      <p:ext uri="{BB962C8B-B14F-4D97-AF65-F5344CB8AC3E}">
        <p14:creationId xmlns:p14="http://schemas.microsoft.com/office/powerpoint/2010/main" val="4004401256"/>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74CC8F9-A212-4669-B5A2-90527C0FB5EF}"/>
              </a:ext>
            </a:extLst>
          </p:cNvPr>
          <p:cNvGraphicFramePr>
            <a:graphicFrameLocks noChangeAspect="1"/>
          </p:cNvGraphicFramePr>
          <p:nvPr userDrawn="1">
            <p:custDataLst>
              <p:tags r:id="rId1"/>
            </p:custDataLst>
            <p:extLst>
              <p:ext uri="{D42A27DB-BD31-4B8C-83A1-F6EECF244321}">
                <p14:modId xmlns:p14="http://schemas.microsoft.com/office/powerpoint/2010/main" val="855257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974CC8F9-A212-4669-B5A2-90527C0FB5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a:xfrm>
            <a:off x="1350000" y="1122363"/>
            <a:ext cx="8509963" cy="1984631"/>
          </a:xfrm>
        </p:spPr>
        <p:txBody>
          <a:bodyPr vert="horz" anchor="b"/>
          <a:lstStyle>
            <a:lvl1pPr algn="l" rtl="0">
              <a:defRPr sz="6000">
                <a:solidFill>
                  <a:schemeClr val="accent2"/>
                </a:solidFill>
              </a:defRPr>
            </a:lvl1pPr>
          </a:lstStyle>
          <a:p>
            <a:r>
              <a:rPr lang="da-DK" noProof="0"/>
              <a:t>Click to add </a:t>
            </a:r>
            <a:r>
              <a:rPr lang="da-DK"/>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rtl="0">
              <a:defRPr>
                <a:solidFill>
                  <a:schemeClr val="accent2"/>
                </a:solidFill>
              </a:defRPr>
            </a:lvl1pPr>
          </a:lstStyle>
          <a:p>
            <a:fld id="{E373EE1C-D19B-4EA0-9A15-DED1DEE449B9}" type="datetime1">
              <a:rPr lang="da-DK" smtClean="0"/>
              <a:pPr/>
              <a:t>06-09-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rtl="0">
              <a:defRPr>
                <a:solidFill>
                  <a:schemeClr val="accent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nr.›</a:t>
            </a:fld>
            <a:endParaRPr lang="da-DK"/>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709031245"/>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reaker imag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E0DF49-C183-4D5C-9A2E-7134386478D1}"/>
              </a:ext>
            </a:extLst>
          </p:cNvPr>
          <p:cNvGraphicFramePr>
            <a:graphicFrameLocks noChangeAspect="1"/>
          </p:cNvGraphicFramePr>
          <p:nvPr userDrawn="1">
            <p:custDataLst>
              <p:tags r:id="rId1"/>
            </p:custDataLst>
            <p:extLst>
              <p:ext uri="{D42A27DB-BD31-4B8C-83A1-F6EECF244321}">
                <p14:modId xmlns:p14="http://schemas.microsoft.com/office/powerpoint/2010/main" val="53640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3E0DF49-C183-4D5C-9A2E-7134386478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rtl="0">
              <a:defRPr sz="100">
                <a:noFill/>
              </a:defRPr>
            </a:lvl1pPr>
          </a:lstStyle>
          <a:p>
            <a:fld id="{1466C188-1D45-4F08-8DB4-23F6002C2B91}" type="datetime1">
              <a:rPr lang="da-DK" smtClean="0"/>
              <a:pPr/>
              <a:t>06-09-2023</a:t>
            </a:fld>
            <a:endParaRPr lang="da-DK"/>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vert="horz" anchor="b"/>
          <a:lstStyle>
            <a:lvl1pPr algn="l" rtl="0">
              <a:defRPr sz="6000">
                <a:solidFill>
                  <a:schemeClr val="bg1"/>
                </a:solidFill>
              </a:defRPr>
            </a:lvl1pPr>
          </a:lstStyle>
          <a:p>
            <a:r>
              <a:rPr lang="da-DK" noProof="0"/>
              <a:t>Click to add </a:t>
            </a:r>
            <a:r>
              <a:rPr lang="da-DK"/>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grpSp>
        <p:nvGrpSpPr>
          <p:cNvPr id="9" name="Google Shape;22;p2">
            <a:extLst>
              <a:ext uri="{FF2B5EF4-FFF2-40B4-BE49-F238E27FC236}">
                <a16:creationId xmlns:a16="http://schemas.microsoft.com/office/drawing/2014/main" id="{CF860034-7B08-4F3D-B762-9A31C79575E9}"/>
              </a:ext>
            </a:extLst>
          </p:cNvPr>
          <p:cNvGrpSpPr/>
          <p:nvPr userDrawn="1"/>
        </p:nvGrpSpPr>
        <p:grpSpPr>
          <a:xfrm>
            <a:off x="81519" y="-84327"/>
            <a:ext cx="12028962" cy="7026653"/>
            <a:chOff x="-85500" y="-168653"/>
            <a:chExt cx="9290344" cy="5426904"/>
          </a:xfrm>
        </p:grpSpPr>
        <p:grpSp>
          <p:nvGrpSpPr>
            <p:cNvPr id="14" name="Google Shape;23;p2">
              <a:extLst>
                <a:ext uri="{FF2B5EF4-FFF2-40B4-BE49-F238E27FC236}">
                  <a16:creationId xmlns:a16="http://schemas.microsoft.com/office/drawing/2014/main" id="{374DAF26-CC1A-4B23-B786-9BEE004A4999}"/>
                </a:ext>
              </a:extLst>
            </p:cNvPr>
            <p:cNvGrpSpPr/>
            <p:nvPr/>
          </p:nvGrpSpPr>
          <p:grpSpPr>
            <a:xfrm>
              <a:off x="3870624" y="271731"/>
              <a:ext cx="531017" cy="704779"/>
              <a:chOff x="3870624" y="271731"/>
              <a:chExt cx="531017" cy="704779"/>
            </a:xfrm>
          </p:grpSpPr>
          <p:sp>
            <p:nvSpPr>
              <p:cNvPr id="100" name="Google Shape;24;p2">
                <a:extLst>
                  <a:ext uri="{FF2B5EF4-FFF2-40B4-BE49-F238E27FC236}">
                    <a16:creationId xmlns:a16="http://schemas.microsoft.com/office/drawing/2014/main" id="{5CAA66CA-0C74-4E12-A951-E58F094E3B5A}"/>
                  </a:ext>
                </a:extLst>
              </p:cNvPr>
              <p:cNvSpPr/>
              <p:nvPr/>
            </p:nvSpPr>
            <p:spPr>
              <a:xfrm>
                <a:off x="3870624" y="311200"/>
                <a:ext cx="425807" cy="385849"/>
              </a:xfrm>
              <a:custGeom>
                <a:avLst/>
                <a:gdLst/>
                <a:ahLst/>
                <a:cxnLst/>
                <a:rect l="l" t="t" r="r" b="b"/>
                <a:pathLst>
                  <a:path w="35017" h="31731" extrusionOk="0">
                    <a:moveTo>
                      <a:pt x="16911" y="1"/>
                    </a:moveTo>
                    <a:lnTo>
                      <a:pt x="15596" y="61"/>
                    </a:lnTo>
                    <a:lnTo>
                      <a:pt x="14282" y="240"/>
                    </a:lnTo>
                    <a:lnTo>
                      <a:pt x="13027" y="479"/>
                    </a:lnTo>
                    <a:lnTo>
                      <a:pt x="11772" y="837"/>
                    </a:lnTo>
                    <a:lnTo>
                      <a:pt x="10517" y="1256"/>
                    </a:lnTo>
                    <a:lnTo>
                      <a:pt x="9442" y="1734"/>
                    </a:lnTo>
                    <a:lnTo>
                      <a:pt x="8366" y="2331"/>
                    </a:lnTo>
                    <a:lnTo>
                      <a:pt x="7350" y="2989"/>
                    </a:lnTo>
                    <a:lnTo>
                      <a:pt x="6454" y="3706"/>
                    </a:lnTo>
                    <a:lnTo>
                      <a:pt x="5558" y="4542"/>
                    </a:lnTo>
                    <a:lnTo>
                      <a:pt x="4721" y="5379"/>
                    </a:lnTo>
                    <a:lnTo>
                      <a:pt x="3944" y="6275"/>
                    </a:lnTo>
                    <a:lnTo>
                      <a:pt x="3227" y="7231"/>
                    </a:lnTo>
                    <a:lnTo>
                      <a:pt x="2570" y="8247"/>
                    </a:lnTo>
                    <a:lnTo>
                      <a:pt x="2032" y="9323"/>
                    </a:lnTo>
                    <a:lnTo>
                      <a:pt x="1494" y="10398"/>
                    </a:lnTo>
                    <a:lnTo>
                      <a:pt x="1076" y="11534"/>
                    </a:lnTo>
                    <a:lnTo>
                      <a:pt x="717" y="12669"/>
                    </a:lnTo>
                    <a:lnTo>
                      <a:pt x="419" y="13804"/>
                    </a:lnTo>
                    <a:lnTo>
                      <a:pt x="180" y="14999"/>
                    </a:lnTo>
                    <a:lnTo>
                      <a:pt x="60" y="16194"/>
                    </a:lnTo>
                    <a:lnTo>
                      <a:pt x="0" y="17569"/>
                    </a:lnTo>
                    <a:lnTo>
                      <a:pt x="60" y="18824"/>
                    </a:lnTo>
                    <a:lnTo>
                      <a:pt x="180" y="20079"/>
                    </a:lnTo>
                    <a:lnTo>
                      <a:pt x="478" y="21274"/>
                    </a:lnTo>
                    <a:lnTo>
                      <a:pt x="837" y="22349"/>
                    </a:lnTo>
                    <a:lnTo>
                      <a:pt x="1315" y="23425"/>
                    </a:lnTo>
                    <a:lnTo>
                      <a:pt x="1853" y="24441"/>
                    </a:lnTo>
                    <a:lnTo>
                      <a:pt x="2510" y="25457"/>
                    </a:lnTo>
                    <a:lnTo>
                      <a:pt x="3287" y="26353"/>
                    </a:lnTo>
                    <a:lnTo>
                      <a:pt x="4064" y="27189"/>
                    </a:lnTo>
                    <a:lnTo>
                      <a:pt x="4960" y="27966"/>
                    </a:lnTo>
                    <a:lnTo>
                      <a:pt x="5976" y="28683"/>
                    </a:lnTo>
                    <a:lnTo>
                      <a:pt x="6992" y="29281"/>
                    </a:lnTo>
                    <a:lnTo>
                      <a:pt x="8127" y="29878"/>
                    </a:lnTo>
                    <a:lnTo>
                      <a:pt x="9322" y="30356"/>
                    </a:lnTo>
                    <a:lnTo>
                      <a:pt x="10517" y="30834"/>
                    </a:lnTo>
                    <a:lnTo>
                      <a:pt x="11892" y="31193"/>
                    </a:lnTo>
                    <a:lnTo>
                      <a:pt x="13206" y="31492"/>
                    </a:lnTo>
                    <a:lnTo>
                      <a:pt x="14581" y="31671"/>
                    </a:lnTo>
                    <a:lnTo>
                      <a:pt x="16015" y="31731"/>
                    </a:lnTo>
                    <a:lnTo>
                      <a:pt x="17389" y="31671"/>
                    </a:lnTo>
                    <a:lnTo>
                      <a:pt x="18763" y="31552"/>
                    </a:lnTo>
                    <a:lnTo>
                      <a:pt x="20138" y="31313"/>
                    </a:lnTo>
                    <a:lnTo>
                      <a:pt x="21452" y="30954"/>
                    </a:lnTo>
                    <a:lnTo>
                      <a:pt x="22110" y="30715"/>
                    </a:lnTo>
                    <a:lnTo>
                      <a:pt x="22767" y="30476"/>
                    </a:lnTo>
                    <a:lnTo>
                      <a:pt x="24022" y="29878"/>
                    </a:lnTo>
                    <a:lnTo>
                      <a:pt x="25217" y="29161"/>
                    </a:lnTo>
                    <a:lnTo>
                      <a:pt x="26293" y="28385"/>
                    </a:lnTo>
                    <a:lnTo>
                      <a:pt x="27428" y="27548"/>
                    </a:lnTo>
                    <a:lnTo>
                      <a:pt x="28444" y="26652"/>
                    </a:lnTo>
                    <a:lnTo>
                      <a:pt x="30476" y="24739"/>
                    </a:lnTo>
                    <a:lnTo>
                      <a:pt x="31013" y="24261"/>
                    </a:lnTo>
                    <a:lnTo>
                      <a:pt x="31551" y="23664"/>
                    </a:lnTo>
                    <a:lnTo>
                      <a:pt x="32029" y="23126"/>
                    </a:lnTo>
                    <a:lnTo>
                      <a:pt x="32447" y="22529"/>
                    </a:lnTo>
                    <a:lnTo>
                      <a:pt x="32866" y="21931"/>
                    </a:lnTo>
                    <a:lnTo>
                      <a:pt x="33224" y="21333"/>
                    </a:lnTo>
                    <a:lnTo>
                      <a:pt x="33523" y="20676"/>
                    </a:lnTo>
                    <a:lnTo>
                      <a:pt x="33822" y="20019"/>
                    </a:lnTo>
                    <a:lnTo>
                      <a:pt x="34360" y="18704"/>
                    </a:lnTo>
                    <a:lnTo>
                      <a:pt x="34718" y="17390"/>
                    </a:lnTo>
                    <a:lnTo>
                      <a:pt x="34957" y="16015"/>
                    </a:lnTo>
                    <a:lnTo>
                      <a:pt x="35017" y="14641"/>
                    </a:lnTo>
                    <a:lnTo>
                      <a:pt x="35017" y="13924"/>
                    </a:lnTo>
                    <a:lnTo>
                      <a:pt x="34957" y="13266"/>
                    </a:lnTo>
                    <a:lnTo>
                      <a:pt x="34838" y="12549"/>
                    </a:lnTo>
                    <a:lnTo>
                      <a:pt x="34718" y="11892"/>
                    </a:lnTo>
                    <a:lnTo>
                      <a:pt x="34599" y="11235"/>
                    </a:lnTo>
                    <a:lnTo>
                      <a:pt x="34360" y="10577"/>
                    </a:lnTo>
                    <a:lnTo>
                      <a:pt x="34121" y="9920"/>
                    </a:lnTo>
                    <a:lnTo>
                      <a:pt x="33882" y="9263"/>
                    </a:lnTo>
                    <a:lnTo>
                      <a:pt x="33583" y="8606"/>
                    </a:lnTo>
                    <a:lnTo>
                      <a:pt x="33224" y="8008"/>
                    </a:lnTo>
                    <a:lnTo>
                      <a:pt x="32806" y="7410"/>
                    </a:lnTo>
                    <a:lnTo>
                      <a:pt x="32388" y="6813"/>
                    </a:lnTo>
                    <a:lnTo>
                      <a:pt x="31910" y="6275"/>
                    </a:lnTo>
                    <a:lnTo>
                      <a:pt x="31432" y="5737"/>
                    </a:lnTo>
                    <a:lnTo>
                      <a:pt x="30894" y="5200"/>
                    </a:lnTo>
                    <a:lnTo>
                      <a:pt x="30296" y="4721"/>
                    </a:lnTo>
                    <a:lnTo>
                      <a:pt x="29280" y="3945"/>
                    </a:lnTo>
                    <a:lnTo>
                      <a:pt x="28205" y="3228"/>
                    </a:lnTo>
                    <a:lnTo>
                      <a:pt x="27069" y="2570"/>
                    </a:lnTo>
                    <a:lnTo>
                      <a:pt x="25874" y="1973"/>
                    </a:lnTo>
                    <a:lnTo>
                      <a:pt x="24679" y="1435"/>
                    </a:lnTo>
                    <a:lnTo>
                      <a:pt x="23424" y="1017"/>
                    </a:lnTo>
                    <a:lnTo>
                      <a:pt x="22170" y="658"/>
                    </a:lnTo>
                    <a:lnTo>
                      <a:pt x="20855" y="359"/>
                    </a:lnTo>
                    <a:lnTo>
                      <a:pt x="19540" y="180"/>
                    </a:lnTo>
                    <a:lnTo>
                      <a:pt x="18226" y="61"/>
                    </a:lnTo>
                    <a:lnTo>
                      <a:pt x="1691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101" name="Google Shape;25;p2">
                <a:extLst>
                  <a:ext uri="{FF2B5EF4-FFF2-40B4-BE49-F238E27FC236}">
                    <a16:creationId xmlns:a16="http://schemas.microsoft.com/office/drawing/2014/main" id="{4F9740FA-1D78-4B0B-8ED1-34B3D3955579}"/>
                  </a:ext>
                </a:extLst>
              </p:cNvPr>
              <p:cNvSpPr/>
              <p:nvPr/>
            </p:nvSpPr>
            <p:spPr>
              <a:xfrm>
                <a:off x="3901992" y="271731"/>
                <a:ext cx="499650" cy="704779"/>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17" name="Google Shape;26;p2">
              <a:extLst>
                <a:ext uri="{FF2B5EF4-FFF2-40B4-BE49-F238E27FC236}">
                  <a16:creationId xmlns:a16="http://schemas.microsoft.com/office/drawing/2014/main" id="{880F6B94-3351-4359-AA78-95E4BA51ABB9}"/>
                </a:ext>
              </a:extLst>
            </p:cNvPr>
            <p:cNvGrpSpPr/>
            <p:nvPr/>
          </p:nvGrpSpPr>
          <p:grpSpPr>
            <a:xfrm>
              <a:off x="-85500" y="4299338"/>
              <a:ext cx="612915" cy="585559"/>
              <a:chOff x="8158724" y="4646275"/>
              <a:chExt cx="612915" cy="585559"/>
            </a:xfrm>
          </p:grpSpPr>
          <p:sp>
            <p:nvSpPr>
              <p:cNvPr id="98" name="Google Shape;27;p2">
                <a:extLst>
                  <a:ext uri="{FF2B5EF4-FFF2-40B4-BE49-F238E27FC236}">
                    <a16:creationId xmlns:a16="http://schemas.microsoft.com/office/drawing/2014/main" id="{079699AB-E13E-4643-A888-2FB682F50DDC}"/>
                  </a:ext>
                </a:extLst>
              </p:cNvPr>
              <p:cNvSpPr/>
              <p:nvPr/>
            </p:nvSpPr>
            <p:spPr>
              <a:xfrm>
                <a:off x="8158724" y="4646275"/>
                <a:ext cx="511423" cy="463431"/>
              </a:xfrm>
              <a:custGeom>
                <a:avLst/>
                <a:gdLst/>
                <a:ahLst/>
                <a:cxnLst/>
                <a:rect l="l" t="t" r="r" b="b"/>
                <a:pathLst>
                  <a:path w="35017" h="31731" extrusionOk="0">
                    <a:moveTo>
                      <a:pt x="16911" y="1"/>
                    </a:moveTo>
                    <a:lnTo>
                      <a:pt x="15596" y="61"/>
                    </a:lnTo>
                    <a:lnTo>
                      <a:pt x="14282" y="240"/>
                    </a:lnTo>
                    <a:lnTo>
                      <a:pt x="13027" y="479"/>
                    </a:lnTo>
                    <a:lnTo>
                      <a:pt x="11772" y="837"/>
                    </a:lnTo>
                    <a:lnTo>
                      <a:pt x="10517" y="1256"/>
                    </a:lnTo>
                    <a:lnTo>
                      <a:pt x="9442" y="1734"/>
                    </a:lnTo>
                    <a:lnTo>
                      <a:pt x="8366" y="2331"/>
                    </a:lnTo>
                    <a:lnTo>
                      <a:pt x="7350" y="2989"/>
                    </a:lnTo>
                    <a:lnTo>
                      <a:pt x="6454" y="3706"/>
                    </a:lnTo>
                    <a:lnTo>
                      <a:pt x="5558" y="4542"/>
                    </a:lnTo>
                    <a:lnTo>
                      <a:pt x="4721" y="5379"/>
                    </a:lnTo>
                    <a:lnTo>
                      <a:pt x="3944" y="6275"/>
                    </a:lnTo>
                    <a:lnTo>
                      <a:pt x="3227" y="7231"/>
                    </a:lnTo>
                    <a:lnTo>
                      <a:pt x="2570" y="8247"/>
                    </a:lnTo>
                    <a:lnTo>
                      <a:pt x="2032" y="9323"/>
                    </a:lnTo>
                    <a:lnTo>
                      <a:pt x="1494" y="10398"/>
                    </a:lnTo>
                    <a:lnTo>
                      <a:pt x="1076" y="11534"/>
                    </a:lnTo>
                    <a:lnTo>
                      <a:pt x="717" y="12669"/>
                    </a:lnTo>
                    <a:lnTo>
                      <a:pt x="419" y="13804"/>
                    </a:lnTo>
                    <a:lnTo>
                      <a:pt x="180" y="14999"/>
                    </a:lnTo>
                    <a:lnTo>
                      <a:pt x="60" y="16194"/>
                    </a:lnTo>
                    <a:lnTo>
                      <a:pt x="0" y="17569"/>
                    </a:lnTo>
                    <a:lnTo>
                      <a:pt x="60" y="18824"/>
                    </a:lnTo>
                    <a:lnTo>
                      <a:pt x="180" y="20079"/>
                    </a:lnTo>
                    <a:lnTo>
                      <a:pt x="478" y="21274"/>
                    </a:lnTo>
                    <a:lnTo>
                      <a:pt x="837" y="22349"/>
                    </a:lnTo>
                    <a:lnTo>
                      <a:pt x="1315" y="23425"/>
                    </a:lnTo>
                    <a:lnTo>
                      <a:pt x="1853" y="24441"/>
                    </a:lnTo>
                    <a:lnTo>
                      <a:pt x="2510" y="25457"/>
                    </a:lnTo>
                    <a:lnTo>
                      <a:pt x="3287" y="26353"/>
                    </a:lnTo>
                    <a:lnTo>
                      <a:pt x="4064" y="27189"/>
                    </a:lnTo>
                    <a:lnTo>
                      <a:pt x="4960" y="27966"/>
                    </a:lnTo>
                    <a:lnTo>
                      <a:pt x="5976" y="28683"/>
                    </a:lnTo>
                    <a:lnTo>
                      <a:pt x="6992" y="29281"/>
                    </a:lnTo>
                    <a:lnTo>
                      <a:pt x="8127" y="29878"/>
                    </a:lnTo>
                    <a:lnTo>
                      <a:pt x="9322" y="30356"/>
                    </a:lnTo>
                    <a:lnTo>
                      <a:pt x="10517" y="30834"/>
                    </a:lnTo>
                    <a:lnTo>
                      <a:pt x="11892" y="31193"/>
                    </a:lnTo>
                    <a:lnTo>
                      <a:pt x="13206" y="31492"/>
                    </a:lnTo>
                    <a:lnTo>
                      <a:pt x="14581" y="31671"/>
                    </a:lnTo>
                    <a:lnTo>
                      <a:pt x="16015" y="31731"/>
                    </a:lnTo>
                    <a:lnTo>
                      <a:pt x="17389" y="31671"/>
                    </a:lnTo>
                    <a:lnTo>
                      <a:pt x="18763" y="31552"/>
                    </a:lnTo>
                    <a:lnTo>
                      <a:pt x="20138" y="31313"/>
                    </a:lnTo>
                    <a:lnTo>
                      <a:pt x="21452" y="30954"/>
                    </a:lnTo>
                    <a:lnTo>
                      <a:pt x="22110" y="30715"/>
                    </a:lnTo>
                    <a:lnTo>
                      <a:pt x="22767" y="30476"/>
                    </a:lnTo>
                    <a:lnTo>
                      <a:pt x="24022" y="29878"/>
                    </a:lnTo>
                    <a:lnTo>
                      <a:pt x="25217" y="29161"/>
                    </a:lnTo>
                    <a:lnTo>
                      <a:pt x="26293" y="28385"/>
                    </a:lnTo>
                    <a:lnTo>
                      <a:pt x="27428" y="27548"/>
                    </a:lnTo>
                    <a:lnTo>
                      <a:pt x="28444" y="26652"/>
                    </a:lnTo>
                    <a:lnTo>
                      <a:pt x="30476" y="24739"/>
                    </a:lnTo>
                    <a:lnTo>
                      <a:pt x="31013" y="24261"/>
                    </a:lnTo>
                    <a:lnTo>
                      <a:pt x="31551" y="23664"/>
                    </a:lnTo>
                    <a:lnTo>
                      <a:pt x="32029" y="23126"/>
                    </a:lnTo>
                    <a:lnTo>
                      <a:pt x="32447" y="22529"/>
                    </a:lnTo>
                    <a:lnTo>
                      <a:pt x="32866" y="21931"/>
                    </a:lnTo>
                    <a:lnTo>
                      <a:pt x="33224" y="21333"/>
                    </a:lnTo>
                    <a:lnTo>
                      <a:pt x="33523" y="20676"/>
                    </a:lnTo>
                    <a:lnTo>
                      <a:pt x="33822" y="20019"/>
                    </a:lnTo>
                    <a:lnTo>
                      <a:pt x="34360" y="18704"/>
                    </a:lnTo>
                    <a:lnTo>
                      <a:pt x="34718" y="17390"/>
                    </a:lnTo>
                    <a:lnTo>
                      <a:pt x="34957" y="16015"/>
                    </a:lnTo>
                    <a:lnTo>
                      <a:pt x="35017" y="14641"/>
                    </a:lnTo>
                    <a:lnTo>
                      <a:pt x="35017" y="13924"/>
                    </a:lnTo>
                    <a:lnTo>
                      <a:pt x="34957" y="13266"/>
                    </a:lnTo>
                    <a:lnTo>
                      <a:pt x="34838" y="12549"/>
                    </a:lnTo>
                    <a:lnTo>
                      <a:pt x="34718" y="11892"/>
                    </a:lnTo>
                    <a:lnTo>
                      <a:pt x="34599" y="11235"/>
                    </a:lnTo>
                    <a:lnTo>
                      <a:pt x="34360" y="10577"/>
                    </a:lnTo>
                    <a:lnTo>
                      <a:pt x="34121" y="9920"/>
                    </a:lnTo>
                    <a:lnTo>
                      <a:pt x="33882" y="9263"/>
                    </a:lnTo>
                    <a:lnTo>
                      <a:pt x="33583" y="8606"/>
                    </a:lnTo>
                    <a:lnTo>
                      <a:pt x="33224" y="8008"/>
                    </a:lnTo>
                    <a:lnTo>
                      <a:pt x="32806" y="7410"/>
                    </a:lnTo>
                    <a:lnTo>
                      <a:pt x="32388" y="6813"/>
                    </a:lnTo>
                    <a:lnTo>
                      <a:pt x="31910" y="6275"/>
                    </a:lnTo>
                    <a:lnTo>
                      <a:pt x="31432" y="5737"/>
                    </a:lnTo>
                    <a:lnTo>
                      <a:pt x="30894" y="5200"/>
                    </a:lnTo>
                    <a:lnTo>
                      <a:pt x="30296" y="4721"/>
                    </a:lnTo>
                    <a:lnTo>
                      <a:pt x="29280" y="3945"/>
                    </a:lnTo>
                    <a:lnTo>
                      <a:pt x="28205" y="3228"/>
                    </a:lnTo>
                    <a:lnTo>
                      <a:pt x="27069" y="2570"/>
                    </a:lnTo>
                    <a:lnTo>
                      <a:pt x="25874" y="1973"/>
                    </a:lnTo>
                    <a:lnTo>
                      <a:pt x="24679" y="1435"/>
                    </a:lnTo>
                    <a:lnTo>
                      <a:pt x="23424" y="1017"/>
                    </a:lnTo>
                    <a:lnTo>
                      <a:pt x="22170" y="658"/>
                    </a:lnTo>
                    <a:lnTo>
                      <a:pt x="20855" y="359"/>
                    </a:lnTo>
                    <a:lnTo>
                      <a:pt x="19540" y="180"/>
                    </a:lnTo>
                    <a:lnTo>
                      <a:pt x="18226" y="61"/>
                    </a:lnTo>
                    <a:lnTo>
                      <a:pt x="1691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9" name="Google Shape;28;p2">
                <a:extLst>
                  <a:ext uri="{FF2B5EF4-FFF2-40B4-BE49-F238E27FC236}">
                    <a16:creationId xmlns:a16="http://schemas.microsoft.com/office/drawing/2014/main" id="{2E521742-9B6F-4627-8EC5-60F64ACFAF44}"/>
                  </a:ext>
                </a:extLst>
              </p:cNvPr>
              <p:cNvSpPr/>
              <p:nvPr/>
            </p:nvSpPr>
            <p:spPr>
              <a:xfrm>
                <a:off x="8170373" y="4682299"/>
                <a:ext cx="601266" cy="549535"/>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18" name="Google Shape;29;p2">
              <a:extLst>
                <a:ext uri="{FF2B5EF4-FFF2-40B4-BE49-F238E27FC236}">
                  <a16:creationId xmlns:a16="http://schemas.microsoft.com/office/drawing/2014/main" id="{9560D005-42F1-4338-B0A7-019A505317B4}"/>
                </a:ext>
              </a:extLst>
            </p:cNvPr>
            <p:cNvSpPr/>
            <p:nvPr/>
          </p:nvSpPr>
          <p:spPr>
            <a:xfrm rot="2001982">
              <a:off x="136143" y="2216866"/>
              <a:ext cx="321474" cy="709766"/>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19" name="Google Shape;30;p2">
              <a:extLst>
                <a:ext uri="{FF2B5EF4-FFF2-40B4-BE49-F238E27FC236}">
                  <a16:creationId xmlns:a16="http://schemas.microsoft.com/office/drawing/2014/main" id="{E5CD0861-C851-415E-9618-0358C8F35B16}"/>
                </a:ext>
              </a:extLst>
            </p:cNvPr>
            <p:cNvGrpSpPr/>
            <p:nvPr/>
          </p:nvGrpSpPr>
          <p:grpSpPr>
            <a:xfrm>
              <a:off x="968652" y="3696885"/>
              <a:ext cx="565312" cy="602473"/>
              <a:chOff x="813652" y="3801560"/>
              <a:chExt cx="565312" cy="602473"/>
            </a:xfrm>
          </p:grpSpPr>
          <p:sp>
            <p:nvSpPr>
              <p:cNvPr id="96" name="Google Shape;31;p2">
                <a:extLst>
                  <a:ext uri="{FF2B5EF4-FFF2-40B4-BE49-F238E27FC236}">
                    <a16:creationId xmlns:a16="http://schemas.microsoft.com/office/drawing/2014/main" id="{0E52EBA3-E209-4845-A921-54D168D9F53B}"/>
                  </a:ext>
                </a:extLst>
              </p:cNvPr>
              <p:cNvSpPr/>
              <p:nvPr/>
            </p:nvSpPr>
            <p:spPr>
              <a:xfrm rot="6264782">
                <a:off x="849950" y="3919090"/>
                <a:ext cx="380679" cy="370162"/>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7" name="Google Shape;32;p2">
                <a:extLst>
                  <a:ext uri="{FF2B5EF4-FFF2-40B4-BE49-F238E27FC236}">
                    <a16:creationId xmlns:a16="http://schemas.microsoft.com/office/drawing/2014/main" id="{83C02F3D-0741-41F5-9477-B7E0E381D908}"/>
                  </a:ext>
                </a:extLst>
              </p:cNvPr>
              <p:cNvSpPr/>
              <p:nvPr/>
            </p:nvSpPr>
            <p:spPr>
              <a:xfrm rot="-1974315">
                <a:off x="996275" y="3825647"/>
                <a:ext cx="252371" cy="554298"/>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20" name="Google Shape;33;p2">
              <a:extLst>
                <a:ext uri="{FF2B5EF4-FFF2-40B4-BE49-F238E27FC236}">
                  <a16:creationId xmlns:a16="http://schemas.microsoft.com/office/drawing/2014/main" id="{F1985F7F-0CD7-4E5B-B177-05BFF6116C13}"/>
                </a:ext>
              </a:extLst>
            </p:cNvPr>
            <p:cNvSpPr/>
            <p:nvPr/>
          </p:nvSpPr>
          <p:spPr>
            <a:xfrm>
              <a:off x="4101001" y="4649180"/>
              <a:ext cx="376856" cy="254902"/>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1" name="Google Shape;34;p2">
              <a:extLst>
                <a:ext uri="{FF2B5EF4-FFF2-40B4-BE49-F238E27FC236}">
                  <a16:creationId xmlns:a16="http://schemas.microsoft.com/office/drawing/2014/main" id="{72897235-3719-4DD4-823D-8C397B5C0EAE}"/>
                </a:ext>
              </a:extLst>
            </p:cNvPr>
            <p:cNvSpPr/>
            <p:nvPr/>
          </p:nvSpPr>
          <p:spPr>
            <a:xfrm>
              <a:off x="8091625" y="827000"/>
              <a:ext cx="485245" cy="329049"/>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2" name="Google Shape;35;p2">
              <a:extLst>
                <a:ext uri="{FF2B5EF4-FFF2-40B4-BE49-F238E27FC236}">
                  <a16:creationId xmlns:a16="http://schemas.microsoft.com/office/drawing/2014/main" id="{5A3FACA7-85C1-4399-A3E0-CB15AC77FC10}"/>
                </a:ext>
              </a:extLst>
            </p:cNvPr>
            <p:cNvSpPr/>
            <p:nvPr/>
          </p:nvSpPr>
          <p:spPr>
            <a:xfrm rot="3971375">
              <a:off x="3138581" y="4622816"/>
              <a:ext cx="362909" cy="668479"/>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3" name="Google Shape;36;p2">
              <a:extLst>
                <a:ext uri="{FF2B5EF4-FFF2-40B4-BE49-F238E27FC236}">
                  <a16:creationId xmlns:a16="http://schemas.microsoft.com/office/drawing/2014/main" id="{642AD79A-DD76-4AD3-81C6-4ACA9BE0101A}"/>
                </a:ext>
              </a:extLst>
            </p:cNvPr>
            <p:cNvSpPr/>
            <p:nvPr/>
          </p:nvSpPr>
          <p:spPr>
            <a:xfrm rot="-3375824">
              <a:off x="8508205" y="4088864"/>
              <a:ext cx="623152" cy="166730"/>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4" name="Google Shape;37;p2">
              <a:extLst>
                <a:ext uri="{FF2B5EF4-FFF2-40B4-BE49-F238E27FC236}">
                  <a16:creationId xmlns:a16="http://schemas.microsoft.com/office/drawing/2014/main" id="{81ECFDDF-9A1E-4C71-9C9D-5E09A2D9C4E2}"/>
                </a:ext>
              </a:extLst>
            </p:cNvPr>
            <p:cNvSpPr/>
            <p:nvPr/>
          </p:nvSpPr>
          <p:spPr>
            <a:xfrm rot="3011666">
              <a:off x="3210524" y="657803"/>
              <a:ext cx="199800" cy="513948"/>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5" name="Google Shape;38;p2">
              <a:extLst>
                <a:ext uri="{FF2B5EF4-FFF2-40B4-BE49-F238E27FC236}">
                  <a16:creationId xmlns:a16="http://schemas.microsoft.com/office/drawing/2014/main" id="{A307D40B-7242-44D4-B591-17FD3BF09EB6}"/>
                </a:ext>
              </a:extLst>
            </p:cNvPr>
            <p:cNvSpPr/>
            <p:nvPr/>
          </p:nvSpPr>
          <p:spPr>
            <a:xfrm rot="2196195">
              <a:off x="6146037" y="457710"/>
              <a:ext cx="248001" cy="64914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26" name="Google Shape;39;p2">
              <a:extLst>
                <a:ext uri="{FF2B5EF4-FFF2-40B4-BE49-F238E27FC236}">
                  <a16:creationId xmlns:a16="http://schemas.microsoft.com/office/drawing/2014/main" id="{5604326C-FEC7-4B4A-B74C-3C1729D48495}"/>
                </a:ext>
              </a:extLst>
            </p:cNvPr>
            <p:cNvGrpSpPr/>
            <p:nvPr/>
          </p:nvGrpSpPr>
          <p:grpSpPr>
            <a:xfrm>
              <a:off x="5462677" y="4575203"/>
              <a:ext cx="497752" cy="491681"/>
              <a:chOff x="7559440" y="3972390"/>
              <a:chExt cx="497752" cy="491681"/>
            </a:xfrm>
          </p:grpSpPr>
          <p:sp>
            <p:nvSpPr>
              <p:cNvPr id="94" name="Google Shape;40;p2">
                <a:extLst>
                  <a:ext uri="{FF2B5EF4-FFF2-40B4-BE49-F238E27FC236}">
                    <a16:creationId xmlns:a16="http://schemas.microsoft.com/office/drawing/2014/main" id="{E60B4D83-EADD-40A5-8739-074D34190748}"/>
                  </a:ext>
                </a:extLst>
              </p:cNvPr>
              <p:cNvSpPr/>
              <p:nvPr/>
            </p:nvSpPr>
            <p:spPr>
              <a:xfrm rot="1226546">
                <a:off x="7692589" y="4106488"/>
                <a:ext cx="320298" cy="311457"/>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5" name="Google Shape;41;p2">
                <a:extLst>
                  <a:ext uri="{FF2B5EF4-FFF2-40B4-BE49-F238E27FC236}">
                    <a16:creationId xmlns:a16="http://schemas.microsoft.com/office/drawing/2014/main" id="{3FF74D61-8F2C-415F-870A-3E26DFE35B47}"/>
                  </a:ext>
                </a:extLst>
              </p:cNvPr>
              <p:cNvSpPr/>
              <p:nvPr/>
            </p:nvSpPr>
            <p:spPr>
              <a:xfrm rot="9911830">
                <a:off x="7595186" y="4010311"/>
                <a:ext cx="338915" cy="323847"/>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27" name="Google Shape;42;p2">
              <a:extLst>
                <a:ext uri="{FF2B5EF4-FFF2-40B4-BE49-F238E27FC236}">
                  <a16:creationId xmlns:a16="http://schemas.microsoft.com/office/drawing/2014/main" id="{7B3E780A-FE52-4930-9014-FFEF28ABA4B9}"/>
                </a:ext>
              </a:extLst>
            </p:cNvPr>
            <p:cNvGrpSpPr/>
            <p:nvPr/>
          </p:nvGrpSpPr>
          <p:grpSpPr>
            <a:xfrm>
              <a:off x="510215" y="271717"/>
              <a:ext cx="557022" cy="619823"/>
              <a:chOff x="510215" y="271717"/>
              <a:chExt cx="557022" cy="619823"/>
            </a:xfrm>
          </p:grpSpPr>
          <p:sp>
            <p:nvSpPr>
              <p:cNvPr id="92" name="Google Shape;43;p2">
                <a:extLst>
                  <a:ext uri="{FF2B5EF4-FFF2-40B4-BE49-F238E27FC236}">
                    <a16:creationId xmlns:a16="http://schemas.microsoft.com/office/drawing/2014/main" id="{DB21A7C0-E34D-4908-8E9B-C1BA461C3D8C}"/>
                  </a:ext>
                </a:extLst>
              </p:cNvPr>
              <p:cNvSpPr/>
              <p:nvPr/>
            </p:nvSpPr>
            <p:spPr>
              <a:xfrm>
                <a:off x="676827" y="376200"/>
                <a:ext cx="316843" cy="320881"/>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3" name="Google Shape;44;p2">
                <a:extLst>
                  <a:ext uri="{FF2B5EF4-FFF2-40B4-BE49-F238E27FC236}">
                    <a16:creationId xmlns:a16="http://schemas.microsoft.com/office/drawing/2014/main" id="{BCE5B0F7-5FDC-4B9D-8BBB-EEDEFB1C0A37}"/>
                  </a:ext>
                </a:extLst>
              </p:cNvPr>
              <p:cNvSpPr/>
              <p:nvPr/>
            </p:nvSpPr>
            <p:spPr>
              <a:xfrm>
                <a:off x="510215" y="271717"/>
                <a:ext cx="557022" cy="619823"/>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28" name="Google Shape;45;p2">
              <a:extLst>
                <a:ext uri="{FF2B5EF4-FFF2-40B4-BE49-F238E27FC236}">
                  <a16:creationId xmlns:a16="http://schemas.microsoft.com/office/drawing/2014/main" id="{88E0BC4D-444B-4D02-A994-34ED22CEAF8E}"/>
                </a:ext>
              </a:extLst>
            </p:cNvPr>
            <p:cNvSpPr/>
            <p:nvPr/>
          </p:nvSpPr>
          <p:spPr>
            <a:xfrm>
              <a:off x="1778886" y="4237081"/>
              <a:ext cx="556337" cy="631409"/>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9" name="Google Shape;46;p2">
              <a:extLst>
                <a:ext uri="{FF2B5EF4-FFF2-40B4-BE49-F238E27FC236}">
                  <a16:creationId xmlns:a16="http://schemas.microsoft.com/office/drawing/2014/main" id="{795A7F5F-5BB4-4E59-8D97-0332F453E9D8}"/>
                </a:ext>
              </a:extLst>
            </p:cNvPr>
            <p:cNvSpPr/>
            <p:nvPr/>
          </p:nvSpPr>
          <p:spPr>
            <a:xfrm rot="-982808">
              <a:off x="7867083" y="4603094"/>
              <a:ext cx="701993" cy="567693"/>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0" name="Google Shape;47;p2">
              <a:extLst>
                <a:ext uri="{FF2B5EF4-FFF2-40B4-BE49-F238E27FC236}">
                  <a16:creationId xmlns:a16="http://schemas.microsoft.com/office/drawing/2014/main" id="{C5E1B8C9-851C-4F75-B9DD-82A1506E00E8}"/>
                </a:ext>
              </a:extLst>
            </p:cNvPr>
            <p:cNvSpPr/>
            <p:nvPr/>
          </p:nvSpPr>
          <p:spPr>
            <a:xfrm rot="1185294">
              <a:off x="4798350" y="3885963"/>
              <a:ext cx="616477" cy="671778"/>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1" name="Google Shape;48;p2">
              <a:extLst>
                <a:ext uri="{FF2B5EF4-FFF2-40B4-BE49-F238E27FC236}">
                  <a16:creationId xmlns:a16="http://schemas.microsoft.com/office/drawing/2014/main" id="{4D10690C-C3D5-466C-AD32-8BB998CFB067}"/>
                </a:ext>
              </a:extLst>
            </p:cNvPr>
            <p:cNvSpPr/>
            <p:nvPr/>
          </p:nvSpPr>
          <p:spPr>
            <a:xfrm>
              <a:off x="1393062" y="748927"/>
              <a:ext cx="579203" cy="652168"/>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2" name="Google Shape;49;p2">
              <a:extLst>
                <a:ext uri="{FF2B5EF4-FFF2-40B4-BE49-F238E27FC236}">
                  <a16:creationId xmlns:a16="http://schemas.microsoft.com/office/drawing/2014/main" id="{772FC28F-55E1-4A85-85CE-186685CBF53B}"/>
                </a:ext>
              </a:extLst>
            </p:cNvPr>
            <p:cNvSpPr/>
            <p:nvPr/>
          </p:nvSpPr>
          <p:spPr>
            <a:xfrm>
              <a:off x="7317433" y="2956555"/>
              <a:ext cx="716315" cy="573888"/>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3" name="Google Shape;50;p2">
              <a:extLst>
                <a:ext uri="{FF2B5EF4-FFF2-40B4-BE49-F238E27FC236}">
                  <a16:creationId xmlns:a16="http://schemas.microsoft.com/office/drawing/2014/main" id="{708C5B91-1264-4D6C-A190-BC6FAC6C274A}"/>
                </a:ext>
              </a:extLst>
            </p:cNvPr>
            <p:cNvSpPr/>
            <p:nvPr/>
          </p:nvSpPr>
          <p:spPr>
            <a:xfrm>
              <a:off x="8750637" y="1716146"/>
              <a:ext cx="454206" cy="406096"/>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4" name="Google Shape;51;p2">
              <a:extLst>
                <a:ext uri="{FF2B5EF4-FFF2-40B4-BE49-F238E27FC236}">
                  <a16:creationId xmlns:a16="http://schemas.microsoft.com/office/drawing/2014/main" id="{EB842972-F3A9-4119-BEBC-00CE4D3660D6}"/>
                </a:ext>
              </a:extLst>
            </p:cNvPr>
            <p:cNvSpPr/>
            <p:nvPr/>
          </p:nvSpPr>
          <p:spPr>
            <a:xfrm rot="-2424156">
              <a:off x="2052510" y="-106317"/>
              <a:ext cx="373867" cy="493313"/>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5" name="Google Shape;52;p2">
              <a:extLst>
                <a:ext uri="{FF2B5EF4-FFF2-40B4-BE49-F238E27FC236}">
                  <a16:creationId xmlns:a16="http://schemas.microsoft.com/office/drawing/2014/main" id="{E0E7B5CB-3D65-4882-B5EF-91D6FB545DD2}"/>
                </a:ext>
              </a:extLst>
            </p:cNvPr>
            <p:cNvSpPr/>
            <p:nvPr/>
          </p:nvSpPr>
          <p:spPr>
            <a:xfrm>
              <a:off x="5960437" y="3855732"/>
              <a:ext cx="712864" cy="419317"/>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6" name="Google Shape;53;p2">
              <a:extLst>
                <a:ext uri="{FF2B5EF4-FFF2-40B4-BE49-F238E27FC236}">
                  <a16:creationId xmlns:a16="http://schemas.microsoft.com/office/drawing/2014/main" id="{6E8FA8A2-6748-4033-9D1E-7C0954E44E32}"/>
                </a:ext>
              </a:extLst>
            </p:cNvPr>
            <p:cNvGrpSpPr/>
            <p:nvPr/>
          </p:nvGrpSpPr>
          <p:grpSpPr>
            <a:xfrm rot="891035">
              <a:off x="1165229" y="1691730"/>
              <a:ext cx="657771" cy="386113"/>
              <a:chOff x="1429156" y="1387535"/>
              <a:chExt cx="657769" cy="386112"/>
            </a:xfrm>
          </p:grpSpPr>
          <p:sp>
            <p:nvSpPr>
              <p:cNvPr id="90" name="Google Shape;54;p2">
                <a:extLst>
                  <a:ext uri="{FF2B5EF4-FFF2-40B4-BE49-F238E27FC236}">
                    <a16:creationId xmlns:a16="http://schemas.microsoft.com/office/drawing/2014/main" id="{00037E76-654A-469D-A0B6-022FCDB570C5}"/>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91" name="Google Shape;55;p2">
                <a:extLst>
                  <a:ext uri="{FF2B5EF4-FFF2-40B4-BE49-F238E27FC236}">
                    <a16:creationId xmlns:a16="http://schemas.microsoft.com/office/drawing/2014/main" id="{3D9B4B76-5127-4D96-8478-952301488486}"/>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7" name="Google Shape;56;p2">
              <a:extLst>
                <a:ext uri="{FF2B5EF4-FFF2-40B4-BE49-F238E27FC236}">
                  <a16:creationId xmlns:a16="http://schemas.microsoft.com/office/drawing/2014/main" id="{BCC50E44-D05B-4D2B-BFC7-9BFD74379BFC}"/>
                </a:ext>
              </a:extLst>
            </p:cNvPr>
            <p:cNvSpPr/>
            <p:nvPr/>
          </p:nvSpPr>
          <p:spPr>
            <a:xfrm rot="-1696692">
              <a:off x="7441723" y="1525254"/>
              <a:ext cx="760522" cy="200454"/>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8" name="Google Shape;57;p2">
              <a:extLst>
                <a:ext uri="{FF2B5EF4-FFF2-40B4-BE49-F238E27FC236}">
                  <a16:creationId xmlns:a16="http://schemas.microsoft.com/office/drawing/2014/main" id="{59BF1B50-3F01-40E4-9920-78A3641A19BF}"/>
                </a:ext>
              </a:extLst>
            </p:cNvPr>
            <p:cNvSpPr/>
            <p:nvPr/>
          </p:nvSpPr>
          <p:spPr>
            <a:xfrm>
              <a:off x="1161548" y="2558031"/>
              <a:ext cx="665135" cy="522113"/>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9" name="Google Shape;58;p2">
              <a:extLst>
                <a:ext uri="{FF2B5EF4-FFF2-40B4-BE49-F238E27FC236}">
                  <a16:creationId xmlns:a16="http://schemas.microsoft.com/office/drawing/2014/main" id="{ECF2D44A-FB25-43C4-AFB2-097784CDC432}"/>
                </a:ext>
              </a:extLst>
            </p:cNvPr>
            <p:cNvGrpSpPr/>
            <p:nvPr/>
          </p:nvGrpSpPr>
          <p:grpSpPr>
            <a:xfrm>
              <a:off x="346827" y="3411153"/>
              <a:ext cx="376916" cy="455685"/>
              <a:chOff x="1010452" y="1144365"/>
              <a:chExt cx="376916" cy="455685"/>
            </a:xfrm>
          </p:grpSpPr>
          <p:sp>
            <p:nvSpPr>
              <p:cNvPr id="88" name="Google Shape;59;p2">
                <a:extLst>
                  <a:ext uri="{FF2B5EF4-FFF2-40B4-BE49-F238E27FC236}">
                    <a16:creationId xmlns:a16="http://schemas.microsoft.com/office/drawing/2014/main" id="{9DAA066F-D056-423F-BF3E-D6A24D45AEE9}"/>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89" name="Google Shape;60;p2">
                <a:extLst>
                  <a:ext uri="{FF2B5EF4-FFF2-40B4-BE49-F238E27FC236}">
                    <a16:creationId xmlns:a16="http://schemas.microsoft.com/office/drawing/2014/main" id="{3D9CCD77-55C1-476F-8683-56ED66C7A90A}"/>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40" name="Google Shape;61;p2">
              <a:extLst>
                <a:ext uri="{FF2B5EF4-FFF2-40B4-BE49-F238E27FC236}">
                  <a16:creationId xmlns:a16="http://schemas.microsoft.com/office/drawing/2014/main" id="{4AF7C0F7-47FA-4AEE-B784-77502FF351F3}"/>
                </a:ext>
              </a:extLst>
            </p:cNvPr>
            <p:cNvGrpSpPr/>
            <p:nvPr/>
          </p:nvGrpSpPr>
          <p:grpSpPr>
            <a:xfrm>
              <a:off x="7439637" y="3918577"/>
              <a:ext cx="503800" cy="507307"/>
              <a:chOff x="7439637" y="3918577"/>
              <a:chExt cx="503800" cy="507307"/>
            </a:xfrm>
          </p:grpSpPr>
          <p:sp>
            <p:nvSpPr>
              <p:cNvPr id="86" name="Google Shape;62;p2">
                <a:extLst>
                  <a:ext uri="{FF2B5EF4-FFF2-40B4-BE49-F238E27FC236}">
                    <a16:creationId xmlns:a16="http://schemas.microsoft.com/office/drawing/2014/main" id="{46328B47-DA59-4652-A7F5-124DD21137EF}"/>
                  </a:ext>
                </a:extLst>
              </p:cNvPr>
              <p:cNvSpPr/>
              <p:nvPr/>
            </p:nvSpPr>
            <p:spPr>
              <a:xfrm>
                <a:off x="7547126" y="4133375"/>
                <a:ext cx="332324"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7" name="Google Shape;63;p2">
                <a:extLst>
                  <a:ext uri="{FF2B5EF4-FFF2-40B4-BE49-F238E27FC236}">
                    <a16:creationId xmlns:a16="http://schemas.microsoft.com/office/drawing/2014/main" id="{9199EEDB-BB7B-4A6E-ADD8-4E3E159896F8}"/>
                  </a:ext>
                </a:extLst>
              </p:cNvPr>
              <p:cNvSpPr/>
              <p:nvPr/>
            </p:nvSpPr>
            <p:spPr>
              <a:xfrm rot="-1109260">
                <a:off x="7493180" y="3971096"/>
                <a:ext cx="396713" cy="402269"/>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1" name="Google Shape;64;p2">
              <a:extLst>
                <a:ext uri="{FF2B5EF4-FFF2-40B4-BE49-F238E27FC236}">
                  <a16:creationId xmlns:a16="http://schemas.microsoft.com/office/drawing/2014/main" id="{E59F448A-21CE-4C24-B920-61BB83D212B2}"/>
                </a:ext>
              </a:extLst>
            </p:cNvPr>
            <p:cNvSpPr/>
            <p:nvPr/>
          </p:nvSpPr>
          <p:spPr>
            <a:xfrm>
              <a:off x="6255960" y="791694"/>
              <a:ext cx="453103" cy="511439"/>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2" name="Google Shape;65;p2">
              <a:extLst>
                <a:ext uri="{FF2B5EF4-FFF2-40B4-BE49-F238E27FC236}">
                  <a16:creationId xmlns:a16="http://schemas.microsoft.com/office/drawing/2014/main" id="{527558DB-1967-464C-A148-6CC493D60684}"/>
                </a:ext>
              </a:extLst>
            </p:cNvPr>
            <p:cNvSpPr/>
            <p:nvPr/>
          </p:nvSpPr>
          <p:spPr>
            <a:xfrm rot="1799564">
              <a:off x="7155158" y="4556613"/>
              <a:ext cx="351219" cy="440001"/>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43" name="Google Shape;66;p2">
              <a:extLst>
                <a:ext uri="{FF2B5EF4-FFF2-40B4-BE49-F238E27FC236}">
                  <a16:creationId xmlns:a16="http://schemas.microsoft.com/office/drawing/2014/main" id="{6696EF14-D5CC-40FA-AFFE-9EE05B54F2CD}"/>
                </a:ext>
              </a:extLst>
            </p:cNvPr>
            <p:cNvGrpSpPr/>
            <p:nvPr/>
          </p:nvGrpSpPr>
          <p:grpSpPr>
            <a:xfrm>
              <a:off x="7413193" y="740389"/>
              <a:ext cx="289739" cy="482318"/>
              <a:chOff x="4912930" y="846902"/>
              <a:chExt cx="289739" cy="482318"/>
            </a:xfrm>
          </p:grpSpPr>
          <p:sp>
            <p:nvSpPr>
              <p:cNvPr id="84" name="Google Shape;67;p2">
                <a:extLst>
                  <a:ext uri="{FF2B5EF4-FFF2-40B4-BE49-F238E27FC236}">
                    <a16:creationId xmlns:a16="http://schemas.microsoft.com/office/drawing/2014/main" id="{B789A9D7-7032-492B-8E88-FAAFF213085F}"/>
                  </a:ext>
                </a:extLst>
              </p:cNvPr>
              <p:cNvSpPr/>
              <p:nvPr/>
            </p:nvSpPr>
            <p:spPr>
              <a:xfrm rot="-539734">
                <a:off x="4946894" y="1102828"/>
                <a:ext cx="216728" cy="210745"/>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5" name="Google Shape;68;p2">
                <a:extLst>
                  <a:ext uri="{FF2B5EF4-FFF2-40B4-BE49-F238E27FC236}">
                    <a16:creationId xmlns:a16="http://schemas.microsoft.com/office/drawing/2014/main" id="{04D6CFDC-9538-4D9F-8FF0-4602FECC44E8}"/>
                  </a:ext>
                </a:extLst>
              </p:cNvPr>
              <p:cNvSpPr/>
              <p:nvPr/>
            </p:nvSpPr>
            <p:spPr>
              <a:xfrm>
                <a:off x="4912930" y="846902"/>
                <a:ext cx="289739" cy="45623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4" name="Google Shape;69;p2">
              <a:extLst>
                <a:ext uri="{FF2B5EF4-FFF2-40B4-BE49-F238E27FC236}">
                  <a16:creationId xmlns:a16="http://schemas.microsoft.com/office/drawing/2014/main" id="{FF13580C-CB14-4338-9AB3-16D33D789C93}"/>
                </a:ext>
              </a:extLst>
            </p:cNvPr>
            <p:cNvSpPr/>
            <p:nvPr/>
          </p:nvSpPr>
          <p:spPr>
            <a:xfrm>
              <a:off x="7082287" y="-53997"/>
              <a:ext cx="602898" cy="641121"/>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5" name="Google Shape;70;p2">
              <a:extLst>
                <a:ext uri="{FF2B5EF4-FFF2-40B4-BE49-F238E27FC236}">
                  <a16:creationId xmlns:a16="http://schemas.microsoft.com/office/drawing/2014/main" id="{E5A5B5C8-FD14-4385-AE28-FC4CE101CBF1}"/>
                </a:ext>
              </a:extLst>
            </p:cNvPr>
            <p:cNvSpPr/>
            <p:nvPr/>
          </p:nvSpPr>
          <p:spPr>
            <a:xfrm>
              <a:off x="4981978" y="271723"/>
              <a:ext cx="738779" cy="460515"/>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46" name="Google Shape;71;p2">
              <a:extLst>
                <a:ext uri="{FF2B5EF4-FFF2-40B4-BE49-F238E27FC236}">
                  <a16:creationId xmlns:a16="http://schemas.microsoft.com/office/drawing/2014/main" id="{EF0497D5-034D-4BED-B2FD-96D861FDF618}"/>
                </a:ext>
              </a:extLst>
            </p:cNvPr>
            <p:cNvGrpSpPr/>
            <p:nvPr/>
          </p:nvGrpSpPr>
          <p:grpSpPr>
            <a:xfrm>
              <a:off x="7801268" y="2011644"/>
              <a:ext cx="583849" cy="670195"/>
              <a:chOff x="7801268" y="2011644"/>
              <a:chExt cx="583849" cy="670195"/>
            </a:xfrm>
          </p:grpSpPr>
          <p:sp>
            <p:nvSpPr>
              <p:cNvPr id="82" name="Google Shape;72;p2">
                <a:extLst>
                  <a:ext uri="{FF2B5EF4-FFF2-40B4-BE49-F238E27FC236}">
                    <a16:creationId xmlns:a16="http://schemas.microsoft.com/office/drawing/2014/main" id="{17A26FFC-8348-4ABC-A812-F6E26FDB1B85}"/>
                  </a:ext>
                </a:extLst>
              </p:cNvPr>
              <p:cNvSpPr/>
              <p:nvPr/>
            </p:nvSpPr>
            <p:spPr>
              <a:xfrm rot="6678441">
                <a:off x="7840657" y="2123048"/>
                <a:ext cx="518922" cy="409425"/>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3" name="Google Shape;73;p2">
                <a:extLst>
                  <a:ext uri="{FF2B5EF4-FFF2-40B4-BE49-F238E27FC236}">
                    <a16:creationId xmlns:a16="http://schemas.microsoft.com/office/drawing/2014/main" id="{5BD01DDA-6970-4AD9-88E1-5EC430ADC778}"/>
                  </a:ext>
                </a:extLst>
              </p:cNvPr>
              <p:cNvSpPr/>
              <p:nvPr/>
            </p:nvSpPr>
            <p:spPr>
              <a:xfrm rot="-1245048">
                <a:off x="7884626" y="2097617"/>
                <a:ext cx="363919" cy="537176"/>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47" name="Google Shape;74;p2">
              <a:extLst>
                <a:ext uri="{FF2B5EF4-FFF2-40B4-BE49-F238E27FC236}">
                  <a16:creationId xmlns:a16="http://schemas.microsoft.com/office/drawing/2014/main" id="{659C0682-6BC4-4294-943E-0123E3492480}"/>
                </a:ext>
              </a:extLst>
            </p:cNvPr>
            <p:cNvGrpSpPr/>
            <p:nvPr/>
          </p:nvGrpSpPr>
          <p:grpSpPr>
            <a:xfrm>
              <a:off x="286734" y="1360788"/>
              <a:ext cx="437027" cy="515682"/>
              <a:chOff x="286734" y="1360788"/>
              <a:chExt cx="437027" cy="515682"/>
            </a:xfrm>
          </p:grpSpPr>
          <p:sp>
            <p:nvSpPr>
              <p:cNvPr id="80" name="Google Shape;75;p2">
                <a:extLst>
                  <a:ext uri="{FF2B5EF4-FFF2-40B4-BE49-F238E27FC236}">
                    <a16:creationId xmlns:a16="http://schemas.microsoft.com/office/drawing/2014/main" id="{73DCC9B3-C9C8-4AA7-A179-BC5D1EFCFE34}"/>
                  </a:ext>
                </a:extLst>
              </p:cNvPr>
              <p:cNvSpPr/>
              <p:nvPr/>
            </p:nvSpPr>
            <p:spPr>
              <a:xfrm>
                <a:off x="286734" y="1396113"/>
                <a:ext cx="288826"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1" name="Google Shape;76;p2">
                <a:extLst>
                  <a:ext uri="{FF2B5EF4-FFF2-40B4-BE49-F238E27FC236}">
                    <a16:creationId xmlns:a16="http://schemas.microsoft.com/office/drawing/2014/main" id="{126F0858-6408-4050-BBCE-F70FADA594F6}"/>
                  </a:ext>
                </a:extLst>
              </p:cNvPr>
              <p:cNvSpPr/>
              <p:nvPr/>
            </p:nvSpPr>
            <p:spPr>
              <a:xfrm>
                <a:off x="313599" y="1360788"/>
                <a:ext cx="410163" cy="515682"/>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8" name="Google Shape;77;p2">
              <a:extLst>
                <a:ext uri="{FF2B5EF4-FFF2-40B4-BE49-F238E27FC236}">
                  <a16:creationId xmlns:a16="http://schemas.microsoft.com/office/drawing/2014/main" id="{A3AA01DC-6A07-4C85-B5EF-4D5A93B2A10D}"/>
                </a:ext>
              </a:extLst>
            </p:cNvPr>
            <p:cNvSpPr/>
            <p:nvPr/>
          </p:nvSpPr>
          <p:spPr>
            <a:xfrm>
              <a:off x="2688787" y="4098763"/>
              <a:ext cx="455682" cy="43272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9" name="Google Shape;78;p2">
              <a:extLst>
                <a:ext uri="{FF2B5EF4-FFF2-40B4-BE49-F238E27FC236}">
                  <a16:creationId xmlns:a16="http://schemas.microsoft.com/office/drawing/2014/main" id="{388C9D55-90F3-4356-87AA-968D9E2FEAF3}"/>
                </a:ext>
              </a:extLst>
            </p:cNvPr>
            <p:cNvSpPr/>
            <p:nvPr/>
          </p:nvSpPr>
          <p:spPr>
            <a:xfrm>
              <a:off x="933400" y="1069738"/>
              <a:ext cx="175646" cy="373020"/>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0" name="Google Shape;79;p2">
              <a:extLst>
                <a:ext uri="{FF2B5EF4-FFF2-40B4-BE49-F238E27FC236}">
                  <a16:creationId xmlns:a16="http://schemas.microsoft.com/office/drawing/2014/main" id="{F3A5549A-876E-45E2-A621-E4C04BEA4816}"/>
                </a:ext>
              </a:extLst>
            </p:cNvPr>
            <p:cNvSpPr/>
            <p:nvPr/>
          </p:nvSpPr>
          <p:spPr>
            <a:xfrm>
              <a:off x="8204352" y="3801552"/>
              <a:ext cx="240787" cy="203050"/>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1" name="Google Shape;80;p2">
              <a:extLst>
                <a:ext uri="{FF2B5EF4-FFF2-40B4-BE49-F238E27FC236}">
                  <a16:creationId xmlns:a16="http://schemas.microsoft.com/office/drawing/2014/main" id="{E19FCB57-4C77-4452-9EDE-9CF05C41F758}"/>
                </a:ext>
              </a:extLst>
            </p:cNvPr>
            <p:cNvSpPr/>
            <p:nvPr/>
          </p:nvSpPr>
          <p:spPr>
            <a:xfrm>
              <a:off x="8204357" y="240186"/>
              <a:ext cx="175884" cy="17472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2" name="Google Shape;81;p2">
              <a:extLst>
                <a:ext uri="{FF2B5EF4-FFF2-40B4-BE49-F238E27FC236}">
                  <a16:creationId xmlns:a16="http://schemas.microsoft.com/office/drawing/2014/main" id="{991E8543-6457-41EF-A093-9737A2F9EE38}"/>
                </a:ext>
              </a:extLst>
            </p:cNvPr>
            <p:cNvGrpSpPr/>
            <p:nvPr/>
          </p:nvGrpSpPr>
          <p:grpSpPr>
            <a:xfrm>
              <a:off x="8513660" y="3273951"/>
              <a:ext cx="236955" cy="259508"/>
              <a:chOff x="1624551" y="3569952"/>
              <a:chExt cx="236955" cy="259508"/>
            </a:xfrm>
          </p:grpSpPr>
          <p:sp>
            <p:nvSpPr>
              <p:cNvPr id="78" name="Google Shape;82;p2">
                <a:extLst>
                  <a:ext uri="{FF2B5EF4-FFF2-40B4-BE49-F238E27FC236}">
                    <a16:creationId xmlns:a16="http://schemas.microsoft.com/office/drawing/2014/main" id="{C7DF3842-B862-4240-8CA8-E8140697D3DC}"/>
                  </a:ext>
                </a:extLst>
              </p:cNvPr>
              <p:cNvSpPr/>
              <p:nvPr/>
            </p:nvSpPr>
            <p:spPr>
              <a:xfrm>
                <a:off x="1624551" y="3569952"/>
                <a:ext cx="224786" cy="227651"/>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9" name="Google Shape;83;p2">
                <a:extLst>
                  <a:ext uri="{FF2B5EF4-FFF2-40B4-BE49-F238E27FC236}">
                    <a16:creationId xmlns:a16="http://schemas.microsoft.com/office/drawing/2014/main" id="{320ACF7E-2D7B-4CBE-B2F6-5E5661CAFDC7}"/>
                  </a:ext>
                </a:extLst>
              </p:cNvPr>
              <p:cNvSpPr/>
              <p:nvPr/>
            </p:nvSpPr>
            <p:spPr>
              <a:xfrm>
                <a:off x="1625368" y="3599553"/>
                <a:ext cx="236138" cy="229907"/>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53" name="Google Shape;84;p2">
              <a:extLst>
                <a:ext uri="{FF2B5EF4-FFF2-40B4-BE49-F238E27FC236}">
                  <a16:creationId xmlns:a16="http://schemas.microsoft.com/office/drawing/2014/main" id="{C2A2A45D-1013-46CC-9BE8-C87DA338C1B2}"/>
                </a:ext>
              </a:extLst>
            </p:cNvPr>
            <p:cNvGrpSpPr/>
            <p:nvPr/>
          </p:nvGrpSpPr>
          <p:grpSpPr>
            <a:xfrm>
              <a:off x="3637530" y="4055057"/>
              <a:ext cx="418773" cy="520154"/>
              <a:chOff x="3637530" y="4055057"/>
              <a:chExt cx="418773" cy="520154"/>
            </a:xfrm>
          </p:grpSpPr>
          <p:sp>
            <p:nvSpPr>
              <p:cNvPr id="76" name="Google Shape;85;p2">
                <a:extLst>
                  <a:ext uri="{FF2B5EF4-FFF2-40B4-BE49-F238E27FC236}">
                    <a16:creationId xmlns:a16="http://schemas.microsoft.com/office/drawing/2014/main" id="{9BEFDE11-15FD-4E8D-A436-F119FB103822}"/>
                  </a:ext>
                </a:extLst>
              </p:cNvPr>
              <p:cNvSpPr/>
              <p:nvPr/>
            </p:nvSpPr>
            <p:spPr>
              <a:xfrm rot="5542319">
                <a:off x="3769303" y="4204066"/>
                <a:ext cx="285154" cy="277283"/>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7" name="Google Shape;86;p2">
                <a:extLst>
                  <a:ext uri="{FF2B5EF4-FFF2-40B4-BE49-F238E27FC236}">
                    <a16:creationId xmlns:a16="http://schemas.microsoft.com/office/drawing/2014/main" id="{FDA24A41-B4F9-4E3A-997E-85B5DAEB1210}"/>
                  </a:ext>
                </a:extLst>
              </p:cNvPr>
              <p:cNvSpPr/>
              <p:nvPr/>
            </p:nvSpPr>
            <p:spPr>
              <a:xfrm rot="9304419">
                <a:off x="3726725" y="4079275"/>
                <a:ext cx="219185" cy="471718"/>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54" name="Google Shape;87;p2">
              <a:extLst>
                <a:ext uri="{FF2B5EF4-FFF2-40B4-BE49-F238E27FC236}">
                  <a16:creationId xmlns:a16="http://schemas.microsoft.com/office/drawing/2014/main" id="{744A2DE7-10E1-4F99-B048-70EE169979E7}"/>
                </a:ext>
              </a:extLst>
            </p:cNvPr>
            <p:cNvSpPr/>
            <p:nvPr/>
          </p:nvSpPr>
          <p:spPr>
            <a:xfrm>
              <a:off x="3033704" y="205770"/>
              <a:ext cx="238646" cy="243555"/>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5" name="Google Shape;88;p2">
              <a:extLst>
                <a:ext uri="{FF2B5EF4-FFF2-40B4-BE49-F238E27FC236}">
                  <a16:creationId xmlns:a16="http://schemas.microsoft.com/office/drawing/2014/main" id="{2AF5F280-BD3E-405D-BEF9-7EC951D2C3B2}"/>
                </a:ext>
              </a:extLst>
            </p:cNvPr>
            <p:cNvSpPr/>
            <p:nvPr/>
          </p:nvSpPr>
          <p:spPr>
            <a:xfrm>
              <a:off x="8737650" y="439219"/>
              <a:ext cx="257856" cy="284838"/>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6" name="Google Shape;89;p2">
              <a:extLst>
                <a:ext uri="{FF2B5EF4-FFF2-40B4-BE49-F238E27FC236}">
                  <a16:creationId xmlns:a16="http://schemas.microsoft.com/office/drawing/2014/main" id="{CD802E64-9278-42FB-B79A-4AC869E37036}"/>
                </a:ext>
              </a:extLst>
            </p:cNvPr>
            <p:cNvSpPr/>
            <p:nvPr/>
          </p:nvSpPr>
          <p:spPr>
            <a:xfrm>
              <a:off x="1334256" y="207258"/>
              <a:ext cx="223503" cy="240600"/>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7" name="Google Shape;90;p2">
              <a:extLst>
                <a:ext uri="{FF2B5EF4-FFF2-40B4-BE49-F238E27FC236}">
                  <a16:creationId xmlns:a16="http://schemas.microsoft.com/office/drawing/2014/main" id="{5F0111DC-8D76-4C1A-8432-67D8400F8F34}"/>
                </a:ext>
              </a:extLst>
            </p:cNvPr>
            <p:cNvSpPr/>
            <p:nvPr/>
          </p:nvSpPr>
          <p:spPr>
            <a:xfrm>
              <a:off x="7053257" y="3763614"/>
              <a:ext cx="204383" cy="27891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8" name="Google Shape;91;p2">
              <a:extLst>
                <a:ext uri="{FF2B5EF4-FFF2-40B4-BE49-F238E27FC236}">
                  <a16:creationId xmlns:a16="http://schemas.microsoft.com/office/drawing/2014/main" id="{04D85F76-A436-4F44-A271-5812B6E37004}"/>
                </a:ext>
              </a:extLst>
            </p:cNvPr>
            <p:cNvSpPr/>
            <p:nvPr/>
          </p:nvSpPr>
          <p:spPr>
            <a:xfrm>
              <a:off x="711508" y="3001159"/>
              <a:ext cx="154433" cy="272786"/>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9" name="Google Shape;92;p2">
              <a:extLst>
                <a:ext uri="{FF2B5EF4-FFF2-40B4-BE49-F238E27FC236}">
                  <a16:creationId xmlns:a16="http://schemas.microsoft.com/office/drawing/2014/main" id="{1BD1C5A8-F98B-423D-96AC-88AEC1AE8FAD}"/>
                </a:ext>
              </a:extLst>
            </p:cNvPr>
            <p:cNvSpPr/>
            <p:nvPr/>
          </p:nvSpPr>
          <p:spPr>
            <a:xfrm>
              <a:off x="8576875" y="2558027"/>
              <a:ext cx="223822" cy="307981"/>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0" name="Google Shape;93;p2">
              <a:extLst>
                <a:ext uri="{FF2B5EF4-FFF2-40B4-BE49-F238E27FC236}">
                  <a16:creationId xmlns:a16="http://schemas.microsoft.com/office/drawing/2014/main" id="{D358510C-7FE3-4EC0-A6FC-0C87AEC9D1BC}"/>
                </a:ext>
              </a:extLst>
            </p:cNvPr>
            <p:cNvSpPr/>
            <p:nvPr/>
          </p:nvSpPr>
          <p:spPr>
            <a:xfrm>
              <a:off x="140852" y="836409"/>
              <a:ext cx="224053" cy="290283"/>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61" name="Google Shape;94;p2">
              <a:extLst>
                <a:ext uri="{FF2B5EF4-FFF2-40B4-BE49-F238E27FC236}">
                  <a16:creationId xmlns:a16="http://schemas.microsoft.com/office/drawing/2014/main" id="{9062A484-71B7-4182-B701-AF300989DB6F}"/>
                </a:ext>
              </a:extLst>
            </p:cNvPr>
            <p:cNvGrpSpPr/>
            <p:nvPr/>
          </p:nvGrpSpPr>
          <p:grpSpPr>
            <a:xfrm>
              <a:off x="6457245" y="4530131"/>
              <a:ext cx="216066" cy="276377"/>
              <a:chOff x="6422295" y="3351500"/>
              <a:chExt cx="252856" cy="323399"/>
            </a:xfrm>
          </p:grpSpPr>
          <p:sp>
            <p:nvSpPr>
              <p:cNvPr id="74" name="Google Shape;95;p2">
                <a:extLst>
                  <a:ext uri="{FF2B5EF4-FFF2-40B4-BE49-F238E27FC236}">
                    <a16:creationId xmlns:a16="http://schemas.microsoft.com/office/drawing/2014/main" id="{D5B2D0E3-2414-483A-A92C-B41C7C2F4383}"/>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5" name="Google Shape;96;p2">
                <a:extLst>
                  <a:ext uri="{FF2B5EF4-FFF2-40B4-BE49-F238E27FC236}">
                    <a16:creationId xmlns:a16="http://schemas.microsoft.com/office/drawing/2014/main" id="{4B02C55D-41F4-4253-8C65-32414270B842}"/>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62" name="Google Shape;97;p2">
              <a:extLst>
                <a:ext uri="{FF2B5EF4-FFF2-40B4-BE49-F238E27FC236}">
                  <a16:creationId xmlns:a16="http://schemas.microsoft.com/office/drawing/2014/main" id="{4B42BFA4-94A2-47FB-884C-087EEABE659B}"/>
                </a:ext>
              </a:extLst>
            </p:cNvPr>
            <p:cNvGrpSpPr/>
            <p:nvPr/>
          </p:nvGrpSpPr>
          <p:grpSpPr>
            <a:xfrm>
              <a:off x="2318449" y="604142"/>
              <a:ext cx="332332" cy="346582"/>
              <a:chOff x="2318449" y="604142"/>
              <a:chExt cx="332332" cy="346582"/>
            </a:xfrm>
          </p:grpSpPr>
          <p:sp>
            <p:nvSpPr>
              <p:cNvPr id="72" name="Google Shape;98;p2">
                <a:extLst>
                  <a:ext uri="{FF2B5EF4-FFF2-40B4-BE49-F238E27FC236}">
                    <a16:creationId xmlns:a16="http://schemas.microsoft.com/office/drawing/2014/main" id="{45BFEA4F-7187-48C0-BE71-F050BBD1D2AC}"/>
                  </a:ext>
                </a:extLst>
              </p:cNvPr>
              <p:cNvSpPr/>
              <p:nvPr/>
            </p:nvSpPr>
            <p:spPr>
              <a:xfrm>
                <a:off x="2361884" y="604142"/>
                <a:ext cx="288826"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3" name="Google Shape;99;p2">
                <a:extLst>
                  <a:ext uri="{FF2B5EF4-FFF2-40B4-BE49-F238E27FC236}">
                    <a16:creationId xmlns:a16="http://schemas.microsoft.com/office/drawing/2014/main" id="{5E5C0466-3ECB-4D2F-A47F-B12B99490945}"/>
                  </a:ext>
                </a:extLst>
              </p:cNvPr>
              <p:cNvSpPr/>
              <p:nvPr/>
            </p:nvSpPr>
            <p:spPr>
              <a:xfrm>
                <a:off x="2318449" y="613815"/>
                <a:ext cx="332332" cy="336908"/>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3" name="Google Shape;100;p2">
              <a:extLst>
                <a:ext uri="{FF2B5EF4-FFF2-40B4-BE49-F238E27FC236}">
                  <a16:creationId xmlns:a16="http://schemas.microsoft.com/office/drawing/2014/main" id="{FA513803-C6DB-4A96-B1CD-9E139ADB0FB6}"/>
                </a:ext>
              </a:extLst>
            </p:cNvPr>
            <p:cNvSpPr/>
            <p:nvPr/>
          </p:nvSpPr>
          <p:spPr>
            <a:xfrm>
              <a:off x="6021196" y="137179"/>
              <a:ext cx="265484" cy="205157"/>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64" name="Google Shape;101;p2">
              <a:extLst>
                <a:ext uri="{FF2B5EF4-FFF2-40B4-BE49-F238E27FC236}">
                  <a16:creationId xmlns:a16="http://schemas.microsoft.com/office/drawing/2014/main" id="{B80C4209-0690-4AAC-BF88-3AB881D5F86A}"/>
                </a:ext>
              </a:extLst>
            </p:cNvPr>
            <p:cNvGrpSpPr/>
            <p:nvPr/>
          </p:nvGrpSpPr>
          <p:grpSpPr>
            <a:xfrm>
              <a:off x="1184427" y="4630083"/>
              <a:ext cx="229693" cy="293080"/>
              <a:chOff x="6793660" y="3322411"/>
              <a:chExt cx="268804" cy="342944"/>
            </a:xfrm>
          </p:grpSpPr>
          <p:sp>
            <p:nvSpPr>
              <p:cNvPr id="69" name="Google Shape;102;p2">
                <a:extLst>
                  <a:ext uri="{FF2B5EF4-FFF2-40B4-BE49-F238E27FC236}">
                    <a16:creationId xmlns:a16="http://schemas.microsoft.com/office/drawing/2014/main" id="{B923C977-ADAA-4F71-9F28-0DB582894E5B}"/>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0" name="Google Shape;103;p2">
                <a:extLst>
                  <a:ext uri="{FF2B5EF4-FFF2-40B4-BE49-F238E27FC236}">
                    <a16:creationId xmlns:a16="http://schemas.microsoft.com/office/drawing/2014/main" id="{A15BC7F6-A2A2-4D19-AC66-B91FA8853697}"/>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1" name="Google Shape;104;p2">
                <a:extLst>
                  <a:ext uri="{FF2B5EF4-FFF2-40B4-BE49-F238E27FC236}">
                    <a16:creationId xmlns:a16="http://schemas.microsoft.com/office/drawing/2014/main" id="{9FEC534F-B9AF-47D0-9970-81E5E96067BD}"/>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5" name="Google Shape;105;p2">
              <a:extLst>
                <a:ext uri="{FF2B5EF4-FFF2-40B4-BE49-F238E27FC236}">
                  <a16:creationId xmlns:a16="http://schemas.microsoft.com/office/drawing/2014/main" id="{3C5A8E4E-2D95-42E0-BFF6-55CD715703A5}"/>
                </a:ext>
              </a:extLst>
            </p:cNvPr>
            <p:cNvSpPr/>
            <p:nvPr/>
          </p:nvSpPr>
          <p:spPr>
            <a:xfrm>
              <a:off x="4843337" y="836403"/>
              <a:ext cx="377232" cy="204888"/>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6" name="Google Shape;106;p2">
              <a:extLst>
                <a:ext uri="{FF2B5EF4-FFF2-40B4-BE49-F238E27FC236}">
                  <a16:creationId xmlns:a16="http://schemas.microsoft.com/office/drawing/2014/main" id="{7401099E-BCAB-4984-9156-073D0B5C8ADF}"/>
                </a:ext>
              </a:extLst>
            </p:cNvPr>
            <p:cNvSpPr/>
            <p:nvPr/>
          </p:nvSpPr>
          <p:spPr>
            <a:xfrm rot="-2218186">
              <a:off x="-38492" y="151543"/>
              <a:ext cx="236276" cy="230041"/>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7" name="Google Shape;107;p2">
              <a:extLst>
                <a:ext uri="{FF2B5EF4-FFF2-40B4-BE49-F238E27FC236}">
                  <a16:creationId xmlns:a16="http://schemas.microsoft.com/office/drawing/2014/main" id="{F99A971C-E4E0-4CA7-8E34-DA50FE569F9B}"/>
                </a:ext>
              </a:extLst>
            </p:cNvPr>
            <p:cNvSpPr/>
            <p:nvPr/>
          </p:nvSpPr>
          <p:spPr>
            <a:xfrm rot="1464154">
              <a:off x="4569091" y="-94554"/>
              <a:ext cx="235935" cy="229710"/>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8" name="Google Shape;108;p2">
              <a:extLst>
                <a:ext uri="{FF2B5EF4-FFF2-40B4-BE49-F238E27FC236}">
                  <a16:creationId xmlns:a16="http://schemas.microsoft.com/office/drawing/2014/main" id="{C5971175-E8D4-45D8-BFD0-4CA9D07EEE87}"/>
                </a:ext>
              </a:extLst>
            </p:cNvPr>
            <p:cNvSpPr/>
            <p:nvPr/>
          </p:nvSpPr>
          <p:spPr>
            <a:xfrm rot="-2221343">
              <a:off x="1866371" y="3538528"/>
              <a:ext cx="206347" cy="200902"/>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Tree>
    <p:extLst>
      <p:ext uri="{BB962C8B-B14F-4D97-AF65-F5344CB8AC3E}">
        <p14:creationId xmlns:p14="http://schemas.microsoft.com/office/powerpoint/2010/main" val="22360431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ADF89E-7B46-457A-968E-2EC4E643C292}"/>
              </a:ext>
            </a:extLst>
          </p:cNvPr>
          <p:cNvGraphicFramePr>
            <a:graphicFrameLocks noChangeAspect="1"/>
          </p:cNvGraphicFramePr>
          <p:nvPr userDrawn="1">
            <p:custDataLst>
              <p:tags r:id="rId1"/>
            </p:custDataLst>
            <p:extLst>
              <p:ext uri="{D42A27DB-BD31-4B8C-83A1-F6EECF244321}">
                <p14:modId xmlns:p14="http://schemas.microsoft.com/office/powerpoint/2010/main" val="3537625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5BADF89E-7B46-457A-968E-2EC4E643C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endParaRPr lang="da-DK"/>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7494C8F4-6B6A-48C1-B023-792B6BA54AED}" type="datetime1">
              <a:rPr lang="da-DK" smtClean="0"/>
              <a:pPr/>
              <a:t>06-09-2023</a:t>
            </a:fld>
            <a:endParaRPr lang="da-DK"/>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9907839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181633-8F80-4D7E-B046-3481FFAD6D62}"/>
              </a:ext>
            </a:extLst>
          </p:cNvPr>
          <p:cNvGraphicFramePr>
            <a:graphicFrameLocks noChangeAspect="1"/>
          </p:cNvGraphicFramePr>
          <p:nvPr userDrawn="1">
            <p:custDataLst>
              <p:tags r:id="rId1"/>
            </p:custDataLst>
            <p:extLst>
              <p:ext uri="{D42A27DB-BD31-4B8C-83A1-F6EECF244321}">
                <p14:modId xmlns:p14="http://schemas.microsoft.com/office/powerpoint/2010/main" val="1089424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A3181633-8F80-4D7E-B046-3481FFAD6D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lvl1pPr rtl="0">
              <a:defRPr/>
            </a:lvl1pPr>
          </a:lstStyle>
          <a:p>
            <a:fld id="{8C247F8E-8C20-40E4-A53C-3DA358D8C9A7}" type="datetime1">
              <a:rPr lang="da-DK" smtClean="0"/>
              <a:pPr/>
              <a:t>06-09-2023</a:t>
            </a:fld>
            <a:endParaRPr lang="da-DK"/>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9548526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AAEEF4-43C5-4FEC-A7AB-DEFE097F5DBF}"/>
              </a:ext>
            </a:extLst>
          </p:cNvPr>
          <p:cNvGraphicFramePr>
            <a:graphicFrameLocks noChangeAspect="1"/>
          </p:cNvGraphicFramePr>
          <p:nvPr userDrawn="1">
            <p:custDataLst>
              <p:tags r:id="rId1"/>
            </p:custDataLst>
            <p:extLst>
              <p:ext uri="{D42A27DB-BD31-4B8C-83A1-F6EECF244321}">
                <p14:modId xmlns:p14="http://schemas.microsoft.com/office/powerpoint/2010/main" val="2892288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0FAAEEF4-43C5-4FEC-A7AB-DEFE097F5D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8E8C12B2-0AE5-428E-985F-E18D4DA17AC7}" type="datetime1">
              <a:rPr lang="da-DK" smtClean="0"/>
              <a:pPr/>
              <a:t>06-09-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360000" y="654050"/>
            <a:ext cx="11471638" cy="938213"/>
          </a:xfrm>
        </p:spPr>
        <p:txBody>
          <a:bodyPr vert="horz" anchor="t" anchorCtr="0"/>
          <a:lstStyle>
            <a:lvl1pPr algn="l" rtl="0">
              <a:defRPr sz="6000">
                <a:solidFill>
                  <a:schemeClr val="bg2"/>
                </a:solidFill>
              </a:defRPr>
            </a:lvl1pPr>
          </a:lstStyle>
          <a:p>
            <a:r>
              <a:rPr lang="da-DK" noProof="0"/>
              <a:t>Click to add </a:t>
            </a:r>
            <a:r>
              <a:rPr lang="da-DK"/>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797425276"/>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E477C6-0E0F-4923-9BE1-6EA202782F14}"/>
              </a:ext>
            </a:extLst>
          </p:cNvPr>
          <p:cNvGraphicFramePr>
            <a:graphicFrameLocks noChangeAspect="1"/>
          </p:cNvGraphicFramePr>
          <p:nvPr userDrawn="1">
            <p:custDataLst>
              <p:tags r:id="rId1"/>
            </p:custDataLst>
            <p:extLst>
              <p:ext uri="{D42A27DB-BD31-4B8C-83A1-F6EECF244321}">
                <p14:modId xmlns:p14="http://schemas.microsoft.com/office/powerpoint/2010/main" val="372322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F6E477C6-0E0F-4923-9BE1-6EA202782F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65259D24-E6A6-4D69-90CB-83073E8387B2}" type="datetime1">
              <a:rPr lang="da-DK" smtClean="0"/>
              <a:pPr/>
              <a:t>06-09-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428575385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D6712D-8349-4452-83F4-F74B096DC8E1}"/>
              </a:ext>
            </a:extLst>
          </p:cNvPr>
          <p:cNvGraphicFramePr>
            <a:graphicFrameLocks noChangeAspect="1"/>
          </p:cNvGraphicFramePr>
          <p:nvPr userDrawn="1">
            <p:custDataLst>
              <p:tags r:id="rId1"/>
            </p:custDataLst>
            <p:extLst>
              <p:ext uri="{D42A27DB-BD31-4B8C-83A1-F6EECF244321}">
                <p14:modId xmlns:p14="http://schemas.microsoft.com/office/powerpoint/2010/main" val="4174081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F9D6712D-8349-4452-83F4-F74B096DC8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06-09-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1"/>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3980217615"/>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63C12A-5A0C-47F1-A66E-EB845B95A278}"/>
              </a:ext>
            </a:extLst>
          </p:cNvPr>
          <p:cNvGraphicFramePr>
            <a:graphicFrameLocks noChangeAspect="1"/>
          </p:cNvGraphicFramePr>
          <p:nvPr userDrawn="1">
            <p:custDataLst>
              <p:tags r:id="rId1"/>
            </p:custDataLst>
            <p:extLst>
              <p:ext uri="{D42A27DB-BD31-4B8C-83A1-F6EECF244321}">
                <p14:modId xmlns:p14="http://schemas.microsoft.com/office/powerpoint/2010/main" val="342257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063C12A-5A0C-47F1-A66E-EB845B95A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06-09-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2"/>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223647738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2FAD87-12DE-4F46-A7FF-9DA753895102}"/>
              </a:ext>
            </a:extLst>
          </p:cNvPr>
          <p:cNvGraphicFramePr>
            <a:graphicFrameLocks noChangeAspect="1"/>
          </p:cNvGraphicFramePr>
          <p:nvPr userDrawn="1">
            <p:custDataLst>
              <p:tags r:id="rId1"/>
            </p:custDataLst>
            <p:extLst>
              <p:ext uri="{D42A27DB-BD31-4B8C-83A1-F6EECF244321}">
                <p14:modId xmlns:p14="http://schemas.microsoft.com/office/powerpoint/2010/main" val="1963756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632FAD87-12DE-4F46-A7FF-9DA7538951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A6F26645-C2A2-4B76-9EB3-5D9CA57B224A}" type="datetime1">
              <a:rPr lang="da-DK" smtClean="0"/>
              <a:pPr/>
              <a:t>06-09-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184137119"/>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611428-C7C8-414E-980A-EBF482F7239B}"/>
              </a:ext>
            </a:extLst>
          </p:cNvPr>
          <p:cNvGraphicFramePr>
            <a:graphicFrameLocks noChangeAspect="1"/>
          </p:cNvGraphicFramePr>
          <p:nvPr userDrawn="1">
            <p:custDataLst>
              <p:tags r:id="rId1"/>
            </p:custDataLst>
            <p:extLst>
              <p:ext uri="{D42A27DB-BD31-4B8C-83A1-F6EECF244321}">
                <p14:modId xmlns:p14="http://schemas.microsoft.com/office/powerpoint/2010/main" val="2844534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A611428-C7C8-414E-980A-EBF482F723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F25BA43C-8502-4266-A056-72866794E701}" type="datetime1">
              <a:rPr lang="da-DK" smtClean="0"/>
              <a:pPr/>
              <a:t>06-09-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952240583"/>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8377B1-4288-46FB-ADCE-D255A6EB9D3D}"/>
              </a:ext>
            </a:extLst>
          </p:cNvPr>
          <p:cNvGraphicFramePr>
            <a:graphicFrameLocks noChangeAspect="1"/>
          </p:cNvGraphicFramePr>
          <p:nvPr userDrawn="1">
            <p:custDataLst>
              <p:tags r:id="rId1"/>
            </p:custDataLst>
            <p:extLst>
              <p:ext uri="{D42A27DB-BD31-4B8C-83A1-F6EECF244321}">
                <p14:modId xmlns:p14="http://schemas.microsoft.com/office/powerpoint/2010/main" val="87699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0D8377B1-4288-46FB-ADCE-D255A6EB9D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5"/>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PICTURES</a:t>
            </a:r>
            <a:br>
              <a:rPr lang="da-DK" sz="900">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Insert corporate picture from Templafy</a:t>
            </a: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rgbClr val="333333"/>
                </a:solidFill>
                <a:latin typeface="+mn-lt"/>
                <a:cs typeface="Verdana" panose="020B0604030504040204" pitchFamily="34" charset="0"/>
              </a:rPr>
              <a:t>1.</a:t>
            </a:r>
            <a:r>
              <a:rPr lang="da-DK" altLang="da-DK" sz="900" b="0" noProof="1">
                <a:solidFill>
                  <a:srgbClr val="333333"/>
                </a:solidFill>
                <a:latin typeface="+mn-lt"/>
                <a:cs typeface="Verdana" panose="020B0604030504040204" pitchFamily="34" charset="0"/>
              </a:rPr>
              <a:t> Click the blue </a:t>
            </a:r>
            <a:r>
              <a:rPr lang="da-DK" altLang="da-DK" sz="900" b="1" baseline="0" noProof="1">
                <a:solidFill>
                  <a:srgbClr val="333333"/>
                </a:solidFill>
                <a:latin typeface="+mn-lt"/>
                <a:cs typeface="Verdana" panose="020B0604030504040204" pitchFamily="34" charset="0"/>
              </a:rPr>
              <a:t>Templafy </a:t>
            </a:r>
            <a:r>
              <a:rPr lang="da-DK"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2. </a:t>
            </a:r>
            <a:r>
              <a:rPr lang="da-DK" altLang="da-DK" sz="900" b="0" baseline="0" noProof="1">
                <a:solidFill>
                  <a:srgbClr val="333333"/>
                </a:solidFill>
                <a:latin typeface="+mn-lt"/>
                <a:cs typeface="Verdana" panose="020B0604030504040204" pitchFamily="34" charset="0"/>
              </a:rPr>
              <a:t>In the dropdown, click </a:t>
            </a:r>
            <a:r>
              <a:rPr lang="da-DK" altLang="da-DK" sz="900" b="1" baseline="0" noProof="1">
                <a:solidFill>
                  <a:srgbClr val="333333"/>
                </a:solidFill>
                <a:latin typeface="+mn-lt"/>
                <a:cs typeface="Verdana" panose="020B0604030504040204" pitchFamily="34" charset="0"/>
              </a:rPr>
              <a:t>Images</a:t>
            </a:r>
            <a:r>
              <a:rPr lang="da-DK" altLang="da-DK" sz="900" b="0" baseline="0" noProof="1">
                <a:solidFill>
                  <a:srgbClr val="333333"/>
                </a:solidFill>
                <a:latin typeface="+mn-lt"/>
                <a:cs typeface="Verdana" panose="020B0604030504040204" pitchFamily="34" charset="0"/>
              </a:rPr>
              <a:t>, or click the </a:t>
            </a:r>
            <a:r>
              <a:rPr lang="da-DK" altLang="da-DK" sz="900" b="1" baseline="0" noProof="1">
                <a:solidFill>
                  <a:srgbClr val="333333"/>
                </a:solidFill>
                <a:latin typeface="+mn-lt"/>
                <a:cs typeface="Verdana" panose="020B0604030504040204" pitchFamily="34" charset="0"/>
              </a:rPr>
              <a:t>Images </a:t>
            </a:r>
            <a:r>
              <a:rPr lang="da-DK" altLang="da-DK" sz="900" b="0" i="0" baseline="0" noProof="1">
                <a:solidFill>
                  <a:srgbClr val="333333"/>
                </a:solidFill>
                <a:latin typeface="+mn-lt"/>
                <a:cs typeface="Verdana" panose="020B0604030504040204" pitchFamily="34" charset="0"/>
              </a:rPr>
              <a:t>button</a:t>
            </a:r>
            <a:r>
              <a:rPr lang="da-DK" altLang="da-DK" sz="900" b="0" baseline="0" noProof="1">
                <a:solidFill>
                  <a:srgbClr val="333333"/>
                </a:solidFill>
                <a:latin typeface="+mn-lt"/>
                <a:cs typeface="Verdana" panose="020B0604030504040204" pitchFamily="34" charset="0"/>
              </a:rPr>
              <a:t> in the Templafy pane on the right side of the screen</a:t>
            </a:r>
            <a:endParaRPr lang="da-DK"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Insert picture</a:t>
            </a:r>
          </a:p>
          <a:p>
            <a:pPr rtl="0" eaLnBrk="1" hangingPunct="1">
              <a:spcAft>
                <a:spcPts val="600"/>
              </a:spcAft>
              <a:defRPr/>
            </a:pPr>
            <a:r>
              <a:rPr lang="da-DK" altLang="da-DK" sz="900" b="0" noProof="1">
                <a:solidFill>
                  <a:srgbClr val="333333"/>
                </a:solidFill>
                <a:latin typeface="+mn-lt"/>
                <a:cs typeface="Verdana" panose="020B0604030504040204" pitchFamily="34" charset="0"/>
              </a:rPr>
              <a:t>On slides with pictureplaceholder, click on the icon and choose </a:t>
            </a:r>
            <a:r>
              <a:rPr lang="da-DK" altLang="da-DK" sz="900" b="1" noProof="1">
                <a:solidFill>
                  <a:srgbClr val="333333"/>
                </a:solidFill>
                <a:latin typeface="+mn-lt"/>
                <a:cs typeface="Verdana" panose="020B0604030504040204" pitchFamily="34" charset="0"/>
              </a:rPr>
              <a:t>Insert</a:t>
            </a:r>
          </a:p>
          <a:p>
            <a:pPr rtl="0" eaLnBrk="1" hangingPunct="1">
              <a:spcBef>
                <a:spcPts val="1200"/>
              </a:spcBef>
              <a:spcAft>
                <a:spcPts val="600"/>
              </a:spcAft>
              <a:defRPr/>
            </a:pPr>
            <a:r>
              <a:rPr lang="da-DK" sz="900" b="1" noProof="1">
                <a:solidFill>
                  <a:srgbClr val="333333"/>
                </a:solidFill>
                <a:latin typeface="+mn-lt"/>
                <a:cs typeface="Verdana" panose="020B0604030504040204" pitchFamily="34" charset="0"/>
              </a:rPr>
              <a:t>Crop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1. </a:t>
            </a: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Crop</a:t>
            </a:r>
            <a:r>
              <a:rPr lang="da-DK" altLang="da-DK" sz="900" b="0" noProof="1">
                <a:solidFill>
                  <a:srgbClr val="333333"/>
                </a:solidFill>
                <a:latin typeface="+mn-lt"/>
                <a:cs typeface="Verdana" panose="020B0604030504040204" pitchFamily="34" charset="0"/>
              </a:rPr>
              <a:t> to change size or focus of the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If you want to scale the picture, hold </a:t>
            </a:r>
            <a:r>
              <a:rPr lang="da-DK" altLang="da-DK" sz="900" b="1" noProof="1">
                <a:solidFill>
                  <a:srgbClr val="333333"/>
                </a:solidFill>
                <a:latin typeface="+mn-lt"/>
                <a:cs typeface="Verdana" panose="020B0604030504040204" pitchFamily="34" charset="0"/>
              </a:rPr>
              <a:t>SHIFT</a:t>
            </a:r>
            <a:r>
              <a:rPr lang="da-DK" altLang="da-DK" sz="900" b="0" noProof="1">
                <a:solidFill>
                  <a:srgbClr val="333333"/>
                </a:solidFill>
                <a:latin typeface="+mn-lt"/>
                <a:cs typeface="Verdana" panose="020B0604030504040204" pitchFamily="34" charset="0"/>
              </a:rPr>
              <a:t>-key down while dragging the corners of the picture</a:t>
            </a:r>
            <a:br>
              <a:rPr lang="da-DK" altLang="da-DK" sz="900" b="0" noProof="1">
                <a:solidFill>
                  <a:srgbClr val="333333"/>
                </a:solidFill>
                <a:latin typeface="+mn-lt"/>
                <a:cs typeface="Verdana" panose="020B0604030504040204" pitchFamily="34" charset="0"/>
              </a:rPr>
            </a:b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t>
            </a:r>
            <a:r>
              <a:rPr lang="da-DK"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da-DK"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GUIDES</a:t>
            </a:r>
            <a:endParaRPr lang="da-DK" sz="1600" b="1"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Click the </a:t>
            </a:r>
            <a:r>
              <a:rPr lang="da-DK" altLang="da-DK" sz="900" b="1" noProof="1">
                <a:solidFill>
                  <a:srgbClr val="333333"/>
                </a:solidFill>
                <a:latin typeface="+mn-lt"/>
                <a:cs typeface="Verdana" panose="020B0604030504040204" pitchFamily="34" charset="0"/>
              </a:rPr>
              <a:t>View</a:t>
            </a:r>
            <a:r>
              <a:rPr lang="da-DK" altLang="da-DK" sz="900" b="0" noProof="1">
                <a:solidFill>
                  <a:srgbClr val="333333"/>
                </a:solidFill>
                <a:latin typeface="+mn-lt"/>
                <a:cs typeface="Verdana" panose="020B0604030504040204" pitchFamily="34" charset="0"/>
              </a:rPr>
              <a:t> tab and set tick mark next to </a:t>
            </a:r>
            <a:r>
              <a:rPr lang="da-DK" altLang="da-DK" sz="900" b="1" noProof="1">
                <a:solidFill>
                  <a:srgbClr val="333333"/>
                </a:solidFill>
                <a:latin typeface="+mn-lt"/>
                <a:cs typeface="Verdana" panose="020B0604030504040204" pitchFamily="34" charset="0"/>
              </a:rPr>
              <a:t>Guides</a:t>
            </a: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lt + F9 </a:t>
            </a:r>
            <a:r>
              <a:rPr lang="da-DK" altLang="da-DK" sz="900" b="0" noProof="1">
                <a:solidFill>
                  <a:srgbClr val="333333"/>
                </a:solidFill>
                <a:latin typeface="+mn-lt"/>
                <a:cs typeface="Verdana" panose="020B0604030504040204" pitchFamily="34" charset="0"/>
              </a:rPr>
              <a:t>for quick view of guides</a:t>
            </a: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Mac: </a:t>
            </a:r>
            <a:r>
              <a:rPr lang="da-DK" sz="900" b="0" i="0">
                <a:solidFill>
                  <a:srgbClr val="333333"/>
                </a:solidFill>
                <a:effectLst/>
                <a:latin typeface="Verdana"/>
              </a:rPr>
              <a:t>⌘ </a:t>
            </a:r>
            <a:r>
              <a:rPr lang="da-DK"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6"/>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7"/>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8"/>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HEADER &amp; FOOTER</a:t>
            </a:r>
          </a:p>
          <a:p>
            <a:pPr rtl="0" eaLnBrk="1" hangingPunct="1">
              <a:spcAft>
                <a:spcPts val="600"/>
              </a:spcAft>
              <a:defRPr/>
            </a:pPr>
            <a:r>
              <a:rPr lang="da-DK" altLang="da-DK" sz="900" b="0" noProof="1">
                <a:solidFill>
                  <a:srgbClr val="333333"/>
                </a:solidFill>
                <a:latin typeface="+mn-lt"/>
                <a:cs typeface="Verdana" panose="020B0604030504040204" pitchFamily="34" charset="0"/>
              </a:rPr>
              <a:t>Do this at the very end to apply the changes on all slides</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on </a:t>
            </a:r>
            <a:r>
              <a:rPr lang="da-DK" altLang="da-DK" sz="900" b="1" noProof="1">
                <a:solidFill>
                  <a:srgbClr val="333333"/>
                </a:solidFill>
                <a:latin typeface="+mn-lt"/>
                <a:cs typeface="Verdana" panose="020B0604030504040204" pitchFamily="34" charset="0"/>
              </a:rPr>
              <a:t>Header and Footer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Insert</a:t>
            </a:r>
            <a:r>
              <a:rPr lang="da-DK" altLang="da-DK" sz="900" b="0" noProof="1">
                <a:solidFill>
                  <a:srgbClr val="333333"/>
                </a:solidFill>
                <a:latin typeface="+mn-lt"/>
                <a:cs typeface="Verdana" panose="020B0604030504040204" pitchFamily="34" charset="0"/>
              </a:rPr>
              <a:t> tab (write the desired text, click date or page number from or to)</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Apply to All </a:t>
            </a:r>
            <a:r>
              <a:rPr lang="da-DK" altLang="da-DK" sz="900" b="0" noProof="1">
                <a:solidFill>
                  <a:srgbClr val="333333"/>
                </a:solidFill>
                <a:latin typeface="+mn-lt"/>
                <a:cs typeface="Verdana" panose="020B0604030504040204" pitchFamily="34" charset="0"/>
              </a:rPr>
              <a:t>or </a:t>
            </a:r>
            <a:r>
              <a:rPr lang="da-DK" altLang="da-DK" sz="900" b="1" noProof="1">
                <a:solidFill>
                  <a:srgbClr val="333333"/>
                </a:solidFill>
                <a:latin typeface="+mn-lt"/>
                <a:cs typeface="Verdana" panose="020B0604030504040204" pitchFamily="34" charset="0"/>
              </a:rPr>
              <a:t>Apply</a:t>
            </a:r>
            <a:r>
              <a:rPr lang="da-DK" altLang="da-DK" sz="900" b="0" noProof="1">
                <a:solidFill>
                  <a:srgbClr val="333333"/>
                </a:solidFill>
                <a:latin typeface="+mn-lt"/>
                <a:cs typeface="Verdana" panose="020B0604030504040204" pitchFamily="34" charset="0"/>
              </a:rPr>
              <a:t> if only used on one slide</a:t>
            </a: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1600" b="0" noProof="1">
                <a:solidFill>
                  <a:srgbClr val="333333"/>
                </a:solidFill>
                <a:latin typeface="+mn-lt"/>
                <a:cs typeface="Verdana" panose="020B0604030504040204" pitchFamily="34" charset="0"/>
              </a:rPr>
              <a:t>COPY/PASTE CONTENT</a:t>
            </a:r>
          </a:p>
          <a:p>
            <a:pPr rtl="0" eaLnBrk="1" hangingPunct="1">
              <a:spcAft>
                <a:spcPts val="600"/>
              </a:spcAft>
              <a:defRPr/>
            </a:pPr>
            <a:r>
              <a:rPr lang="da-DK" altLang="da-DK" sz="900" b="0" noProof="1">
                <a:solidFill>
                  <a:srgbClr val="333333"/>
                </a:solidFill>
                <a:latin typeface="+mn-lt"/>
                <a:cs typeface="Verdana" panose="020B0604030504040204" pitchFamily="34" charset="0"/>
              </a:rPr>
              <a:t>When copying old content to your new presentation, 2 options are available:</a:t>
            </a:r>
          </a:p>
          <a:p>
            <a:pPr rtl="0" eaLnBrk="1" hangingPunct="1">
              <a:spcAft>
                <a:spcPts val="600"/>
              </a:spcAft>
              <a:defRPr/>
            </a:pPr>
            <a:r>
              <a:rPr lang="da-DK" altLang="da-DK" sz="900" b="1" noProof="1">
                <a:solidFill>
                  <a:srgbClr val="333333"/>
                </a:solidFill>
                <a:latin typeface="+mn-lt"/>
                <a:cs typeface="Verdana" panose="020B0604030504040204" pitchFamily="34" charset="0"/>
              </a:rPr>
              <a:t>1. Best practice: </a:t>
            </a:r>
            <a:r>
              <a:rPr lang="da-DK" altLang="da-DK" sz="900" b="0" noProof="1">
                <a:solidFill>
                  <a:srgbClr val="333333"/>
                </a:solidFill>
                <a:latin typeface="+mn-lt"/>
                <a:cs typeface="Verdana" panose="020B0604030504040204" pitchFamily="34" charset="0"/>
              </a:rPr>
              <a:t>Create a slide in your new presentation and copy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piece of content at a time (e.g. copy all text from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textbox)</a:t>
            </a:r>
            <a:endParaRPr lang="da-DK" altLang="da-DK" sz="900" b="1" i="0" u="sng"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da-DK" altLang="da-DK" sz="900" b="1" noProof="1">
              <a:solidFill>
                <a:srgbClr val="333333"/>
              </a:solidFill>
              <a:latin typeface="+mn-lt"/>
              <a:cs typeface="Verdana" panose="020B0604030504040204" pitchFamily="34" charset="0"/>
            </a:endParaRP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Insert predefined slides and elements from the Templafy button. Choose </a:t>
            </a:r>
            <a:r>
              <a:rPr lang="da-DK" altLang="da-DK" sz="900" b="1" noProof="1">
                <a:solidFill>
                  <a:srgbClr val="333333"/>
                </a:solidFill>
                <a:latin typeface="+mn-lt"/>
                <a:cs typeface="Verdana" panose="020B0604030504040204" pitchFamily="34" charset="0"/>
              </a:rPr>
              <a:t>Slides</a:t>
            </a:r>
            <a:r>
              <a:rPr lang="da-DK" altLang="da-DK" sz="900" b="0" noProof="1">
                <a:solidFill>
                  <a:srgbClr val="333333"/>
                </a:solidFill>
                <a:latin typeface="+mn-lt"/>
                <a:cs typeface="Verdana" panose="020B0604030504040204" pitchFamily="34" charset="0"/>
              </a:rPr>
              <a:t> and </a:t>
            </a:r>
            <a:r>
              <a:rPr lang="da-DK" altLang="da-DK" sz="900" b="1" noProof="1">
                <a:solidFill>
                  <a:srgbClr val="333333"/>
                </a:solidFill>
                <a:latin typeface="+mn-lt"/>
                <a:cs typeface="Verdana" panose="020B0604030504040204" pitchFamily="34" charset="0"/>
              </a:rPr>
              <a:t>Slide elements </a:t>
            </a:r>
            <a:r>
              <a:rPr lang="da-DK"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da-DK"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pPr rtl="0"/>
            <a:r>
              <a:rPr lang="da-DK"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9"/>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rtl="0">
              <a:defRPr sz="100">
                <a:noFill/>
              </a:defRPr>
            </a:lvl1pPr>
          </a:lstStyle>
          <a:p>
            <a:fld id="{A5B220B3-5DAB-45AB-9B6A-9B7C36B5A57F}" type="datetime1">
              <a:rPr lang="da-DK" smtClean="0"/>
              <a:pPr/>
              <a:t>06-09-2023</a:t>
            </a:fld>
            <a:endParaRPr lang="da-DK"/>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10"/>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TEXT STYLES</a:t>
            </a:r>
            <a:endParaRPr lang="da-DK" altLang="da-DK" sz="1600" b="0"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Use the </a:t>
            </a:r>
            <a:r>
              <a:rPr lang="da-DK" altLang="da-DK" sz="900" b="1" noProof="1">
                <a:solidFill>
                  <a:srgbClr val="333333"/>
                </a:solidFill>
                <a:latin typeface="+mn-lt"/>
                <a:cs typeface="Verdana" panose="020B0604030504040204" pitchFamily="34" charset="0"/>
              </a:rPr>
              <a:t>TAB</a:t>
            </a:r>
            <a:r>
              <a:rPr lang="da-DK" altLang="da-DK" sz="900" b="0" noProof="1">
                <a:solidFill>
                  <a:srgbClr val="333333"/>
                </a:solidFill>
                <a:latin typeface="+mn-lt"/>
                <a:cs typeface="Verdana" panose="020B0604030504040204" pitchFamily="34" charset="0"/>
              </a:rPr>
              <a:t>-key</a:t>
            </a:r>
            <a:r>
              <a:rPr lang="da-DK" altLang="da-DK" sz="900" b="0" baseline="0" noProof="1">
                <a:solidFill>
                  <a:srgbClr val="333333"/>
                </a:solidFill>
                <a:latin typeface="+mn-lt"/>
                <a:cs typeface="Verdana" panose="020B0604030504040204" pitchFamily="34" charset="0"/>
              </a:rPr>
              <a:t> to jump through levels. Click </a:t>
            </a:r>
            <a:r>
              <a:rPr lang="da-DK" altLang="da-DK" sz="900" b="1" baseline="0" noProof="1">
                <a:solidFill>
                  <a:srgbClr val="333333"/>
                </a:solidFill>
                <a:latin typeface="+mn-lt"/>
                <a:cs typeface="Verdana" panose="020B0604030504040204" pitchFamily="34" charset="0"/>
              </a:rPr>
              <a:t>ENTER</a:t>
            </a:r>
            <a:r>
              <a:rPr lang="da-DK" altLang="da-DK" sz="900" b="0" baseline="0" noProof="1">
                <a:solidFill>
                  <a:srgbClr val="333333"/>
                </a:solidFill>
                <a:latin typeface="+mn-lt"/>
                <a:cs typeface="Verdana" panose="020B0604030504040204" pitchFamily="34" charset="0"/>
              </a:rPr>
              <a:t>, then </a:t>
            </a:r>
            <a:r>
              <a:rPr lang="da-DK" altLang="da-DK" sz="900" b="1" baseline="0" noProof="1">
                <a:solidFill>
                  <a:srgbClr val="333333"/>
                </a:solidFill>
                <a:latin typeface="+mn-lt"/>
                <a:cs typeface="Verdana" panose="020B0604030504040204" pitchFamily="34" charset="0"/>
              </a:rPr>
              <a:t>TAB</a:t>
            </a:r>
            <a:r>
              <a:rPr lang="da-DK" altLang="da-DK" sz="900" b="0" baseline="0" noProof="1">
                <a:solidFill>
                  <a:srgbClr val="333333"/>
                </a:solidFill>
                <a:latin typeface="+mn-lt"/>
                <a:cs typeface="Verdana" panose="020B0604030504040204" pitchFamily="34" charset="0"/>
              </a:rPr>
              <a:t> to switch from one level to the next level</a:t>
            </a:r>
          </a:p>
          <a:p>
            <a:pPr rtl="0" eaLnBrk="1" hangingPunct="1">
              <a:spcAft>
                <a:spcPts val="600"/>
              </a:spcAft>
              <a:defRPr/>
            </a:pPr>
            <a:r>
              <a:rPr lang="da-DK" altLang="da-DK" sz="900" b="0" baseline="0" noProof="1">
                <a:solidFill>
                  <a:srgbClr val="333333"/>
                </a:solidFill>
                <a:latin typeface="+mn-lt"/>
                <a:cs typeface="Verdana" panose="020B0604030504040204" pitchFamily="34" charset="0"/>
              </a:rPr>
              <a:t>To go back in levels use </a:t>
            </a:r>
            <a:r>
              <a:rPr lang="da-DK" altLang="da-DK" sz="900" b="1" baseline="0" noProof="1">
                <a:solidFill>
                  <a:srgbClr val="333333"/>
                </a:solidFill>
                <a:latin typeface="+mn-lt"/>
                <a:cs typeface="Verdana" panose="020B0604030504040204" pitchFamily="34" charset="0"/>
              </a:rPr>
              <a:t>SHIFT-TAB</a:t>
            </a:r>
            <a:endParaRPr lang="da-DK" sz="900" b="1" noProof="1">
              <a:solidFill>
                <a:srgbClr val="333333"/>
              </a:solidFill>
              <a:latin typeface="+mn-lt"/>
              <a:cs typeface="Verdana" panose="020B0604030504040204" pitchFamily="34" charset="0"/>
            </a:endParaRPr>
          </a:p>
          <a:p>
            <a:pPr rtl="0" eaLnBrk="1" hangingPunct="1">
              <a:spcAft>
                <a:spcPts val="600"/>
              </a:spcAft>
              <a:defRPr/>
            </a:pPr>
            <a:r>
              <a:rPr lang="da-DK" sz="900" noProof="1">
                <a:solidFill>
                  <a:srgbClr val="333333"/>
                </a:solidFill>
                <a:latin typeface="+mn-lt"/>
                <a:cs typeface="Verdana" panose="020B0604030504040204" pitchFamily="34" charset="0"/>
              </a:rPr>
              <a:t>Alternatively, </a:t>
            </a:r>
            <a:r>
              <a:rPr lang="da-DK" sz="900" b="1" noProof="1">
                <a:solidFill>
                  <a:srgbClr val="333333"/>
                </a:solidFill>
                <a:latin typeface="+mn-lt"/>
                <a:cs typeface="Verdana" panose="020B0604030504040204" pitchFamily="34" charset="0"/>
              </a:rPr>
              <a:t>Increase</a:t>
            </a:r>
            <a:r>
              <a:rPr lang="da-DK" sz="900" baseline="0" noProof="1">
                <a:solidFill>
                  <a:srgbClr val="333333"/>
                </a:solidFill>
                <a:latin typeface="+mn-lt"/>
                <a:cs typeface="Verdana" panose="020B0604030504040204" pitchFamily="34" charset="0"/>
              </a:rPr>
              <a:t> and </a:t>
            </a:r>
            <a:r>
              <a:rPr lang="da-DK" sz="900" b="1" baseline="0" noProof="1">
                <a:solidFill>
                  <a:srgbClr val="333333"/>
                </a:solidFill>
                <a:latin typeface="+mn-lt"/>
                <a:cs typeface="Verdana" panose="020B0604030504040204" pitchFamily="34" charset="0"/>
              </a:rPr>
              <a:t>Decrease </a:t>
            </a:r>
            <a:r>
              <a:rPr lang="da-DK" sz="900" baseline="0" noProof="1">
                <a:solidFill>
                  <a:srgbClr val="333333"/>
                </a:solidFill>
                <a:latin typeface="+mn-lt"/>
                <a:cs typeface="Verdana" panose="020B0604030504040204" pitchFamily="34" charset="0"/>
              </a:rPr>
              <a:t>list level can be used</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noProof="1">
                <a:solidFill>
                  <a:srgbClr val="333333"/>
                </a:solidFill>
                <a:latin typeface="+mn-lt"/>
                <a:cs typeface="Verdana" panose="020B0604030504040204" pitchFamily="34" charset="0"/>
              </a:rPr>
              <a:t>Click the </a:t>
            </a:r>
            <a:r>
              <a:rPr lang="da-DK" altLang="da-DK" sz="900" b="1" baseline="0" noProof="1">
                <a:solidFill>
                  <a:srgbClr val="333333"/>
                </a:solidFill>
                <a:latin typeface="+mn-lt"/>
                <a:cs typeface="Verdana" panose="020B0604030504040204" pitchFamily="34" charset="0"/>
              </a:rPr>
              <a:t>Reset </a:t>
            </a:r>
            <a:r>
              <a:rPr lang="da-DK" altLang="da-DK" sz="900" noProof="1">
                <a:solidFill>
                  <a:srgbClr val="333333"/>
                </a:solidFill>
                <a:latin typeface="+mn-lt"/>
                <a:cs typeface="Verdana" panose="020B0604030504040204" pitchFamily="34" charset="0"/>
              </a:rPr>
              <a:t>menu to reset position, size</a:t>
            </a:r>
            <a:r>
              <a:rPr lang="da-DK"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900" b="0" noProof="1">
                <a:solidFill>
                  <a:srgbClr val="333333"/>
                </a:solidFill>
                <a:latin typeface="+mn-lt"/>
                <a:cs typeface="Verdana" panose="020B0604030504040204" pitchFamily="34" charset="0"/>
              </a:rPr>
            </a:br>
            <a:r>
              <a:rPr lang="da-DK"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Click on the menu </a:t>
            </a:r>
            <a:r>
              <a:rPr lang="da-DK" altLang="da-DK" sz="900" b="1" noProof="1">
                <a:solidFill>
                  <a:srgbClr val="333333"/>
                </a:solidFill>
                <a:latin typeface="+mn-lt"/>
                <a:cs typeface="Verdana" panose="020B0604030504040204" pitchFamily="34" charset="0"/>
              </a:rPr>
              <a:t>New Slide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Home</a:t>
            </a:r>
            <a:r>
              <a:rPr lang="da-DK" altLang="da-DK" sz="900" b="0" noProof="1">
                <a:solidFill>
                  <a:srgbClr val="333333"/>
                </a:solidFill>
                <a:latin typeface="+mn-lt"/>
                <a:cs typeface="Verdana" panose="020B0604030504040204" pitchFamily="34" charset="0"/>
              </a:rPr>
              <a:t> tab to insert a new slide</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Change layout</a:t>
            </a:r>
            <a:endParaRPr lang="da-DK" altLang="da-DK" sz="900" b="0" noProof="1">
              <a:solidFill>
                <a:srgbClr val="333333"/>
              </a:solidFill>
              <a:latin typeface="+mn-lt"/>
              <a:cs typeface="Verdana" panose="020B0604030504040204" pitchFamily="34" charset="0"/>
            </a:endParaRPr>
          </a:p>
          <a:p>
            <a:pPr marL="0" indent="0" rtl="0">
              <a:spcAft>
                <a:spcPts val="600"/>
              </a:spcAft>
              <a:buFont typeface="+mj-lt"/>
              <a:buNone/>
            </a:pPr>
            <a:r>
              <a:rPr lang="da-DK" sz="900" err="1">
                <a:solidFill>
                  <a:srgbClr val="333333"/>
                </a:solidFill>
                <a:latin typeface="+mn-lt"/>
                <a:ea typeface="Verdana" panose="020B0604030504040204" pitchFamily="34" charset="0"/>
              </a:rPr>
              <a:t>Click</a:t>
            </a:r>
            <a:r>
              <a:rPr lang="da-DK" sz="900">
                <a:solidFill>
                  <a:srgbClr val="333333"/>
                </a:solidFill>
                <a:latin typeface="+mn-lt"/>
                <a:ea typeface="Verdana" panose="020B0604030504040204" pitchFamily="34" charset="0"/>
              </a:rPr>
              <a:t> on the </a:t>
            </a:r>
            <a:r>
              <a:rPr lang="da-DK" sz="900" err="1">
                <a:solidFill>
                  <a:srgbClr val="333333"/>
                </a:solidFill>
                <a:latin typeface="+mn-lt"/>
                <a:ea typeface="Verdana" panose="020B0604030504040204" pitchFamily="34" charset="0"/>
              </a:rPr>
              <a:t>arrow</a:t>
            </a:r>
            <a:r>
              <a:rPr lang="da-DK" sz="900">
                <a:solidFill>
                  <a:srgbClr val="333333"/>
                </a:solidFill>
                <a:latin typeface="+mn-lt"/>
                <a:ea typeface="Verdana" panose="020B0604030504040204" pitchFamily="34" charset="0"/>
              </a:rPr>
              <a:t> </a:t>
            </a:r>
            <a:r>
              <a:rPr lang="da-DK" sz="900" err="1">
                <a:solidFill>
                  <a:srgbClr val="333333"/>
                </a:solidFill>
                <a:latin typeface="+mn-lt"/>
                <a:ea typeface="Verdana" panose="020B0604030504040204" pitchFamily="34" charset="0"/>
              </a:rPr>
              <a:t>next</a:t>
            </a:r>
            <a:r>
              <a:rPr lang="da-DK" sz="900">
                <a:solidFill>
                  <a:srgbClr val="333333"/>
                </a:solidFill>
                <a:latin typeface="+mn-lt"/>
                <a:ea typeface="Verdana" panose="020B0604030504040204" pitchFamily="34" charset="0"/>
              </a:rPr>
              <a:t> to </a:t>
            </a:r>
            <a:r>
              <a:rPr lang="da-DK" sz="900" b="1">
                <a:solidFill>
                  <a:srgbClr val="333333"/>
                </a:solidFill>
                <a:latin typeface="+mn-lt"/>
                <a:ea typeface="Verdana" panose="020B0604030504040204" pitchFamily="34" charset="0"/>
              </a:rPr>
              <a:t>Layout </a:t>
            </a:r>
            <a:r>
              <a:rPr lang="da-DK" sz="900">
                <a:solidFill>
                  <a:srgbClr val="333333"/>
                </a:solidFill>
                <a:latin typeface="+mn-lt"/>
                <a:ea typeface="Verdana" panose="020B0604030504040204" pitchFamily="34" charset="0"/>
              </a:rPr>
              <a:t>to view a </a:t>
            </a:r>
            <a:r>
              <a:rPr lang="da-DK" sz="900" err="1">
                <a:solidFill>
                  <a:srgbClr val="333333"/>
                </a:solidFill>
                <a:latin typeface="+mn-lt"/>
                <a:ea typeface="Verdana" panose="020B0604030504040204" pitchFamily="34" charset="0"/>
              </a:rPr>
              <a:t>dropdown</a:t>
            </a:r>
            <a:r>
              <a:rPr lang="da-DK" sz="900">
                <a:solidFill>
                  <a:srgbClr val="333333"/>
                </a:solidFill>
                <a:latin typeface="+mn-lt"/>
                <a:ea typeface="Verdana" panose="020B0604030504040204" pitchFamily="34" charset="0"/>
              </a:rPr>
              <a:t> menu of </a:t>
            </a:r>
            <a:r>
              <a:rPr lang="da-DK" sz="900" err="1">
                <a:solidFill>
                  <a:srgbClr val="333333"/>
                </a:solidFill>
                <a:latin typeface="+mn-lt"/>
                <a:ea typeface="Verdana" panose="020B0604030504040204" pitchFamily="34" charset="0"/>
              </a:rPr>
              <a:t>possible</a:t>
            </a:r>
            <a:r>
              <a:rPr lang="da-DK" sz="900">
                <a:solidFill>
                  <a:srgbClr val="333333"/>
                </a:solidFill>
                <a:latin typeface="+mn-lt"/>
                <a:ea typeface="Verdana" panose="020B0604030504040204" pitchFamily="34" charset="0"/>
              </a:rPr>
              <a:t> slide layouts</a:t>
            </a:r>
          </a:p>
          <a:p>
            <a:pPr marL="0" indent="0" rtl="0">
              <a:spcAft>
                <a:spcPts val="600"/>
              </a:spcAft>
              <a:buFont typeface="+mj-lt"/>
              <a:buNone/>
            </a:pPr>
            <a:endParaRPr lang="da-DK"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err="1">
                <a:solidFill>
                  <a:srgbClr val="333333"/>
                </a:solidFill>
                <a:latin typeface="+mn-lt"/>
                <a:cs typeface="Verdana" panose="020B0604030504040204" pitchFamily="34" charset="0"/>
              </a:rPr>
              <a:t>Color</a:t>
            </a:r>
            <a:endParaRPr lang="da-DK" sz="1600">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Use </a:t>
            </a:r>
            <a:r>
              <a:rPr lang="da-DK" altLang="da-DK" sz="900" b="1" noProof="1">
                <a:solidFill>
                  <a:srgbClr val="333333"/>
                </a:solidFill>
                <a:latin typeface="+mn-lt"/>
                <a:cs typeface="Verdana" panose="020B0604030504040204" pitchFamily="34" charset="0"/>
              </a:rPr>
              <a:t>Custom Colors </a:t>
            </a:r>
            <a:r>
              <a:rPr lang="da-DK" altLang="da-DK" sz="900" b="0" noProof="1">
                <a:solidFill>
                  <a:srgbClr val="333333"/>
                </a:solidFill>
                <a:latin typeface="+mn-lt"/>
                <a:cs typeface="Verdana" panose="020B0604030504040204" pitchFamily="34" charset="0"/>
              </a:rPr>
              <a:t>to change color.</a:t>
            </a:r>
            <a:br>
              <a:rPr lang="da-DK" altLang="da-DK" sz="900" b="0" noProof="1">
                <a:solidFill>
                  <a:srgbClr val="333333"/>
                </a:solidFill>
                <a:latin typeface="+mn-lt"/>
                <a:cs typeface="Verdana" panose="020B0604030504040204" pitchFamily="34" charset="0"/>
              </a:rPr>
            </a:br>
            <a:endParaRPr lang="da-DK"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12"/>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3"/>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4"/>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5"/>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4368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3E737EA-FF19-401F-A092-0F59822D928A}"/>
              </a:ext>
            </a:extLst>
          </p:cNvPr>
          <p:cNvGraphicFramePr>
            <a:graphicFrameLocks noChangeAspect="1"/>
          </p:cNvGraphicFramePr>
          <p:nvPr userDrawn="1">
            <p:custDataLst>
              <p:tags r:id="rId1"/>
            </p:custDataLst>
            <p:extLst>
              <p:ext uri="{D42A27DB-BD31-4B8C-83A1-F6EECF244321}">
                <p14:modId xmlns:p14="http://schemas.microsoft.com/office/powerpoint/2010/main" val="185704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D3E737EA-FF19-401F-A092-0F59822D92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4000" b="0" noProof="0">
                <a:solidFill>
                  <a:schemeClr val="tx1"/>
                </a:solidFill>
              </a:rPr>
              <a:t>If you see any </a:t>
            </a:r>
            <a:r>
              <a:rPr lang="da-DK" sz="4000" b="1" i="1" noProof="0">
                <a:solidFill>
                  <a:schemeClr val="tx1"/>
                </a:solidFill>
              </a:rPr>
              <a:t>layouts after this </a:t>
            </a:r>
            <a:r>
              <a:rPr lang="da-DK" sz="4000" b="0" i="0" noProof="0">
                <a:solidFill>
                  <a:schemeClr val="tx1"/>
                </a:solidFill>
              </a:rPr>
              <a:t>one</a:t>
            </a:r>
            <a:r>
              <a:rPr lang="da-DK" sz="4000" b="1" i="1" noProof="0">
                <a:solidFill>
                  <a:schemeClr val="tx1"/>
                </a:solidFill>
              </a:rPr>
              <a:t>,</a:t>
            </a:r>
            <a:br>
              <a:rPr lang="da-DK" sz="4000" b="0" i="0" noProof="0">
                <a:solidFill>
                  <a:schemeClr val="tx1"/>
                </a:solidFill>
              </a:rPr>
            </a:br>
            <a:r>
              <a:rPr lang="da-DK" sz="4000" b="0" noProof="0">
                <a:solidFill>
                  <a:schemeClr val="tx1"/>
                </a:solidFill>
              </a:rPr>
              <a:t>do not use them. These layouts </a:t>
            </a:r>
            <a:r>
              <a:rPr lang="da-DK" sz="4000" b="1" i="1" u="none" noProof="0">
                <a:solidFill>
                  <a:schemeClr val="tx1"/>
                </a:solidFill>
              </a:rPr>
              <a:t>are not </a:t>
            </a:r>
            <a:r>
              <a:rPr lang="da-DK" sz="4000" b="0" noProof="0">
                <a:solidFill>
                  <a:schemeClr val="tx1"/>
                </a:solidFill>
              </a:rPr>
              <a:t>part of our corporate template.</a:t>
            </a:r>
            <a:endParaRPr lang="da-DK"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rtl="0"/>
            <a:r>
              <a:rPr lang="da-DK" sz="11500" b="1" i="1" noProof="0">
                <a:solidFill>
                  <a:schemeClr val="tx1"/>
                </a:solidFill>
              </a:rPr>
              <a:t>Do not use </a:t>
            </a:r>
            <a:endParaRPr lang="da-DK"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Due to PowerPoint’s standard Copy/Paste functionality extra undesirable layouts can appear.</a:t>
            </a:r>
          </a:p>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rtl="0">
              <a:defRPr sz="100">
                <a:noFill/>
              </a:defRPr>
            </a:lvl1pPr>
          </a:lstStyle>
          <a:p>
            <a:fld id="{06357EC7-0D53-4A60-9E41-D75A47B48389}" type="datetime1">
              <a:rPr lang="da-DK" smtClean="0"/>
              <a:pPr/>
              <a:t>06-09-2023</a:t>
            </a:fld>
            <a:endParaRPr lang="da-DK"/>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129834854"/>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989A8E-FDC6-4CFE-9DCA-F8A156018290}"/>
              </a:ext>
            </a:extLst>
          </p:cNvPr>
          <p:cNvGraphicFramePr>
            <a:graphicFrameLocks noChangeAspect="1"/>
          </p:cNvGraphicFramePr>
          <p:nvPr userDrawn="1">
            <p:custDataLst>
              <p:tags r:id="rId1"/>
            </p:custDataLst>
            <p:extLst>
              <p:ext uri="{D42A27DB-BD31-4B8C-83A1-F6EECF244321}">
                <p14:modId xmlns:p14="http://schemas.microsoft.com/office/powerpoint/2010/main" val="3680965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9F989A8E-FDC6-4CFE-9DCA-F8A1560182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D1903C8B-6A03-40C4-AD50-AACDEC5FDA0C}" type="datetime1">
              <a:rPr lang="da-DK" smtClean="0"/>
              <a:pPr/>
              <a:t>06-09-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vert="horz" anchor="t" anchorCtr="0"/>
          <a:lstStyle>
            <a:lvl1pPr algn="l" rtl="0">
              <a:lnSpc>
                <a:spcPct val="91000"/>
              </a:lnSpc>
              <a:defRPr sz="3600">
                <a:solidFill>
                  <a:schemeClr val="bg1"/>
                </a:solidFill>
              </a:defRPr>
            </a:lvl1pPr>
          </a:lstStyle>
          <a:p>
            <a:r>
              <a:rPr lang="da-DK"/>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36226679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54B3C9-F00B-4DA0-A35A-016D662582F0}"/>
              </a:ext>
            </a:extLst>
          </p:cNvPr>
          <p:cNvGraphicFramePr>
            <a:graphicFrameLocks noChangeAspect="1"/>
          </p:cNvGraphicFramePr>
          <p:nvPr userDrawn="1">
            <p:custDataLst>
              <p:tags r:id="rId1"/>
            </p:custDataLst>
            <p:extLst>
              <p:ext uri="{D42A27DB-BD31-4B8C-83A1-F6EECF244321}">
                <p14:modId xmlns:p14="http://schemas.microsoft.com/office/powerpoint/2010/main" val="3258962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954B3C9-F00B-4DA0-A35A-016D662582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1B42BF88-9EAB-4FF1-8C7D-3D1A57D94546}" type="datetime1">
              <a:rPr lang="da-DK" smtClean="0"/>
              <a:pPr/>
              <a:t>06-09-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5804923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1BF513-A764-4213-B6C8-45BD92F0582C}"/>
              </a:ext>
            </a:extLst>
          </p:cNvPr>
          <p:cNvGraphicFramePr>
            <a:graphicFrameLocks noChangeAspect="1"/>
          </p:cNvGraphicFramePr>
          <p:nvPr userDrawn="1">
            <p:custDataLst>
              <p:tags r:id="rId1"/>
            </p:custDataLst>
            <p:extLst>
              <p:ext uri="{D42A27DB-BD31-4B8C-83A1-F6EECF244321}">
                <p14:modId xmlns:p14="http://schemas.microsoft.com/office/powerpoint/2010/main" val="3382865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A11BF513-A764-4213-B6C8-45BD92F058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ED06D66A-00D9-479B-9856-27577BF36107}" type="datetime1">
              <a:rPr lang="da-DK" smtClean="0"/>
              <a:pPr/>
              <a:t>06-09-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vert="horz" anchor="t" anchorCtr="0"/>
          <a:lstStyle>
            <a:lvl1pPr algn="l" rtl="0">
              <a:lnSpc>
                <a:spcPct val="91000"/>
              </a:lnSpc>
              <a:defRPr sz="4100">
                <a:solidFill>
                  <a:schemeClr val="bg1"/>
                </a:solidFill>
              </a:defRPr>
            </a:lvl1pPr>
          </a:lstStyle>
          <a:p>
            <a:r>
              <a:rPr lang="da-DK"/>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648110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615D26-BD1B-485E-81BA-C5A949306F15}"/>
              </a:ext>
            </a:extLst>
          </p:cNvPr>
          <p:cNvGraphicFramePr>
            <a:graphicFrameLocks noChangeAspect="1"/>
          </p:cNvGraphicFramePr>
          <p:nvPr userDrawn="1">
            <p:custDataLst>
              <p:tags r:id="rId1"/>
            </p:custDataLst>
            <p:extLst>
              <p:ext uri="{D42A27DB-BD31-4B8C-83A1-F6EECF244321}">
                <p14:modId xmlns:p14="http://schemas.microsoft.com/office/powerpoint/2010/main" val="1005215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2615D26-BD1B-485E-81BA-C5A949306F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2D3E1E10-4E6B-4C9C-B68B-DC96BC56ABFC}" type="datetime1">
              <a:rPr lang="da-DK" smtClean="0"/>
              <a:pPr/>
              <a:t>06-09-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4273168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BC63DC-A6D8-4792-9CE7-E2B23129BCEA}"/>
              </a:ext>
            </a:extLst>
          </p:cNvPr>
          <p:cNvGraphicFramePr>
            <a:graphicFrameLocks noChangeAspect="1"/>
          </p:cNvGraphicFramePr>
          <p:nvPr userDrawn="1">
            <p:custDataLst>
              <p:tags r:id="rId1"/>
            </p:custDataLst>
            <p:extLst>
              <p:ext uri="{D42A27DB-BD31-4B8C-83A1-F6EECF244321}">
                <p14:modId xmlns:p14="http://schemas.microsoft.com/office/powerpoint/2010/main" val="411728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4EBC63DC-A6D8-4792-9CE7-E2B23129BC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9BED15FA-6EE8-4B82-A537-F53ACAF84CA4}" type="datetime1">
              <a:rPr lang="da-DK" smtClean="0"/>
              <a:pPr/>
              <a:t>06-09-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4023518708"/>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31A58-417A-4039-81B5-5CA2D8C6DE57}"/>
              </a:ext>
            </a:extLst>
          </p:cNvPr>
          <p:cNvGraphicFramePr>
            <a:graphicFrameLocks noChangeAspect="1"/>
          </p:cNvGraphicFramePr>
          <p:nvPr userDrawn="1">
            <p:custDataLst>
              <p:tags r:id="rId1"/>
            </p:custDataLst>
            <p:extLst>
              <p:ext uri="{D42A27DB-BD31-4B8C-83A1-F6EECF244321}">
                <p14:modId xmlns:p14="http://schemas.microsoft.com/office/powerpoint/2010/main" val="3309084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BFF31A58-417A-4039-81B5-5CA2D8C6DE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65259D24-E6A6-4D69-90CB-83073E8387B2}" type="datetime1">
              <a:rPr lang="da-DK" smtClean="0"/>
              <a:pPr/>
              <a:t>06-09-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77915639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A0870D-5A09-40C3-AAD2-3D3CB85D2C6E}"/>
              </a:ext>
            </a:extLst>
          </p:cNvPr>
          <p:cNvGraphicFramePr>
            <a:graphicFrameLocks noChangeAspect="1"/>
          </p:cNvGraphicFramePr>
          <p:nvPr userDrawn="1">
            <p:custDataLst>
              <p:tags r:id="rId1"/>
            </p:custDataLst>
            <p:extLst>
              <p:ext uri="{D42A27DB-BD31-4B8C-83A1-F6EECF244321}">
                <p14:modId xmlns:p14="http://schemas.microsoft.com/office/powerpoint/2010/main" val="1569275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37A0870D-5A09-40C3-AAD2-3D3CB85D2C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9BED15FA-6EE8-4B82-A537-F53ACAF84CA4}" type="datetime1">
              <a:rPr lang="da-DK" smtClean="0"/>
              <a:pPr/>
              <a:t>06-09-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314733826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03D91C-9A9E-4990-9C51-5CD1A2754652}"/>
              </a:ext>
            </a:extLst>
          </p:cNvPr>
          <p:cNvGraphicFramePr>
            <a:graphicFrameLocks noChangeAspect="1"/>
          </p:cNvGraphicFramePr>
          <p:nvPr userDrawn="1">
            <p:custDataLst>
              <p:tags r:id="rId1"/>
            </p:custDataLst>
            <p:extLst>
              <p:ext uri="{D42A27DB-BD31-4B8C-83A1-F6EECF244321}">
                <p14:modId xmlns:p14="http://schemas.microsoft.com/office/powerpoint/2010/main" val="1993942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B03D91C-9A9E-4990-9C51-5CD1A27546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4C6B010D-12BA-4529-B692-206652452F2C}" type="datetime1">
              <a:rPr lang="da-DK" smtClean="0"/>
              <a:pPr/>
              <a:t>06-09-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ctrTitle" hasCustomPrompt="1"/>
          </p:nvPr>
        </p:nvSpPr>
        <p:spPr>
          <a:xfrm>
            <a:off x="360000" y="654049"/>
            <a:ext cx="10485800" cy="804214"/>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4095149692"/>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F60166C-2A4A-473E-AEFC-94CF443D054F}"/>
              </a:ext>
            </a:extLst>
          </p:cNvPr>
          <p:cNvGraphicFramePr>
            <a:graphicFrameLocks noChangeAspect="1"/>
          </p:cNvGraphicFramePr>
          <p:nvPr userDrawn="1">
            <p:custDataLst>
              <p:tags r:id="rId1"/>
            </p:custDataLst>
            <p:extLst>
              <p:ext uri="{D42A27DB-BD31-4B8C-83A1-F6EECF244321}">
                <p14:modId xmlns:p14="http://schemas.microsoft.com/office/powerpoint/2010/main" val="160935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8F60166C-2A4A-473E-AEFC-94CF443D05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59998" y="654050"/>
            <a:ext cx="3583351" cy="1175446"/>
          </a:xfrm>
        </p:spPr>
        <p:txBody>
          <a:bodyPr vert="horz"/>
          <a:lstStyle>
            <a:lvl1pPr rtl="0">
              <a:defRPr sz="4100"/>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rtl="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rtl="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rtl="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rtl="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lvl1pPr>
          </a:lstStyle>
          <a:p>
            <a:fld id="{527E5059-8FC8-469D-AF5C-AED221334502}" type="datetime1">
              <a:rPr lang="da-DK" smtClean="0"/>
              <a:pPr/>
              <a:t>06-09-2023</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313002442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46F85BC-C716-4553-BD5C-090299A90C86}"/>
              </a:ext>
            </a:extLst>
          </p:cNvPr>
          <p:cNvGraphicFramePr>
            <a:graphicFrameLocks noChangeAspect="1"/>
          </p:cNvGraphicFramePr>
          <p:nvPr userDrawn="1">
            <p:custDataLst>
              <p:tags r:id="rId1"/>
            </p:custDataLst>
            <p:extLst>
              <p:ext uri="{D42A27DB-BD31-4B8C-83A1-F6EECF244321}">
                <p14:modId xmlns:p14="http://schemas.microsoft.com/office/powerpoint/2010/main" val="1407088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46F85BC-C716-4553-BD5C-090299A90C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title" hasCustomPrompt="1"/>
          </p:nvPr>
        </p:nvSpPr>
        <p:spPr>
          <a:xfrm>
            <a:off x="359998" y="654050"/>
            <a:ext cx="3583351" cy="1175446"/>
          </a:xfrm>
        </p:spPr>
        <p:txBody>
          <a:bodyPr vert="horz"/>
          <a:lstStyle>
            <a:lvl1pPr rtl="0">
              <a:defRPr sz="4100">
                <a:solidFill>
                  <a:schemeClr val="tx1"/>
                </a:solidFill>
              </a:defRPr>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rtl="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rtl="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rtl="0">
              <a:lnSpc>
                <a:spcPct val="100000"/>
              </a:lnSpc>
              <a:spcBef>
                <a:spcPts val="0"/>
              </a:spcBef>
              <a:spcAft>
                <a:spcPts val="3000"/>
              </a:spcAft>
              <a:buClrTx/>
              <a:buFont typeface="+mj-lt"/>
              <a:buAutoNum type="arabicPeriod"/>
              <a:defRPr sz="1600" b="0">
                <a:solidFill>
                  <a:schemeClr val="tx1"/>
                </a:solidFill>
              </a:defRPr>
            </a:lvl4pPr>
            <a:lvl5pPr marL="342900" indent="-342900" rtl="0">
              <a:lnSpc>
                <a:spcPct val="100000"/>
              </a:lnSpc>
              <a:spcBef>
                <a:spcPts val="0"/>
              </a:spcBef>
              <a:spcAft>
                <a:spcPts val="3000"/>
              </a:spcAft>
              <a:buClrTx/>
              <a:buFont typeface="+mj-lt"/>
              <a:buAutoNum type="arabicPeriod"/>
              <a:defRPr sz="1600" b="0">
                <a:solidFill>
                  <a:schemeClr val="tx1"/>
                </a:solidFill>
              </a:defRPr>
            </a:lvl5pPr>
            <a:lvl6pPr marL="342900" indent="-342900" rtl="0">
              <a:lnSpc>
                <a:spcPct val="100000"/>
              </a:lnSpc>
              <a:spcBef>
                <a:spcPts val="0"/>
              </a:spcBef>
              <a:spcAft>
                <a:spcPts val="3000"/>
              </a:spcAft>
              <a:buClrTx/>
              <a:buFont typeface="+mj-lt"/>
              <a:buAutoNum type="arabicPeriod"/>
              <a:defRPr sz="1600" b="0">
                <a:solidFill>
                  <a:schemeClr val="tx1"/>
                </a:solidFill>
              </a:defRPr>
            </a:lvl6pPr>
            <a:lvl7pPr marL="342900" indent="-342900" rtl="0">
              <a:lnSpc>
                <a:spcPct val="100000"/>
              </a:lnSpc>
              <a:spcBef>
                <a:spcPts val="0"/>
              </a:spcBef>
              <a:spcAft>
                <a:spcPts val="3000"/>
              </a:spcAft>
              <a:buClrTx/>
              <a:buFont typeface="+mj-lt"/>
              <a:buAutoNum type="arabicPeriod"/>
              <a:defRPr sz="1600" b="0">
                <a:solidFill>
                  <a:schemeClr val="tx1"/>
                </a:solidFill>
              </a:defRPr>
            </a:lvl7pPr>
            <a:lvl8pPr marL="342900" indent="-342900" rtl="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rtl="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solidFill>
                  <a:schemeClr val="tx1"/>
                </a:solidFill>
              </a:defRPr>
            </a:lvl1pPr>
          </a:lstStyle>
          <a:p>
            <a:fld id="{B0A79E5A-EC3D-4F9C-8449-9968B8A873CD}" type="datetime1">
              <a:rPr lang="da-DK" smtClean="0"/>
              <a:pPr/>
              <a:t>06-09-2023</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solidFill>
                  <a:schemeClr val="tx1"/>
                </a:solidFill>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solidFill>
                  <a:schemeClr val="tx1"/>
                </a:solidFill>
              </a:defRPr>
            </a:lvl1pPr>
          </a:lstStyle>
          <a:p>
            <a:fld id="{23AA811B-2EBD-4900-905E-5BE206449611}" type="slidenum">
              <a:rPr lang="da-DK" smtClean="0"/>
              <a:pPr/>
              <a:t>‹nr.›</a:t>
            </a:fld>
            <a:endParaRPr lang="da-DK"/>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7623730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8F084EF-E6C0-49F9-A75B-12C06FBE4633}"/>
              </a:ext>
            </a:extLst>
          </p:cNvPr>
          <p:cNvGraphicFramePr>
            <a:graphicFrameLocks noChangeAspect="1"/>
          </p:cNvGraphicFramePr>
          <p:nvPr userDrawn="1">
            <p:custDataLst>
              <p:tags r:id="rId1"/>
            </p:custDataLst>
            <p:extLst>
              <p:ext uri="{D42A27DB-BD31-4B8C-83A1-F6EECF244321}">
                <p14:modId xmlns:p14="http://schemas.microsoft.com/office/powerpoint/2010/main" val="1508846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18F084EF-E6C0-49F9-A75B-12C06FBE46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lvl1pPr rtl="0">
              <a:defRPr/>
            </a:lvl1pPr>
          </a:lstStyle>
          <a:p>
            <a:fld id="{4DE8F052-B495-40BE-9682-094846479C8E}" type="datetime1">
              <a:rPr lang="da-DK" smtClean="0"/>
              <a:pPr/>
              <a:t>06-09-2023</a:t>
            </a:fld>
            <a:endParaRPr lang="da-DK"/>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40918565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3C26FF-5B65-4D3E-A76B-DEB2248706A7}"/>
              </a:ext>
            </a:extLst>
          </p:cNvPr>
          <p:cNvGraphicFramePr>
            <a:graphicFrameLocks noChangeAspect="1"/>
          </p:cNvGraphicFramePr>
          <p:nvPr userDrawn="1">
            <p:custDataLst>
              <p:tags r:id="rId1"/>
            </p:custDataLst>
            <p:extLst>
              <p:ext uri="{D42A27DB-BD31-4B8C-83A1-F6EECF244321}">
                <p14:modId xmlns:p14="http://schemas.microsoft.com/office/powerpoint/2010/main" val="503016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793C26FF-5B65-4D3E-A76B-DEB2248706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1B4C9864-BFD0-4574-B370-8DFD1BF6363B}" type="datetime1">
              <a:rPr lang="da-DK" smtClean="0"/>
              <a:pPr/>
              <a:t>06-09-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5172631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4EBE56-DC86-44DA-9707-F66B26C382B3}"/>
              </a:ext>
            </a:extLst>
          </p:cNvPr>
          <p:cNvGraphicFramePr>
            <a:graphicFrameLocks noChangeAspect="1"/>
          </p:cNvGraphicFramePr>
          <p:nvPr userDrawn="1">
            <p:custDataLst>
              <p:tags r:id="rId1"/>
            </p:custDataLst>
            <p:extLst>
              <p:ext uri="{D42A27DB-BD31-4B8C-83A1-F6EECF244321}">
                <p14:modId xmlns:p14="http://schemas.microsoft.com/office/powerpoint/2010/main" val="16901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424EBE56-DC86-44DA-9707-F66B26C382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B9941A0D-1A7D-4418-872D-0A573109AE3D}" type="datetime1">
              <a:rPr lang="da-DK" smtClean="0"/>
              <a:pPr/>
              <a:t>06-09-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64673440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A4F71C-9CE1-44CF-B35F-7CF6E5D864E4}"/>
              </a:ext>
            </a:extLst>
          </p:cNvPr>
          <p:cNvGraphicFramePr>
            <a:graphicFrameLocks noChangeAspect="1"/>
          </p:cNvGraphicFramePr>
          <p:nvPr userDrawn="1">
            <p:custDataLst>
              <p:tags r:id="rId1"/>
            </p:custDataLst>
            <p:extLst>
              <p:ext uri="{D42A27DB-BD31-4B8C-83A1-F6EECF244321}">
                <p14:modId xmlns:p14="http://schemas.microsoft.com/office/powerpoint/2010/main" val="332935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4A4F71C-9CE1-44CF-B35F-7CF6E5D864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CE630481-804D-4542-835F-93D05E69FE5F}" type="datetime1">
              <a:rPr lang="da-DK" smtClean="0"/>
              <a:pPr/>
              <a:t>06-09-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016322553"/>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9EF37A4-B44F-4C89-A073-242167466BED}"/>
              </a:ext>
            </a:extLst>
          </p:cNvPr>
          <p:cNvGraphicFramePr>
            <a:graphicFrameLocks noChangeAspect="1"/>
          </p:cNvGraphicFramePr>
          <p:nvPr userDrawn="1">
            <p:custDataLst>
              <p:tags r:id="rId1"/>
            </p:custDataLst>
            <p:extLst>
              <p:ext uri="{D42A27DB-BD31-4B8C-83A1-F6EECF244321}">
                <p14:modId xmlns:p14="http://schemas.microsoft.com/office/powerpoint/2010/main" val="4199143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B9EF37A4-B44F-4C89-A073-242167466B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lvl1pPr rtl="0">
              <a:defRPr/>
            </a:lvl1pPr>
          </a:lstStyle>
          <a:p>
            <a:fld id="{7BF43399-B145-4BBC-AF2A-C9EC8B4305A6}" type="datetime1">
              <a:rPr lang="da-DK" smtClean="0"/>
              <a:pPr/>
              <a:t>06-09-2023</a:t>
            </a:fld>
            <a:endParaRPr lang="da-DK"/>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54835265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E83CFD-9F74-4EF8-975F-FD81488A8E17}"/>
              </a:ext>
            </a:extLst>
          </p:cNvPr>
          <p:cNvGraphicFramePr>
            <a:graphicFrameLocks noChangeAspect="1"/>
          </p:cNvGraphicFramePr>
          <p:nvPr userDrawn="1">
            <p:custDataLst>
              <p:tags r:id="rId1"/>
            </p:custDataLst>
            <p:extLst>
              <p:ext uri="{D42A27DB-BD31-4B8C-83A1-F6EECF244321}">
                <p14:modId xmlns:p14="http://schemas.microsoft.com/office/powerpoint/2010/main" val="384047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0E83CFD-9F74-4EF8-975F-FD81488A8E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4C6B010D-12BA-4529-B692-206652452F2C}" type="datetime1">
              <a:rPr lang="da-DK" smtClean="0"/>
              <a:pPr/>
              <a:t>06-09-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ctrTitle" hasCustomPrompt="1"/>
          </p:nvPr>
        </p:nvSpPr>
        <p:spPr>
          <a:xfrm>
            <a:off x="360000" y="654049"/>
            <a:ext cx="10485800" cy="804214"/>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09881713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28212BF-18A5-4D9F-9F2F-E8FBAAE91B57}"/>
              </a:ext>
            </a:extLst>
          </p:cNvPr>
          <p:cNvGraphicFramePr>
            <a:graphicFrameLocks noChangeAspect="1"/>
          </p:cNvGraphicFramePr>
          <p:nvPr userDrawn="1">
            <p:custDataLst>
              <p:tags r:id="rId1"/>
            </p:custDataLst>
            <p:extLst>
              <p:ext uri="{D42A27DB-BD31-4B8C-83A1-F6EECF244321}">
                <p14:modId xmlns:p14="http://schemas.microsoft.com/office/powerpoint/2010/main" val="1916633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28212BF-18A5-4D9F-9F2F-E8FBAAE91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D74F0F3-9842-478D-99B7-277D0E19CEC9}" type="datetime1">
              <a:rPr lang="da-DK" smtClean="0"/>
              <a:pPr/>
              <a:t>06-09-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192639167"/>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5434468-572D-4FA6-B8CB-CCC382820344}"/>
              </a:ext>
            </a:extLst>
          </p:cNvPr>
          <p:cNvGraphicFramePr>
            <a:graphicFrameLocks noChangeAspect="1"/>
          </p:cNvGraphicFramePr>
          <p:nvPr userDrawn="1">
            <p:custDataLst>
              <p:tags r:id="rId1"/>
            </p:custDataLst>
            <p:extLst>
              <p:ext uri="{D42A27DB-BD31-4B8C-83A1-F6EECF244321}">
                <p14:modId xmlns:p14="http://schemas.microsoft.com/office/powerpoint/2010/main" val="141573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B5434468-572D-4FA6-B8CB-CCC382820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33B4BAF-2B92-4850-839C-D15349852EB5}" type="datetime1">
              <a:rPr lang="da-DK" smtClean="0"/>
              <a:pPr/>
              <a:t>06-09-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1957436452"/>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18C53D-E677-40EE-86B6-983CF3FD7F9D}"/>
              </a:ext>
            </a:extLst>
          </p:cNvPr>
          <p:cNvGraphicFramePr>
            <a:graphicFrameLocks noChangeAspect="1"/>
          </p:cNvGraphicFramePr>
          <p:nvPr userDrawn="1">
            <p:custDataLst>
              <p:tags r:id="rId1"/>
            </p:custDataLst>
            <p:extLst>
              <p:ext uri="{D42A27DB-BD31-4B8C-83A1-F6EECF244321}">
                <p14:modId xmlns:p14="http://schemas.microsoft.com/office/powerpoint/2010/main" val="2659025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EF18C53D-E677-40EE-86B6-983CF3FD7F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7B5352C5-81EC-4100-8EF4-0409291AC406}" type="datetime1">
              <a:rPr lang="da-DK" smtClean="0"/>
              <a:pPr/>
              <a:t>06-09-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745717859"/>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6B16CCA-52A6-4838-8AB3-3C27A8B4A198}"/>
              </a:ext>
            </a:extLst>
          </p:cNvPr>
          <p:cNvGraphicFramePr>
            <a:graphicFrameLocks noChangeAspect="1"/>
          </p:cNvGraphicFramePr>
          <p:nvPr userDrawn="1">
            <p:custDataLst>
              <p:tags r:id="rId1"/>
            </p:custDataLst>
            <p:extLst>
              <p:ext uri="{D42A27DB-BD31-4B8C-83A1-F6EECF244321}">
                <p14:modId xmlns:p14="http://schemas.microsoft.com/office/powerpoint/2010/main" val="298815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6B16CCA-52A6-4838-8AB3-3C27A8B4A1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8A4F6F59-6CB3-4166-9CD8-0F5BCD967261}" type="datetime1">
              <a:rPr lang="da-DK" smtClean="0"/>
              <a:pPr/>
              <a:t>06-09-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682504136"/>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FA7D48-E59B-4B43-ABFB-2EB79E90E58B}"/>
              </a:ext>
            </a:extLst>
          </p:cNvPr>
          <p:cNvGraphicFramePr>
            <a:graphicFrameLocks noChangeAspect="1"/>
          </p:cNvGraphicFramePr>
          <p:nvPr userDrawn="1">
            <p:custDataLst>
              <p:tags r:id="rId1"/>
            </p:custDataLst>
            <p:extLst>
              <p:ext uri="{D42A27DB-BD31-4B8C-83A1-F6EECF244321}">
                <p14:modId xmlns:p14="http://schemas.microsoft.com/office/powerpoint/2010/main" val="1853528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2FA7D48-E59B-4B43-ABFB-2EB79E90E5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lvl1pPr rtl="0">
              <a:defRPr/>
            </a:lvl1pPr>
          </a:lstStyle>
          <a:p>
            <a:fld id="{6ACCEA19-5171-4127-A28C-C6D875C2D7D4}" type="datetime1">
              <a:rPr lang="da-DK" smtClean="0"/>
              <a:pPr/>
              <a:t>06-09-2023</a:t>
            </a:fld>
            <a:endParaRPr lang="da-DK"/>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1549390637"/>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5E9166-697A-4756-9084-4D43AA6266AC}"/>
              </a:ext>
            </a:extLst>
          </p:cNvPr>
          <p:cNvGraphicFramePr>
            <a:graphicFrameLocks noChangeAspect="1"/>
          </p:cNvGraphicFramePr>
          <p:nvPr userDrawn="1">
            <p:custDataLst>
              <p:tags r:id="rId1"/>
            </p:custDataLst>
            <p:extLst>
              <p:ext uri="{D42A27DB-BD31-4B8C-83A1-F6EECF244321}">
                <p14:modId xmlns:p14="http://schemas.microsoft.com/office/powerpoint/2010/main" val="2037424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25E9166-697A-4756-9084-4D43AA6266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8"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9AA3F283-0871-412B-8A65-5C27135FA311}" type="datetime1">
              <a:rPr lang="da-DK" smtClean="0"/>
              <a:pPr/>
              <a:t>06-09-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580882032"/>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6A4339A-E44E-4EA2-8821-B9FBBFDDE819}"/>
              </a:ext>
            </a:extLst>
          </p:cNvPr>
          <p:cNvGraphicFramePr>
            <a:graphicFrameLocks noChangeAspect="1"/>
          </p:cNvGraphicFramePr>
          <p:nvPr userDrawn="1">
            <p:custDataLst>
              <p:tags r:id="rId1"/>
            </p:custDataLst>
            <p:extLst>
              <p:ext uri="{D42A27DB-BD31-4B8C-83A1-F6EECF244321}">
                <p14:modId xmlns:p14="http://schemas.microsoft.com/office/powerpoint/2010/main" val="983239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A6A4339A-E44E-4EA2-8821-B9FBBFDDE8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302000"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lvl1pPr rtl="0">
              <a:defRPr/>
            </a:lvl1pPr>
          </a:lstStyle>
          <a:p>
            <a:fld id="{A67BCEC0-92C2-4FF9-A782-344903368E13}" type="datetime1">
              <a:rPr lang="da-DK" smtClean="0"/>
              <a:pPr/>
              <a:t>06-09-2023</a:t>
            </a:fld>
            <a:endParaRPr lang="da-DK"/>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lvl1pPr rtl="0">
              <a:defRPr/>
            </a:lvl1pPr>
          </a:lstStyle>
          <a:p>
            <a:endParaRPr lang="da-DK"/>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171416610"/>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9F33474-6E8E-4C5B-A4E6-42EC87473E96}"/>
              </a:ext>
            </a:extLst>
          </p:cNvPr>
          <p:cNvGraphicFramePr>
            <a:graphicFrameLocks noChangeAspect="1"/>
          </p:cNvGraphicFramePr>
          <p:nvPr userDrawn="1">
            <p:custDataLst>
              <p:tags r:id="rId1"/>
            </p:custDataLst>
            <p:extLst>
              <p:ext uri="{D42A27DB-BD31-4B8C-83A1-F6EECF244321}">
                <p14:modId xmlns:p14="http://schemas.microsoft.com/office/powerpoint/2010/main" val="260453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39F33474-6E8E-4C5B-A4E6-42EC87473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lvl1pPr>
          </a:lstStyle>
          <a:p>
            <a:fld id="{314D1594-E68D-46B5-98E0-BADEBF2D8E2F}" type="datetime1">
              <a:rPr lang="da-DK" smtClean="0"/>
              <a:pPr/>
              <a:t>06-09-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86701539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557DDF1-B341-4A50-9F0A-CE72A4EDBC28}"/>
              </a:ext>
            </a:extLst>
          </p:cNvPr>
          <p:cNvGraphicFramePr>
            <a:graphicFrameLocks noChangeAspect="1"/>
          </p:cNvGraphicFramePr>
          <p:nvPr userDrawn="1">
            <p:custDataLst>
              <p:tags r:id="rId1"/>
            </p:custDataLst>
            <p:extLst>
              <p:ext uri="{D42A27DB-BD31-4B8C-83A1-F6EECF244321}">
                <p14:modId xmlns:p14="http://schemas.microsoft.com/office/powerpoint/2010/main" val="2352957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4557DDF1-B341-4A50-9F0A-CE72A4EDBC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lvl1pPr rtl="0">
              <a:defRPr/>
            </a:lvl1pPr>
          </a:lstStyle>
          <a:p>
            <a:fld id="{265A58E6-12DB-4BF0-8165-AE5E60E9367A}" type="datetime1">
              <a:rPr lang="da-DK" smtClean="0"/>
              <a:pPr/>
              <a:t>06-09-2023</a:t>
            </a:fld>
            <a:endParaRPr lang="da-DK"/>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492367252"/>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F51A2E8-EAA6-46ED-9053-DD5D6AD76EF7}"/>
              </a:ext>
            </a:extLst>
          </p:cNvPr>
          <p:cNvGraphicFramePr>
            <a:graphicFrameLocks noChangeAspect="1"/>
          </p:cNvGraphicFramePr>
          <p:nvPr userDrawn="1">
            <p:custDataLst>
              <p:tags r:id="rId1"/>
            </p:custDataLst>
            <p:extLst>
              <p:ext uri="{D42A27DB-BD31-4B8C-83A1-F6EECF244321}">
                <p14:modId xmlns:p14="http://schemas.microsoft.com/office/powerpoint/2010/main" val="191480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F51A2E8-EAA6-46ED-9053-DD5D6AD76E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904988D6-6DD0-4C39-8AE1-A7E25B5D1BF4}" type="datetime1">
              <a:rPr lang="da-DK" smtClean="0"/>
              <a:pPr/>
              <a:t>06-09-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371200853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B3AC83-153D-43B4-BBB3-9DC474C78DBD}"/>
              </a:ext>
            </a:extLst>
          </p:cNvPr>
          <p:cNvGraphicFramePr>
            <a:graphicFrameLocks noChangeAspect="1"/>
          </p:cNvGraphicFramePr>
          <p:nvPr userDrawn="1">
            <p:custDataLst>
              <p:tags r:id="rId1"/>
            </p:custDataLst>
            <p:extLst>
              <p:ext uri="{D42A27DB-BD31-4B8C-83A1-F6EECF244321}">
                <p14:modId xmlns:p14="http://schemas.microsoft.com/office/powerpoint/2010/main" val="2779528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9EB3AC83-153D-43B4-BBB3-9DC474C78D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59998" y="654050"/>
            <a:ext cx="3583351" cy="1175446"/>
          </a:xfrm>
        </p:spPr>
        <p:txBody>
          <a:bodyPr vert="horz"/>
          <a:lstStyle>
            <a:lvl1pPr rtl="0">
              <a:defRPr sz="4100"/>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rtl="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rtl="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rtl="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rtl="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lvl1pPr>
          </a:lstStyle>
          <a:p>
            <a:fld id="{527E5059-8FC8-469D-AF5C-AED221334502}" type="datetime1">
              <a:rPr lang="da-DK" smtClean="0"/>
              <a:pPr/>
              <a:t>06-09-2023</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947025494"/>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AE60287-0DD4-4D01-A53A-5899BF340758}"/>
              </a:ext>
            </a:extLst>
          </p:cNvPr>
          <p:cNvGraphicFramePr>
            <a:graphicFrameLocks noChangeAspect="1"/>
          </p:cNvGraphicFramePr>
          <p:nvPr userDrawn="1">
            <p:custDataLst>
              <p:tags r:id="rId1"/>
            </p:custDataLst>
            <p:extLst>
              <p:ext uri="{D42A27DB-BD31-4B8C-83A1-F6EECF244321}">
                <p14:modId xmlns:p14="http://schemas.microsoft.com/office/powerpoint/2010/main" val="1320407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BAE60287-0DD4-4D01-A53A-5899BF3407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tx2"/>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DC7F6929-E9B5-46A3-B5E9-6150C85426CE}" type="datetime1">
              <a:rPr lang="da-DK" smtClean="0"/>
              <a:pPr/>
              <a:t>06-09-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nr.›</a:t>
            </a:fld>
            <a:endParaRPr lang="da-DK"/>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0904305"/>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1FDAE5E-5EB6-4945-AF41-2EC218E4C572}"/>
              </a:ext>
            </a:extLst>
          </p:cNvPr>
          <p:cNvGraphicFramePr>
            <a:graphicFrameLocks noChangeAspect="1"/>
          </p:cNvGraphicFramePr>
          <p:nvPr userDrawn="1">
            <p:custDataLst>
              <p:tags r:id="rId1"/>
            </p:custDataLst>
            <p:extLst>
              <p:ext uri="{D42A27DB-BD31-4B8C-83A1-F6EECF244321}">
                <p14:modId xmlns:p14="http://schemas.microsoft.com/office/powerpoint/2010/main" val="627160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21FDAE5E-5EB6-4945-AF41-2EC218E4C5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59FA29BE-106E-4609-97DE-EDE0B0C087F7}" type="datetime1">
              <a:rPr lang="da-DK" smtClean="0"/>
              <a:pPr/>
              <a:t>06-09-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nr.›</a:t>
            </a:fld>
            <a:endParaRPr lang="da-DK"/>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877688799"/>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DC1A67D-15B4-4A31-BCD6-E4373097286D}"/>
              </a:ext>
            </a:extLst>
          </p:cNvPr>
          <p:cNvGraphicFramePr>
            <a:graphicFrameLocks noChangeAspect="1"/>
          </p:cNvGraphicFramePr>
          <p:nvPr userDrawn="1">
            <p:custDataLst>
              <p:tags r:id="rId1"/>
            </p:custDataLst>
            <p:extLst>
              <p:ext uri="{D42A27DB-BD31-4B8C-83A1-F6EECF244321}">
                <p14:modId xmlns:p14="http://schemas.microsoft.com/office/powerpoint/2010/main" val="3053914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FDC1A67D-15B4-4A31-BCD6-E437309728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3EFAF684-C611-4113-B7D5-C3E527F22C4F}" type="datetime1">
              <a:rPr lang="da-DK" smtClean="0"/>
              <a:pPr/>
              <a:t>06-09-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nr.›</a:t>
            </a:fld>
            <a:endParaRPr lang="da-DK"/>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4486080"/>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F09C2E-31C1-4F9B-9740-71B6014FE194}"/>
              </a:ext>
            </a:extLst>
          </p:cNvPr>
          <p:cNvGraphicFramePr>
            <a:graphicFrameLocks noChangeAspect="1"/>
          </p:cNvGraphicFramePr>
          <p:nvPr userDrawn="1">
            <p:custDataLst>
              <p:tags r:id="rId1"/>
            </p:custDataLst>
            <p:extLst>
              <p:ext uri="{D42A27DB-BD31-4B8C-83A1-F6EECF244321}">
                <p14:modId xmlns:p14="http://schemas.microsoft.com/office/powerpoint/2010/main" val="2595208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4BF09C2E-31C1-4F9B-9740-71B6014FE1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rtl="0">
              <a:defRPr sz="100">
                <a:noFill/>
              </a:defRPr>
            </a:lvl1pPr>
          </a:lstStyle>
          <a:p>
            <a:fld id="{C4B04AE4-03BB-4174-AD21-7567A4C959F4}" type="datetime1">
              <a:rPr lang="da-DK" smtClean="0"/>
              <a:pPr/>
              <a:t>06-09-2023</a:t>
            </a:fld>
            <a:endParaRPr lang="da-DK"/>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lvl1pPr rtl="0">
              <a:defRPr/>
            </a:lvl1pPr>
          </a:lstStyle>
          <a:p>
            <a:endParaRPr lang="da-DK"/>
          </a:p>
        </p:txBody>
      </p:sp>
    </p:spTree>
    <p:extLst>
      <p:ext uri="{BB962C8B-B14F-4D97-AF65-F5344CB8AC3E}">
        <p14:creationId xmlns:p14="http://schemas.microsoft.com/office/powerpoint/2010/main" val="2247901837"/>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18FEC5D-208A-45E5-B6AE-C5854E801034}"/>
              </a:ext>
            </a:extLst>
          </p:cNvPr>
          <p:cNvGraphicFramePr>
            <a:graphicFrameLocks noChangeAspect="1"/>
          </p:cNvGraphicFramePr>
          <p:nvPr userDrawn="1">
            <p:custDataLst>
              <p:tags r:id="rId1"/>
            </p:custDataLst>
            <p:extLst>
              <p:ext uri="{D42A27DB-BD31-4B8C-83A1-F6EECF244321}">
                <p14:modId xmlns:p14="http://schemas.microsoft.com/office/powerpoint/2010/main" val="189040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218FEC5D-208A-45E5-B6AE-C5854E8010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lvl1pPr rtl="0">
              <a:defRPr/>
            </a:lvl1pPr>
          </a:lstStyle>
          <a:p>
            <a:fld id="{3A46E679-721E-4A44-A034-B3833441D488}" type="datetime1">
              <a:rPr lang="da-DK" smtClean="0"/>
              <a:pPr/>
              <a:t>06-09-2023</a:t>
            </a:fld>
            <a:endParaRPr lang="da-DK"/>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630868409"/>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42EF20-83FC-47CD-9A6B-22CA8EBF2AB1}"/>
              </a:ext>
            </a:extLst>
          </p:cNvPr>
          <p:cNvGraphicFramePr>
            <a:graphicFrameLocks noChangeAspect="1"/>
          </p:cNvGraphicFramePr>
          <p:nvPr userDrawn="1">
            <p:custDataLst>
              <p:tags r:id="rId1"/>
            </p:custDataLst>
            <p:extLst>
              <p:ext uri="{D42A27DB-BD31-4B8C-83A1-F6EECF244321}">
                <p14:modId xmlns:p14="http://schemas.microsoft.com/office/powerpoint/2010/main" val="2746990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242EF20-83FC-47CD-9A6B-22CA8EBF2A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rtl="0">
              <a:defRPr sz="100">
                <a:noFill/>
              </a:defRPr>
            </a:lvl1pPr>
          </a:lstStyle>
          <a:p>
            <a:fld id="{F6C1ADEE-7B52-423A-9878-0398FEFAF71F}" type="datetime1">
              <a:rPr lang="da-DK" smtClean="0"/>
              <a:pPr/>
              <a:t>06-09-2023</a:t>
            </a:fld>
            <a:endParaRPr lang="da-DK"/>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lvl1pPr rtl="0">
              <a:defRPr/>
            </a:lvl1pPr>
          </a:lstStyle>
          <a:p>
            <a:endParaRPr lang="da-DK"/>
          </a:p>
        </p:txBody>
      </p:sp>
    </p:spTree>
    <p:extLst>
      <p:ext uri="{BB962C8B-B14F-4D97-AF65-F5344CB8AC3E}">
        <p14:creationId xmlns:p14="http://schemas.microsoft.com/office/powerpoint/2010/main" val="4138849815"/>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8740DD9-43CE-4C3E-97A1-ADF13214434B}"/>
              </a:ext>
            </a:extLst>
          </p:cNvPr>
          <p:cNvGraphicFramePr>
            <a:graphicFrameLocks noChangeAspect="1"/>
          </p:cNvGraphicFramePr>
          <p:nvPr userDrawn="1">
            <p:custDataLst>
              <p:tags r:id="rId1"/>
            </p:custDataLst>
            <p:extLst>
              <p:ext uri="{D42A27DB-BD31-4B8C-83A1-F6EECF244321}">
                <p14:modId xmlns:p14="http://schemas.microsoft.com/office/powerpoint/2010/main" val="133398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8740DD9-43CE-4C3E-97A1-ADF1321443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lvl1pPr rtl="0">
              <a:defRPr/>
            </a:lvl1pPr>
          </a:lstStyle>
          <a:p>
            <a:fld id="{3FD627AC-F023-4E38-BBE2-8CC6A4B15F9B}" type="datetime1">
              <a:rPr lang="da-DK" smtClean="0"/>
              <a:pPr/>
              <a:t>06-09-2023</a:t>
            </a:fld>
            <a:endParaRPr lang="da-DK"/>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683894057"/>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F2636-3EAA-407B-9D55-00604C9AAD76}"/>
              </a:ext>
            </a:extLst>
          </p:cNvPr>
          <p:cNvGraphicFramePr>
            <a:graphicFrameLocks noChangeAspect="1"/>
          </p:cNvGraphicFramePr>
          <p:nvPr userDrawn="1">
            <p:custDataLst>
              <p:tags r:id="rId1"/>
            </p:custDataLst>
            <p:extLst>
              <p:ext uri="{D42A27DB-BD31-4B8C-83A1-F6EECF244321}">
                <p14:modId xmlns:p14="http://schemas.microsoft.com/office/powerpoint/2010/main" val="3252173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A92F2636-3EAA-407B-9D55-00604C9AAD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rtl="0">
              <a:defRPr sz="100">
                <a:noFill/>
              </a:defRPr>
            </a:lvl1pPr>
          </a:lstStyle>
          <a:p>
            <a:fld id="{791AE312-9C38-4B88-A1BD-03872F0FCB4A}" type="datetime1">
              <a:rPr lang="da-DK" smtClean="0"/>
              <a:pPr/>
              <a:t>06-09-2023</a:t>
            </a:fld>
            <a:endParaRPr lang="da-DK"/>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rtl="0">
              <a:defRPr>
                <a:solidFill>
                  <a:schemeClr val="bg1"/>
                </a:solidFill>
              </a:defRPr>
            </a:lvl1pPr>
          </a:lstStyle>
          <a:p>
            <a:endParaRPr lang="da-DK"/>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1272824847"/>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A56E38-FDDE-433A-BAF6-AC8D12AFC6FC}"/>
              </a:ext>
            </a:extLst>
          </p:cNvPr>
          <p:cNvGraphicFramePr>
            <a:graphicFrameLocks noChangeAspect="1"/>
          </p:cNvGraphicFramePr>
          <p:nvPr userDrawn="1">
            <p:custDataLst>
              <p:tags r:id="rId1"/>
            </p:custDataLst>
            <p:extLst>
              <p:ext uri="{D42A27DB-BD31-4B8C-83A1-F6EECF244321}">
                <p14:modId xmlns:p14="http://schemas.microsoft.com/office/powerpoint/2010/main" val="377707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A1A56E38-FDDE-433A-BAF6-AC8D12AFC6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50802"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bg1"/>
                </a:solidFill>
              </a:defRPr>
            </a:lvl1pPr>
          </a:lstStyle>
          <a:p>
            <a:fld id="{B28D1D58-AB37-4343-ADE9-EEBE954DF792}" type="datetime1">
              <a:rPr lang="da-DK" smtClean="0"/>
              <a:pPr/>
              <a:t>06-09-2023</a:t>
            </a:fld>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bg1"/>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706099923"/>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A58D2D-009C-477A-A7E8-6CBFB3E4C3BD}"/>
              </a:ext>
            </a:extLst>
          </p:cNvPr>
          <p:cNvGraphicFramePr>
            <a:graphicFrameLocks noChangeAspect="1"/>
          </p:cNvGraphicFramePr>
          <p:nvPr userDrawn="1">
            <p:custDataLst>
              <p:tags r:id="rId1"/>
            </p:custDataLst>
            <p:extLst>
              <p:ext uri="{D42A27DB-BD31-4B8C-83A1-F6EECF244321}">
                <p14:modId xmlns:p14="http://schemas.microsoft.com/office/powerpoint/2010/main" val="791056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2A58D2D-009C-477A-A7E8-6CBFB3E4C3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58225" y="654051"/>
            <a:ext cx="4563272"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lvl1pPr rtl="0">
              <a:defRPr/>
            </a:lvl1pPr>
          </a:lstStyle>
          <a:p>
            <a:fld id="{06093368-26E3-4532-8FD8-7B783022E688}" type="datetime1">
              <a:rPr lang="da-DK" smtClean="0"/>
              <a:pPr/>
              <a:t>06-09-2023</a:t>
            </a:fld>
            <a:endParaRPr lang="da-DK"/>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rtl="0">
              <a:defRPr>
                <a:solidFill>
                  <a:schemeClr val="bg1"/>
                </a:solidFill>
              </a:defRPr>
            </a:lvl1pPr>
          </a:lstStyle>
          <a:p>
            <a:endParaRPr lang="da-DK"/>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287586255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EFBBF1-C009-481F-880D-B72DF8BA5B5C}"/>
              </a:ext>
            </a:extLst>
          </p:cNvPr>
          <p:cNvGraphicFramePr>
            <a:graphicFrameLocks noChangeAspect="1"/>
          </p:cNvGraphicFramePr>
          <p:nvPr userDrawn="1">
            <p:custDataLst>
              <p:tags r:id="rId1"/>
            </p:custDataLst>
            <p:extLst>
              <p:ext uri="{D42A27DB-BD31-4B8C-83A1-F6EECF244321}">
                <p14:modId xmlns:p14="http://schemas.microsoft.com/office/powerpoint/2010/main" val="3622667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E1EFBBF1-C009-481F-880D-B72DF8BA5B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title" hasCustomPrompt="1"/>
          </p:nvPr>
        </p:nvSpPr>
        <p:spPr>
          <a:xfrm>
            <a:off x="359998" y="654050"/>
            <a:ext cx="3583351" cy="1175446"/>
          </a:xfrm>
        </p:spPr>
        <p:txBody>
          <a:bodyPr vert="horz"/>
          <a:lstStyle>
            <a:lvl1pPr rtl="0">
              <a:defRPr sz="4100">
                <a:solidFill>
                  <a:schemeClr val="tx1"/>
                </a:solidFill>
              </a:defRPr>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rtl="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rtl="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rtl="0">
              <a:lnSpc>
                <a:spcPct val="100000"/>
              </a:lnSpc>
              <a:spcBef>
                <a:spcPts val="0"/>
              </a:spcBef>
              <a:spcAft>
                <a:spcPts val="3000"/>
              </a:spcAft>
              <a:buClrTx/>
              <a:buFont typeface="+mj-lt"/>
              <a:buAutoNum type="arabicPeriod"/>
              <a:defRPr sz="1600" b="0">
                <a:solidFill>
                  <a:schemeClr val="tx1"/>
                </a:solidFill>
              </a:defRPr>
            </a:lvl4pPr>
            <a:lvl5pPr marL="342900" indent="-342900" rtl="0">
              <a:lnSpc>
                <a:spcPct val="100000"/>
              </a:lnSpc>
              <a:spcBef>
                <a:spcPts val="0"/>
              </a:spcBef>
              <a:spcAft>
                <a:spcPts val="3000"/>
              </a:spcAft>
              <a:buClrTx/>
              <a:buFont typeface="+mj-lt"/>
              <a:buAutoNum type="arabicPeriod"/>
              <a:defRPr sz="1600" b="0">
                <a:solidFill>
                  <a:schemeClr val="tx1"/>
                </a:solidFill>
              </a:defRPr>
            </a:lvl5pPr>
            <a:lvl6pPr marL="342900" indent="-342900" rtl="0">
              <a:lnSpc>
                <a:spcPct val="100000"/>
              </a:lnSpc>
              <a:spcBef>
                <a:spcPts val="0"/>
              </a:spcBef>
              <a:spcAft>
                <a:spcPts val="3000"/>
              </a:spcAft>
              <a:buClrTx/>
              <a:buFont typeface="+mj-lt"/>
              <a:buAutoNum type="arabicPeriod"/>
              <a:defRPr sz="1600" b="0">
                <a:solidFill>
                  <a:schemeClr val="tx1"/>
                </a:solidFill>
              </a:defRPr>
            </a:lvl6pPr>
            <a:lvl7pPr marL="342900" indent="-342900" rtl="0">
              <a:lnSpc>
                <a:spcPct val="100000"/>
              </a:lnSpc>
              <a:spcBef>
                <a:spcPts val="0"/>
              </a:spcBef>
              <a:spcAft>
                <a:spcPts val="3000"/>
              </a:spcAft>
              <a:buClrTx/>
              <a:buFont typeface="+mj-lt"/>
              <a:buAutoNum type="arabicPeriod"/>
              <a:defRPr sz="1600" b="0">
                <a:solidFill>
                  <a:schemeClr val="tx1"/>
                </a:solidFill>
              </a:defRPr>
            </a:lvl7pPr>
            <a:lvl8pPr marL="342900" indent="-342900" rtl="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rtl="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solidFill>
                  <a:schemeClr val="tx1"/>
                </a:solidFill>
              </a:defRPr>
            </a:lvl1pPr>
          </a:lstStyle>
          <a:p>
            <a:fld id="{B0A79E5A-EC3D-4F9C-8449-9968B8A873CD}" type="datetime1">
              <a:rPr lang="da-DK" smtClean="0"/>
              <a:pPr/>
              <a:t>06-09-2023</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solidFill>
                  <a:schemeClr val="tx1"/>
                </a:solidFill>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solidFill>
                  <a:schemeClr val="tx1"/>
                </a:solidFill>
              </a:defRPr>
            </a:lvl1pPr>
          </a:lstStyle>
          <a:p>
            <a:fld id="{23AA811B-2EBD-4900-905E-5BE206449611}" type="slidenum">
              <a:rPr lang="da-DK" smtClean="0"/>
              <a:pPr/>
              <a:t>‹nr.›</a:t>
            </a:fld>
            <a:endParaRPr lang="da-DK"/>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1811271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BFD55A-4F3D-4A85-8475-178D9DF5C530}"/>
              </a:ext>
            </a:extLst>
          </p:cNvPr>
          <p:cNvGraphicFramePr>
            <a:graphicFrameLocks noChangeAspect="1"/>
          </p:cNvGraphicFramePr>
          <p:nvPr userDrawn="1">
            <p:custDataLst>
              <p:tags r:id="rId1"/>
            </p:custDataLst>
            <p:extLst>
              <p:ext uri="{D42A27DB-BD31-4B8C-83A1-F6EECF244321}">
                <p14:modId xmlns:p14="http://schemas.microsoft.com/office/powerpoint/2010/main" val="336243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EDBFD55A-4F3D-4A85-8475-178D9DF5C5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lvl1pPr rtl="0">
              <a:defRPr/>
            </a:lvl1pPr>
          </a:lstStyle>
          <a:p>
            <a:fld id="{851E3A26-CACC-472F-999E-6CEDC51DAFFB}" type="datetime1">
              <a:rPr lang="da-DK" smtClean="0"/>
              <a:pPr/>
              <a:t>06-09-2023</a:t>
            </a:fld>
            <a:endParaRPr lang="da-DK"/>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68513201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670840-F4BC-4F38-8592-0661A8253093}"/>
              </a:ext>
            </a:extLst>
          </p:cNvPr>
          <p:cNvGraphicFramePr>
            <a:graphicFrameLocks noChangeAspect="1"/>
          </p:cNvGraphicFramePr>
          <p:nvPr userDrawn="1">
            <p:custDataLst>
              <p:tags r:id="rId1"/>
            </p:custDataLst>
            <p:extLst>
              <p:ext uri="{D42A27DB-BD31-4B8C-83A1-F6EECF244321}">
                <p14:modId xmlns:p14="http://schemas.microsoft.com/office/powerpoint/2010/main" val="2594851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FE670840-F4BC-4F38-8592-0661A82530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48399" y="654050"/>
            <a:ext cx="6184800" cy="2349449"/>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lvl1pPr rtl="0">
              <a:defRPr/>
            </a:lvl1pPr>
          </a:lstStyle>
          <a:p>
            <a:fld id="{923212C7-A548-4370-9C24-272889F12011}" type="datetime1">
              <a:rPr lang="da-DK" smtClean="0"/>
              <a:pPr/>
              <a:t>06-09-2023</a:t>
            </a:fld>
            <a:endParaRPr lang="da-DK"/>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lvl1pPr rtl="0">
              <a:defRPr/>
            </a:lvl1pPr>
          </a:lstStyle>
          <a:p>
            <a:endParaRPr lang="da-DK"/>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343135904"/>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D0B381F-A21F-43A5-AF52-1A2745AC1B2D}"/>
              </a:ext>
            </a:extLst>
          </p:cNvPr>
          <p:cNvGraphicFramePr>
            <a:graphicFrameLocks noChangeAspect="1"/>
          </p:cNvGraphicFramePr>
          <p:nvPr userDrawn="1">
            <p:custDataLst>
              <p:tags r:id="rId1"/>
            </p:custDataLst>
            <p:extLst>
              <p:ext uri="{D42A27DB-BD31-4B8C-83A1-F6EECF244321}">
                <p14:modId xmlns:p14="http://schemas.microsoft.com/office/powerpoint/2010/main" val="236967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D0B381F-A21F-43A5-AF52-1A2745AC1B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lvl1pPr rtl="0">
              <a:defRPr/>
            </a:lvl1pPr>
          </a:lstStyle>
          <a:p>
            <a:fld id="{3393CB94-5BA6-4B5C-8025-21D6F4E52D5E}" type="datetime1">
              <a:rPr lang="da-DK" smtClean="0"/>
              <a:pPr/>
              <a:t>06-09-2023</a:t>
            </a:fld>
            <a:endParaRPr lang="da-DK"/>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4246638903"/>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E53B51C-6617-44DF-A9BD-BD3480363F5B}"/>
              </a:ext>
            </a:extLst>
          </p:cNvPr>
          <p:cNvGraphicFramePr>
            <a:graphicFrameLocks noChangeAspect="1"/>
          </p:cNvGraphicFramePr>
          <p:nvPr userDrawn="1">
            <p:custDataLst>
              <p:tags r:id="rId1"/>
            </p:custDataLst>
            <p:extLst>
              <p:ext uri="{D42A27DB-BD31-4B8C-83A1-F6EECF244321}">
                <p14:modId xmlns:p14="http://schemas.microsoft.com/office/powerpoint/2010/main" val="28439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FE53B51C-6617-44DF-A9BD-BD3480363F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7260312" y="654051"/>
            <a:ext cx="4575290" cy="2349448"/>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rtl="0">
              <a:defRPr>
                <a:solidFill>
                  <a:schemeClr val="tx2"/>
                </a:solidFill>
              </a:defRPr>
            </a:lvl1pPr>
          </a:lstStyle>
          <a:p>
            <a:fld id="{29D73515-F0A6-4B30-A688-5D4CF44B9186}" type="datetime1">
              <a:rPr lang="da-DK" smtClean="0"/>
              <a:pPr/>
              <a:t>06-09-2023</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rtl="0">
              <a:defRPr>
                <a:solidFill>
                  <a:schemeClr val="tx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7888237"/>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DCC80B-CA1B-42C1-925B-B49AB5DE3F9F}"/>
              </a:ext>
            </a:extLst>
          </p:cNvPr>
          <p:cNvGraphicFramePr>
            <a:graphicFrameLocks noChangeAspect="1"/>
          </p:cNvGraphicFramePr>
          <p:nvPr userDrawn="1">
            <p:custDataLst>
              <p:tags r:id="rId1"/>
            </p:custDataLst>
            <p:extLst>
              <p:ext uri="{D42A27DB-BD31-4B8C-83A1-F6EECF244321}">
                <p14:modId xmlns:p14="http://schemas.microsoft.com/office/powerpoint/2010/main" val="1439938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4DCC80B-CA1B-42C1-925B-B49AB5DE3F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360000" y="654051"/>
            <a:ext cx="3584974" cy="2136774"/>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lvl1pPr rtl="0">
              <a:defRPr/>
            </a:lvl1pPr>
          </a:lstStyle>
          <a:p>
            <a:fld id="{B6F065B1-CCC8-4072-99B6-C71232109F4F}" type="datetime1">
              <a:rPr lang="da-DK" smtClean="0"/>
              <a:pPr/>
              <a:t>06-09-2023</a:t>
            </a:fld>
            <a:endParaRPr lang="da-DK"/>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2638929647"/>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3FE8520-24A3-48D5-A339-BF98E17D9B81}"/>
              </a:ext>
            </a:extLst>
          </p:cNvPr>
          <p:cNvGraphicFramePr>
            <a:graphicFrameLocks noChangeAspect="1"/>
          </p:cNvGraphicFramePr>
          <p:nvPr userDrawn="1">
            <p:custDataLst>
              <p:tags r:id="rId1"/>
            </p:custDataLst>
            <p:extLst>
              <p:ext uri="{D42A27DB-BD31-4B8C-83A1-F6EECF244321}">
                <p14:modId xmlns:p14="http://schemas.microsoft.com/office/powerpoint/2010/main" val="2319248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E3FE8520-24A3-48D5-A339-BF98E17D9B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60312" y="654051"/>
            <a:ext cx="4575290" cy="2349448"/>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accent2"/>
                </a:solidFill>
              </a:defRPr>
            </a:lvl1pPr>
          </a:lstStyle>
          <a:p>
            <a:fld id="{4C0216E3-463B-4CB8-BE43-497F498BEEEE}" type="datetime1">
              <a:rPr lang="da-DK" smtClean="0"/>
              <a:pPr/>
              <a:t>06-09-2023</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rtl="0">
              <a:defRPr>
                <a:solidFill>
                  <a:schemeClr val="accent2"/>
                </a:solidFill>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accent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259937643"/>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F232F3-17CC-4766-B05D-DCD55CD707FA}"/>
              </a:ext>
            </a:extLst>
          </p:cNvPr>
          <p:cNvGraphicFramePr>
            <a:graphicFrameLocks noChangeAspect="1"/>
          </p:cNvGraphicFramePr>
          <p:nvPr userDrawn="1">
            <p:custDataLst>
              <p:tags r:id="rId1"/>
            </p:custDataLst>
            <p:extLst>
              <p:ext uri="{D42A27DB-BD31-4B8C-83A1-F6EECF244321}">
                <p14:modId xmlns:p14="http://schemas.microsoft.com/office/powerpoint/2010/main" val="1196212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8F232F3-17CC-4766-B05D-DCD55CD707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1"/>
            <a:ext cx="3584974" cy="2136774"/>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lvl1pPr rtl="0">
              <a:defRPr/>
            </a:lvl1pPr>
          </a:lstStyle>
          <a:p>
            <a:fld id="{49EE3078-35F5-4450-8DDB-1711F663AF0B}" type="datetime1">
              <a:rPr lang="da-DK" smtClean="0"/>
              <a:pPr/>
              <a:t>06-09-2023</a:t>
            </a:fld>
            <a:endParaRPr lang="da-DK"/>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2993582613"/>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0CD2189-9650-477A-85BC-7A51E3A993E7}"/>
              </a:ext>
            </a:extLst>
          </p:cNvPr>
          <p:cNvGraphicFramePr>
            <a:graphicFrameLocks noChangeAspect="1"/>
          </p:cNvGraphicFramePr>
          <p:nvPr userDrawn="1">
            <p:custDataLst>
              <p:tags r:id="rId1"/>
            </p:custDataLst>
            <p:extLst>
              <p:ext uri="{D42A27DB-BD31-4B8C-83A1-F6EECF244321}">
                <p14:modId xmlns:p14="http://schemas.microsoft.com/office/powerpoint/2010/main" val="183900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A0CD2189-9650-477A-85BC-7A51E3A993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rtl="0">
              <a:defRPr sz="100">
                <a:noFill/>
              </a:defRPr>
            </a:lvl1pPr>
          </a:lstStyle>
          <a:p>
            <a:fld id="{87CEE0B2-D606-4C87-BD16-18AC95AF549F}" type="datetime1">
              <a:rPr lang="da-DK" smtClean="0"/>
              <a:pPr/>
              <a:t>06-09-2023</a:t>
            </a:fld>
            <a:endParaRPr lang="da-DK"/>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p:txBody>
          <a:bodyPr vert="horz"/>
          <a:lstStyle>
            <a:lvl1pPr rtl="0">
              <a:defRPr/>
            </a:lvl1pPr>
          </a:lstStyle>
          <a:p>
            <a:r>
              <a:rPr lang="da-DK" noProof="0"/>
              <a:t>Click to add title</a:t>
            </a:r>
          </a:p>
        </p:txBody>
      </p:sp>
    </p:spTree>
    <p:extLst>
      <p:ext uri="{BB962C8B-B14F-4D97-AF65-F5344CB8AC3E}">
        <p14:creationId xmlns:p14="http://schemas.microsoft.com/office/powerpoint/2010/main" val="252741095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F2A449F-63F0-4261-AFD8-ACCA8BD05C33}"/>
              </a:ext>
            </a:extLst>
          </p:cNvPr>
          <p:cNvGraphicFramePr>
            <a:graphicFrameLocks noChangeAspect="1"/>
          </p:cNvGraphicFramePr>
          <p:nvPr userDrawn="1">
            <p:custDataLst>
              <p:tags r:id="rId1"/>
            </p:custDataLst>
            <p:extLst>
              <p:ext uri="{D42A27DB-BD31-4B8C-83A1-F6EECF244321}">
                <p14:modId xmlns:p14="http://schemas.microsoft.com/office/powerpoint/2010/main" val="643237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CF2A449F-63F0-4261-AFD8-ACCA8BD05C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bg2"/>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bg2"/>
                </a:solidFill>
              </a:defRPr>
            </a:lvl1pPr>
          </a:lstStyle>
          <a:p>
            <a:fld id="{075B1503-1805-4DC5-AF6E-FDE48DB177B4}" type="datetime1">
              <a:rPr lang="da-DK" smtClean="0"/>
              <a:pPr/>
              <a:t>06-09-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bg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bg2"/>
                </a:solidFill>
              </a:defRPr>
            </a:lvl1pPr>
          </a:lstStyle>
          <a:p>
            <a:fld id="{23AA811B-2EBD-4900-905E-5BE206449611}" type="slidenum">
              <a:rPr lang="da-DK" smtClean="0"/>
              <a:pPr/>
              <a:t>‹nr.›</a:t>
            </a:fld>
            <a:endParaRPr lang="da-DK"/>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2"/>
                </a:solidFill>
              </a:rPr>
              <a:t>Ramboll</a:t>
            </a:r>
          </a:p>
        </p:txBody>
      </p:sp>
    </p:spTree>
    <p:extLst>
      <p:ext uri="{BB962C8B-B14F-4D97-AF65-F5344CB8AC3E}">
        <p14:creationId xmlns:p14="http://schemas.microsoft.com/office/powerpoint/2010/main" val="969793231"/>
      </p:ext>
    </p:extLst>
  </p:cSld>
  <p:clrMapOvr>
    <a:overrideClrMapping bg1="dk1" tx1="lt1" bg2="dk2" tx2="lt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AF7C25-4370-4339-B323-813EDFF5383A}"/>
              </a:ext>
            </a:extLst>
          </p:cNvPr>
          <p:cNvGraphicFramePr>
            <a:graphicFrameLocks noChangeAspect="1"/>
          </p:cNvGraphicFramePr>
          <p:nvPr userDrawn="1">
            <p:custDataLst>
              <p:tags r:id="rId1"/>
            </p:custDataLst>
            <p:extLst>
              <p:ext uri="{D42A27DB-BD31-4B8C-83A1-F6EECF244321}">
                <p14:modId xmlns:p14="http://schemas.microsoft.com/office/powerpoint/2010/main" val="184906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49AF7C25-4370-4339-B323-813EDFF538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tx1"/>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tx1"/>
                </a:solidFill>
              </a:defRPr>
            </a:lvl1pPr>
          </a:lstStyle>
          <a:p>
            <a:fld id="{F24941B2-5F7F-4165-B2DE-D010B7A4A5F5}" type="datetime1">
              <a:rPr lang="da-DK" smtClean="0"/>
              <a:pPr/>
              <a:t>06-09-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tx1"/>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tx1"/>
                </a:solidFill>
              </a:defRPr>
            </a:lvl1pPr>
          </a:lstStyle>
          <a:p>
            <a:fld id="{23AA811B-2EBD-4900-905E-5BE206449611}" type="slidenum">
              <a:rPr lang="da-DK" smtClean="0"/>
              <a:pPr/>
              <a:t>‹nr.›</a:t>
            </a:fld>
            <a:endParaRPr lang="da-DK"/>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4030931373"/>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slideLayout" Target="../slideLayouts/slideLayout94.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42" Type="http://schemas.openxmlformats.org/officeDocument/2006/relationships/slideLayout" Target="../slideLayouts/slideLayout97.xml"/><Relationship Id="rId47" Type="http://schemas.openxmlformats.org/officeDocument/2006/relationships/slideLayout" Target="../slideLayouts/slideLayout102.xml"/><Relationship Id="rId50" Type="http://schemas.openxmlformats.org/officeDocument/2006/relationships/slideLayout" Target="../slideLayouts/slideLayout105.xml"/><Relationship Id="rId55" Type="http://schemas.openxmlformats.org/officeDocument/2006/relationships/slideLayout" Target="../slideLayouts/slideLayout110.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46" Type="http://schemas.openxmlformats.org/officeDocument/2006/relationships/slideLayout" Target="../slideLayouts/slideLayout101.xml"/><Relationship Id="rId59" Type="http://schemas.openxmlformats.org/officeDocument/2006/relationships/image" Target="../media/image1.emf"/><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41" Type="http://schemas.openxmlformats.org/officeDocument/2006/relationships/slideLayout" Target="../slideLayouts/slideLayout96.xml"/><Relationship Id="rId54" Type="http://schemas.openxmlformats.org/officeDocument/2006/relationships/slideLayout" Target="../slideLayouts/slideLayout109.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40" Type="http://schemas.openxmlformats.org/officeDocument/2006/relationships/slideLayout" Target="../slideLayouts/slideLayout95.xml"/><Relationship Id="rId45" Type="http://schemas.openxmlformats.org/officeDocument/2006/relationships/slideLayout" Target="../slideLayouts/slideLayout100.xml"/><Relationship Id="rId53" Type="http://schemas.openxmlformats.org/officeDocument/2006/relationships/slideLayout" Target="../slideLayouts/slideLayout108.xml"/><Relationship Id="rId58" Type="http://schemas.openxmlformats.org/officeDocument/2006/relationships/oleObject" Target="../embeddings/oleObject57.bin"/><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49" Type="http://schemas.openxmlformats.org/officeDocument/2006/relationships/slideLayout" Target="../slideLayouts/slideLayout104.xml"/><Relationship Id="rId57" Type="http://schemas.openxmlformats.org/officeDocument/2006/relationships/tags" Target="../tags/tag58.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4" Type="http://schemas.openxmlformats.org/officeDocument/2006/relationships/slideLayout" Target="../slideLayouts/slideLayout99.xml"/><Relationship Id="rId52" Type="http://schemas.openxmlformats.org/officeDocument/2006/relationships/slideLayout" Target="../slideLayouts/slideLayout107.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43" Type="http://schemas.openxmlformats.org/officeDocument/2006/relationships/slideLayout" Target="../slideLayouts/slideLayout98.xml"/><Relationship Id="rId48" Type="http://schemas.openxmlformats.org/officeDocument/2006/relationships/slideLayout" Target="../slideLayouts/slideLayout103.xml"/><Relationship Id="rId56" Type="http://schemas.openxmlformats.org/officeDocument/2006/relationships/theme" Target="../theme/theme2.xml"/><Relationship Id="rId8" Type="http://schemas.openxmlformats.org/officeDocument/2006/relationships/slideLayout" Target="../slideLayouts/slideLayout63.xml"/><Relationship Id="rId51" Type="http://schemas.openxmlformats.org/officeDocument/2006/relationships/slideLayout" Target="../slideLayouts/slideLayout106.xml"/><Relationship Id="rId3"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9" Type="http://schemas.openxmlformats.org/officeDocument/2006/relationships/slideLayout" Target="../slideLayouts/slideLayout149.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34" Type="http://schemas.openxmlformats.org/officeDocument/2006/relationships/slideLayout" Target="../slideLayouts/slideLayout144.xml"/><Relationship Id="rId42" Type="http://schemas.openxmlformats.org/officeDocument/2006/relationships/image" Target="../media/image20.png"/><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33" Type="http://schemas.openxmlformats.org/officeDocument/2006/relationships/slideLayout" Target="../slideLayouts/slideLayout143.xml"/><Relationship Id="rId38" Type="http://schemas.openxmlformats.org/officeDocument/2006/relationships/slideLayout" Target="../slideLayouts/slideLayout148.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29" Type="http://schemas.openxmlformats.org/officeDocument/2006/relationships/slideLayout" Target="../slideLayouts/slideLayout139.xml"/><Relationship Id="rId41" Type="http://schemas.openxmlformats.org/officeDocument/2006/relationships/image" Target="../media/image19.png"/><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32" Type="http://schemas.openxmlformats.org/officeDocument/2006/relationships/slideLayout" Target="../slideLayouts/slideLayout142.xml"/><Relationship Id="rId37" Type="http://schemas.openxmlformats.org/officeDocument/2006/relationships/slideLayout" Target="../slideLayouts/slideLayout147.xml"/><Relationship Id="rId40" Type="http://schemas.openxmlformats.org/officeDocument/2006/relationships/theme" Target="../theme/theme3.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36" Type="http://schemas.openxmlformats.org/officeDocument/2006/relationships/slideLayout" Target="../slideLayouts/slideLayout146.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slideLayout" Target="../slideLayouts/slideLayout141.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slideLayout" Target="../slideLayouts/slideLayout140.xml"/><Relationship Id="rId35"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5A3CF6-4343-4A8B-9C19-D343D6B48BAA}"/>
              </a:ext>
            </a:extLst>
          </p:cNvPr>
          <p:cNvGraphicFramePr>
            <a:graphicFrameLocks noChangeAspect="1"/>
          </p:cNvGraphicFramePr>
          <p:nvPr userDrawn="1">
            <p:custDataLst>
              <p:tags r:id="rId57"/>
            </p:custDataLst>
            <p:extLst>
              <p:ext uri="{D42A27DB-BD31-4B8C-83A1-F6EECF244321}">
                <p14:modId xmlns:p14="http://schemas.microsoft.com/office/powerpoint/2010/main" val="2721697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08" imgH="408" progId="TCLayout.ActiveDocument.1">
                  <p:embed/>
                </p:oleObj>
              </mc:Choice>
              <mc:Fallback>
                <p:oleObj name="think-cell Slide" r:id="rId58" imgW="408" imgH="408" progId="TCLayout.ActiveDocument.1">
                  <p:embed/>
                  <p:pic>
                    <p:nvPicPr>
                      <p:cNvPr id="6" name="Object 5" hidden="1">
                        <a:extLst>
                          <a:ext uri="{FF2B5EF4-FFF2-40B4-BE49-F238E27FC236}">
                            <a16:creationId xmlns:a16="http://schemas.microsoft.com/office/drawing/2014/main" id="{445A3CF6-4343-4A8B-9C19-D343D6B48BAA}"/>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pPr rtl="0"/>
            <a:r>
              <a:rPr lang="da-DK"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da-DK"/>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da-DK" noProof="0"/>
              <a:t>Level 1 (Enter+TAB for next text level, SHIFT+TAB to go back in levels)</a:t>
            </a:r>
          </a:p>
          <a:p>
            <a:pPr lvl="1"/>
            <a:r>
              <a:rPr lang="da-DK" noProof="0"/>
              <a:t>Level 2</a:t>
            </a:r>
          </a:p>
          <a:p>
            <a:pPr lvl="2"/>
            <a:r>
              <a:rPr lang="da-DK" noProof="0"/>
              <a:t>Level 3</a:t>
            </a:r>
          </a:p>
          <a:p>
            <a:pPr lvl="3"/>
            <a:r>
              <a:rPr lang="da-DK" noProof="0"/>
              <a:t>Level 4</a:t>
            </a:r>
          </a:p>
          <a:p>
            <a:pPr lvl="4"/>
            <a:r>
              <a:rPr lang="da-DK" noProof="0"/>
              <a:t>Level 5</a:t>
            </a:r>
          </a:p>
          <a:p>
            <a:pPr lvl="5"/>
            <a:r>
              <a:rPr lang="da-DK" noProof="0"/>
              <a:t>Level 6</a:t>
            </a:r>
          </a:p>
          <a:p>
            <a:pPr lvl="6"/>
            <a:r>
              <a:rPr lang="da-DK" noProof="0"/>
              <a:t>Level 7</a:t>
            </a:r>
          </a:p>
          <a:p>
            <a:pPr lvl="7"/>
            <a:r>
              <a:rPr lang="da-DK" noProof="0"/>
              <a:t>Level 8</a:t>
            </a:r>
          </a:p>
          <a:p>
            <a:pPr lvl="8"/>
            <a:r>
              <a:rPr lang="da-DK"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rtl="0">
              <a:defRPr sz="700">
                <a:solidFill>
                  <a:schemeClr val="tx2"/>
                </a:solidFill>
              </a:defRPr>
            </a:lvl1pPr>
          </a:lstStyle>
          <a:p>
            <a:fld id="{D7C7A626-396F-47CE-9599-33B16A849820}" type="datetime1">
              <a:rPr lang="da-DK" smtClean="0"/>
              <a:pPr/>
              <a:t>06-09-2023</a:t>
            </a:fld>
            <a:endParaRPr lang="da-DK"/>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rtl="0">
              <a:defRPr sz="700">
                <a:solidFill>
                  <a:schemeClr val="tx2"/>
                </a:solidFill>
              </a:defRPr>
            </a:lvl1pPr>
          </a:lstStyle>
          <a:p>
            <a:endParaRPr lang="da-DK"/>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rtl="0">
              <a:defRPr sz="700">
                <a:solidFill>
                  <a:schemeClr val="tx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userDrawn="1">
          <p15:clr>
            <a:srgbClr val="A4A3A4"/>
          </p15:clr>
        </p15:guide>
        <p15:guide id="2" pos="847" userDrawn="1">
          <p15:clr>
            <a:srgbClr val="A4A3A4"/>
          </p15:clr>
        </p15:guide>
        <p15:guide id="3" orient="horz" pos="410" userDrawn="1">
          <p15:clr>
            <a:srgbClr val="F26B43"/>
          </p15:clr>
        </p15:guide>
        <p15:guide id="4" orient="horz" pos="4135" userDrawn="1">
          <p15:clr>
            <a:srgbClr val="A4A3A4"/>
          </p15:clr>
        </p15:guide>
        <p15:guide id="5" pos="226" userDrawn="1">
          <p15:clr>
            <a:srgbClr val="F26B43"/>
          </p15:clr>
        </p15:guide>
        <p15:guide id="6" pos="7453" userDrawn="1">
          <p15:clr>
            <a:srgbClr val="F26B43"/>
          </p15:clr>
        </p15:guide>
        <p15:guide id="7" orient="horz" pos="1152" userDrawn="1">
          <p15:clr>
            <a:srgbClr val="F26B43"/>
          </p15:clr>
        </p15:guide>
        <p15:guide id="8" pos="1242" userDrawn="1">
          <p15:clr>
            <a:srgbClr val="A4A3A4"/>
          </p15:clr>
        </p15:guide>
        <p15:guide id="9" pos="1468" userDrawn="1">
          <p15:clr>
            <a:srgbClr val="A4A3A4"/>
          </p15:clr>
        </p15:guide>
        <p15:guide id="10" pos="1863" userDrawn="1">
          <p15:clr>
            <a:srgbClr val="A4A3A4"/>
          </p15:clr>
        </p15:guide>
        <p15:guide id="11" pos="2090" userDrawn="1">
          <p15:clr>
            <a:srgbClr val="A4A3A4"/>
          </p15:clr>
        </p15:guide>
        <p15:guide id="12" pos="2484" userDrawn="1">
          <p15:clr>
            <a:srgbClr val="A4A3A4"/>
          </p15:clr>
        </p15:guide>
        <p15:guide id="13" pos="2711" userDrawn="1">
          <p15:clr>
            <a:srgbClr val="A4A3A4"/>
          </p15:clr>
        </p15:guide>
        <p15:guide id="14" pos="3105" userDrawn="1">
          <p15:clr>
            <a:srgbClr val="A4A3A4"/>
          </p15:clr>
        </p15:guide>
        <p15:guide id="15" pos="3332" userDrawn="1">
          <p15:clr>
            <a:srgbClr val="A4A3A4"/>
          </p15:clr>
        </p15:guide>
        <p15:guide id="16" pos="3726" userDrawn="1">
          <p15:clr>
            <a:srgbClr val="A4A3A4"/>
          </p15:clr>
        </p15:guide>
        <p15:guide id="17" pos="3953" userDrawn="1">
          <p15:clr>
            <a:srgbClr val="A4A3A4"/>
          </p15:clr>
        </p15:guide>
        <p15:guide id="18" pos="4347" userDrawn="1">
          <p15:clr>
            <a:srgbClr val="A4A3A4"/>
          </p15:clr>
        </p15:guide>
        <p15:guide id="19" pos="4574" userDrawn="1">
          <p15:clr>
            <a:srgbClr val="A4A3A4"/>
          </p15:clr>
        </p15:guide>
        <p15:guide id="20" pos="4968" userDrawn="1">
          <p15:clr>
            <a:srgbClr val="A4A3A4"/>
          </p15:clr>
        </p15:guide>
        <p15:guide id="21" pos="5195" userDrawn="1">
          <p15:clr>
            <a:srgbClr val="A4A3A4"/>
          </p15:clr>
        </p15:guide>
        <p15:guide id="22" pos="5589" userDrawn="1">
          <p15:clr>
            <a:srgbClr val="A4A3A4"/>
          </p15:clr>
        </p15:guide>
        <p15:guide id="23" pos="5816" userDrawn="1">
          <p15:clr>
            <a:srgbClr val="A4A3A4"/>
          </p15:clr>
        </p15:guide>
        <p15:guide id="24" pos="6211" userDrawn="1">
          <p15:clr>
            <a:srgbClr val="A4A3A4"/>
          </p15:clr>
        </p15:guide>
        <p15:guide id="25" pos="6437" userDrawn="1">
          <p15:clr>
            <a:srgbClr val="A4A3A4"/>
          </p15:clr>
        </p15:guide>
        <p15:guide id="26" pos="6832" userDrawn="1">
          <p15:clr>
            <a:srgbClr val="A4A3A4"/>
          </p15:clr>
        </p15:guide>
        <p15:guide id="27" pos="7058" userDrawn="1">
          <p15:clr>
            <a:srgbClr val="A4A3A4"/>
          </p15:clr>
        </p15:guide>
        <p15:guide id="28" orient="horz" pos="385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AE5F9C-F329-47C6-8F94-5BCE2A7C40CE}"/>
              </a:ext>
            </a:extLst>
          </p:cNvPr>
          <p:cNvGraphicFramePr>
            <a:graphicFrameLocks noChangeAspect="1"/>
          </p:cNvGraphicFramePr>
          <p:nvPr userDrawn="1">
            <p:custDataLst>
              <p:tags r:id="rId57"/>
            </p:custDataLst>
            <p:extLst>
              <p:ext uri="{D42A27DB-BD31-4B8C-83A1-F6EECF244321}">
                <p14:modId xmlns:p14="http://schemas.microsoft.com/office/powerpoint/2010/main" val="1952553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08" imgH="408" progId="TCLayout.ActiveDocument.1">
                  <p:embed/>
                </p:oleObj>
              </mc:Choice>
              <mc:Fallback>
                <p:oleObj name="think-cell Slide" r:id="rId58" imgW="408" imgH="408" progId="TCLayout.ActiveDocument.1">
                  <p:embed/>
                  <p:pic>
                    <p:nvPicPr>
                      <p:cNvPr id="6" name="Object 5" hidden="1">
                        <a:extLst>
                          <a:ext uri="{FF2B5EF4-FFF2-40B4-BE49-F238E27FC236}">
                            <a16:creationId xmlns:a16="http://schemas.microsoft.com/office/drawing/2014/main" id="{F9AE5F9C-F329-47C6-8F94-5BCE2A7C40CE}"/>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pPr rtl="0"/>
            <a:r>
              <a:rPr lang="da-DK"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da-DK"/>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da-DK" noProof="0"/>
              <a:t>Level 1 (Enter+TAB for next text level, SHIFT+TAB to go back in levels)</a:t>
            </a:r>
          </a:p>
          <a:p>
            <a:pPr lvl="1"/>
            <a:r>
              <a:rPr lang="da-DK" noProof="0"/>
              <a:t>Level 2</a:t>
            </a:r>
          </a:p>
          <a:p>
            <a:pPr lvl="2"/>
            <a:r>
              <a:rPr lang="da-DK" noProof="0"/>
              <a:t>Level 3</a:t>
            </a:r>
          </a:p>
          <a:p>
            <a:pPr lvl="3"/>
            <a:r>
              <a:rPr lang="da-DK" noProof="0"/>
              <a:t>Level 4</a:t>
            </a:r>
          </a:p>
          <a:p>
            <a:pPr lvl="4"/>
            <a:r>
              <a:rPr lang="da-DK" noProof="0"/>
              <a:t>Level 5</a:t>
            </a:r>
          </a:p>
          <a:p>
            <a:pPr lvl="5"/>
            <a:r>
              <a:rPr lang="da-DK" noProof="0"/>
              <a:t>Level 6</a:t>
            </a:r>
          </a:p>
          <a:p>
            <a:pPr lvl="6"/>
            <a:r>
              <a:rPr lang="da-DK" noProof="0"/>
              <a:t>Level 7</a:t>
            </a:r>
          </a:p>
          <a:p>
            <a:pPr lvl="7"/>
            <a:r>
              <a:rPr lang="da-DK" noProof="0"/>
              <a:t>Level 8</a:t>
            </a:r>
          </a:p>
          <a:p>
            <a:pPr lvl="8"/>
            <a:r>
              <a:rPr lang="da-DK"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rtl="0">
              <a:defRPr sz="700">
                <a:solidFill>
                  <a:schemeClr val="tx2"/>
                </a:solidFill>
              </a:defRPr>
            </a:lvl1pPr>
          </a:lstStyle>
          <a:p>
            <a:fld id="{D7C7A626-396F-47CE-9599-33B16A849820}" type="datetime1">
              <a:rPr lang="da-DK" smtClean="0"/>
              <a:pPr/>
              <a:t>06-09-2023</a:t>
            </a:fld>
            <a:endParaRPr lang="da-DK"/>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rtl="0">
              <a:defRPr sz="700">
                <a:solidFill>
                  <a:schemeClr val="tx2"/>
                </a:solidFill>
              </a:defRPr>
            </a:lvl1pPr>
          </a:lstStyle>
          <a:p>
            <a:endParaRPr lang="da-DK"/>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rtl="0">
              <a:defRPr sz="700">
                <a:solidFill>
                  <a:schemeClr val="tx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43885082"/>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 id="2147483752" r:id="rId48"/>
    <p:sldLayoutId id="2147483753" r:id="rId49"/>
    <p:sldLayoutId id="2147483754" r:id="rId50"/>
    <p:sldLayoutId id="2147483755" r:id="rId51"/>
    <p:sldLayoutId id="2147483756" r:id="rId52"/>
    <p:sldLayoutId id="2147483757" r:id="rId53"/>
    <p:sldLayoutId id="2147483758" r:id="rId54"/>
    <p:sldLayoutId id="2147483759"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798618" y="312768"/>
            <a:ext cx="10590003" cy="748626"/>
          </a:xfrm>
          <a:prstGeom prst="rect">
            <a:avLst/>
          </a:prstGeom>
          <a:noFill/>
          <a:ln w="9525">
            <a:noFill/>
            <a:miter lim="800000"/>
            <a:headEnd/>
            <a:tailEnd/>
          </a:ln>
        </p:spPr>
        <p:txBody>
          <a:bodyPr vert="horz" wrap="square" lIns="0" tIns="18000" rIns="0" bIns="0" numCol="1" anchor="t" anchorCtr="0" compatLnSpc="1">
            <a:prstTxWarp prst="textNoShape">
              <a:avLst/>
            </a:prstTxWarp>
            <a:noAutofit/>
          </a:bodyPr>
          <a:lstStyle/>
          <a:p>
            <a:pPr lvl="0"/>
            <a:r>
              <a:rPr lang="en-GB" noProof="0"/>
              <a:t>Presentation title</a:t>
            </a:r>
            <a:br>
              <a:rPr lang="en-GB" noProof="0"/>
            </a:br>
            <a:r>
              <a:rPr lang="en-GB" noProof="0"/>
              <a:t>(in cyan)</a:t>
            </a:r>
          </a:p>
        </p:txBody>
      </p:sp>
      <p:sp>
        <p:nvSpPr>
          <p:cNvPr id="6" name="Slide Number Placeholder 5"/>
          <p:cNvSpPr>
            <a:spLocks noGrp="1"/>
          </p:cNvSpPr>
          <p:nvPr>
            <p:ph type="sldNum" sz="quarter" idx="4"/>
          </p:nvPr>
        </p:nvSpPr>
        <p:spPr>
          <a:xfrm>
            <a:off x="10908620" y="6280547"/>
            <a:ext cx="480001" cy="155575"/>
          </a:xfrm>
          <a:prstGeom prst="rect">
            <a:avLst/>
          </a:prstGeom>
        </p:spPr>
        <p:txBody>
          <a:bodyPr vert="horz" wrap="square" lIns="0" tIns="0" rIns="0" bIns="0" numCol="1" anchor="ctr" anchorCtr="0" compatLnSpc="1">
            <a:prstTxWarp prst="textNoShape">
              <a:avLst/>
            </a:prstTxWarp>
          </a:bodyPr>
          <a:lstStyle>
            <a:lvl1pPr algn="r">
              <a:defRPr sz="257" b="0" baseline="0"/>
            </a:lvl1pPr>
          </a:lstStyle>
          <a:p>
            <a:fld id="{31421AFA-3AE7-4CEA-BC9B-447859BED57B}" type="slidenum">
              <a:rPr lang="en-GB" smtClean="0"/>
              <a:pPr/>
              <a:t>‹nr.›</a:t>
            </a:fld>
            <a:endParaRPr lang="en-GB"/>
          </a:p>
        </p:txBody>
      </p:sp>
      <p:sp>
        <p:nvSpPr>
          <p:cNvPr id="1031" name="Rectangle 7"/>
          <p:cNvSpPr>
            <a:spLocks noGrp="1" noChangeArrowheads="1"/>
          </p:cNvSpPr>
          <p:nvPr>
            <p:ph type="body" idx="1"/>
          </p:nvPr>
        </p:nvSpPr>
        <p:spPr bwMode="auto">
          <a:xfrm>
            <a:off x="798617" y="1647827"/>
            <a:ext cx="10590003" cy="405923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4 No bullet text 18</a:t>
            </a:r>
          </a:p>
          <a:p>
            <a:pPr lvl="4"/>
            <a:r>
              <a:rPr lang="en-GB" noProof="0"/>
              <a:t>5 </a:t>
            </a:r>
            <a:r>
              <a:rPr lang="en-GB" noProof="0" err="1"/>
              <a:t>Megaheader</a:t>
            </a:r>
            <a:r>
              <a:rPr lang="en-GB" noProof="0"/>
              <a:t> caps 48</a:t>
            </a:r>
          </a:p>
          <a:p>
            <a:pPr lvl="5"/>
            <a:r>
              <a:rPr lang="en-GB" noProof="0"/>
              <a:t>6 Header caps 18</a:t>
            </a:r>
          </a:p>
          <a:p>
            <a:pPr lvl="6"/>
            <a:r>
              <a:rPr lang="en-GB" noProof="0"/>
              <a:t>7 Text 18</a:t>
            </a:r>
          </a:p>
          <a:p>
            <a:pPr lvl="7"/>
            <a:r>
              <a:rPr lang="en-GB" noProof="0"/>
              <a:t>8 Number 16</a:t>
            </a:r>
          </a:p>
          <a:p>
            <a:pPr lvl="8"/>
            <a:r>
              <a:rPr lang="en-GB" noProof="0"/>
              <a:t>9 Letter 16</a:t>
            </a:r>
          </a:p>
          <a:p>
            <a:pPr lvl="8"/>
            <a:endParaRPr lang="en-GB" noProof="0"/>
          </a:p>
        </p:txBody>
      </p:sp>
      <p:sp>
        <p:nvSpPr>
          <p:cNvPr id="5" name="Footer Placeholder 4">
            <a:extLst>
              <a:ext uri="{FF2B5EF4-FFF2-40B4-BE49-F238E27FC236}">
                <a16:creationId xmlns:a16="http://schemas.microsoft.com/office/drawing/2014/main" id="{1D9E4955-7821-481C-9AF7-C7D93767559E}"/>
              </a:ext>
            </a:extLst>
          </p:cNvPr>
          <p:cNvSpPr>
            <a:spLocks noGrp="1"/>
          </p:cNvSpPr>
          <p:nvPr>
            <p:ph type="ftr" sz="quarter" idx="3"/>
          </p:nvPr>
        </p:nvSpPr>
        <p:spPr>
          <a:xfrm>
            <a:off x="4056591" y="6280502"/>
            <a:ext cx="6515949"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0" name="Date_DateCustomA">
            <a:extLst>
              <a:ext uri="{FF2B5EF4-FFF2-40B4-BE49-F238E27FC236}">
                <a16:creationId xmlns:a16="http://schemas.microsoft.com/office/drawing/2014/main" id="{ADC3E656-DC3F-4718-B1B2-E5B4B66615C6}"/>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E8A079D-0F01-4087-8466-404AA9697848}" type="datetime1">
              <a:rPr lang="da-DK" smtClean="0"/>
              <a:t>06-09-2023</a:t>
            </a:fld>
            <a:endParaRPr lang="da-DK"/>
          </a:p>
        </p:txBody>
      </p:sp>
      <p:grpSp>
        <p:nvGrpSpPr>
          <p:cNvPr id="7" name="Group 6">
            <a:extLst>
              <a:ext uri="{FF2B5EF4-FFF2-40B4-BE49-F238E27FC236}">
                <a16:creationId xmlns:a16="http://schemas.microsoft.com/office/drawing/2014/main" id="{A135459E-96A0-4D48-B1D9-A034EE07E024}"/>
              </a:ext>
            </a:extLst>
          </p:cNvPr>
          <p:cNvGrpSpPr/>
          <p:nvPr userDrawn="1"/>
        </p:nvGrpSpPr>
        <p:grpSpPr>
          <a:xfrm>
            <a:off x="-1972350" y="1633992"/>
            <a:ext cx="1797025" cy="2906915"/>
            <a:chOff x="-1899137" y="-1"/>
            <a:chExt cx="1796791" cy="2907588"/>
          </a:xfrm>
        </p:grpSpPr>
        <p:grpSp>
          <p:nvGrpSpPr>
            <p:cNvPr id="11" name="Group 10">
              <a:extLst>
                <a:ext uri="{FF2B5EF4-FFF2-40B4-BE49-F238E27FC236}">
                  <a16:creationId xmlns:a16="http://schemas.microsoft.com/office/drawing/2014/main" id="{7DF113FF-8BE3-4207-A5C6-F4579EED1B78}"/>
                </a:ext>
              </a:extLst>
            </p:cNvPr>
            <p:cNvGrpSpPr/>
            <p:nvPr userDrawn="1"/>
          </p:nvGrpSpPr>
          <p:grpSpPr>
            <a:xfrm>
              <a:off x="-1899137" y="-1"/>
              <a:ext cx="1796791" cy="2907588"/>
              <a:chOff x="9009867" y="1645032"/>
              <a:chExt cx="2365739" cy="3828268"/>
            </a:xfrm>
          </p:grpSpPr>
          <p:pic>
            <p:nvPicPr>
              <p:cNvPr id="12" name="Picture 11">
                <a:extLst>
                  <a:ext uri="{FF2B5EF4-FFF2-40B4-BE49-F238E27FC236}">
                    <a16:creationId xmlns:a16="http://schemas.microsoft.com/office/drawing/2014/main" id="{5359A05F-1860-4448-A740-55E89B668802}"/>
                  </a:ext>
                </a:extLst>
              </p:cNvPr>
              <p:cNvPicPr>
                <a:picLocks noChangeAspect="1"/>
              </p:cNvPicPr>
              <p:nvPr/>
            </p:nvPicPr>
            <p:blipFill>
              <a:blip r:embed="rId41"/>
              <a:stretch>
                <a:fillRect/>
              </a:stretch>
            </p:blipFill>
            <p:spPr>
              <a:xfrm>
                <a:off x="9182748" y="1852126"/>
                <a:ext cx="599367" cy="280555"/>
              </a:xfrm>
              <a:prstGeom prst="rect">
                <a:avLst/>
              </a:prstGeom>
            </p:spPr>
          </p:pic>
          <p:sp>
            <p:nvSpPr>
              <p:cNvPr id="13" name="TextBox 12">
                <a:extLst>
                  <a:ext uri="{FF2B5EF4-FFF2-40B4-BE49-F238E27FC236}">
                    <a16:creationId xmlns:a16="http://schemas.microsoft.com/office/drawing/2014/main" id="{18399B32-2EE3-49AE-80A0-6797B01E89E6}"/>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14" name="Rectangle: Rounded Corners 13">
                <a:extLst>
                  <a:ext uri="{FF2B5EF4-FFF2-40B4-BE49-F238E27FC236}">
                    <a16:creationId xmlns:a16="http://schemas.microsoft.com/office/drawing/2014/main" id="{6A251040-79B2-4E75-B580-29B9D6CC1B9D}"/>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pic>
          <p:nvPicPr>
            <p:cNvPr id="15" name="Picture 14">
              <a:extLst>
                <a:ext uri="{FF2B5EF4-FFF2-40B4-BE49-F238E27FC236}">
                  <a16:creationId xmlns:a16="http://schemas.microsoft.com/office/drawing/2014/main" id="{225B3411-6214-4AE2-A1EF-BEE63EC00B0E}"/>
                </a:ext>
              </a:extLst>
            </p:cNvPr>
            <p:cNvPicPr>
              <a:picLocks noChangeAspect="1"/>
            </p:cNvPicPr>
            <p:nvPr userDrawn="1"/>
          </p:nvPicPr>
          <p:blipFill>
            <a:blip r:embed="rId42"/>
            <a:stretch>
              <a:fillRect/>
            </a:stretch>
          </p:blipFill>
          <p:spPr>
            <a:xfrm>
              <a:off x="-1884053" y="1200637"/>
              <a:ext cx="1418614" cy="1444137"/>
            </a:xfrm>
            <a:prstGeom prst="rect">
              <a:avLst/>
            </a:prstGeom>
          </p:spPr>
        </p:pic>
      </p:grpSp>
      <p:sp>
        <p:nvSpPr>
          <p:cNvPr id="23" name="Rectangle 22">
            <a:extLst>
              <a:ext uri="{FF2B5EF4-FFF2-40B4-BE49-F238E27FC236}">
                <a16:creationId xmlns:a16="http://schemas.microsoft.com/office/drawing/2014/main" id="{6515BF35-693E-4749-821E-5148CED147C8}"/>
              </a:ext>
            </a:extLst>
          </p:cNvPr>
          <p:cNvSpPr/>
          <p:nvPr userDrawn="1"/>
        </p:nvSpPr>
        <p:spPr>
          <a:xfrm>
            <a:off x="2052092" y="6141510"/>
            <a:ext cx="1573351" cy="27220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77"/>
          </a:p>
        </p:txBody>
      </p:sp>
    </p:spTree>
    <p:extLst>
      <p:ext uri="{BB962C8B-B14F-4D97-AF65-F5344CB8AC3E}">
        <p14:creationId xmlns:p14="http://schemas.microsoft.com/office/powerpoint/2010/main" val="3607171491"/>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791" r:id="rId31"/>
    <p:sldLayoutId id="2147483792" r:id="rId32"/>
    <p:sldLayoutId id="2147483793" r:id="rId33"/>
    <p:sldLayoutId id="2147483794" r:id="rId34"/>
    <p:sldLayoutId id="2147483795" r:id="rId35"/>
    <p:sldLayoutId id="2147483796" r:id="rId36"/>
    <p:sldLayoutId id="2147483797" r:id="rId37"/>
    <p:sldLayoutId id="2147483798" r:id="rId38"/>
    <p:sldLayoutId id="2147483799" r:id="rId39"/>
  </p:sldLayoutIdLst>
  <p:hf sldNum="0" hdr="0" ftr="0" dt="0"/>
  <p:txStyles>
    <p:titleStyle>
      <a:lvl1pPr algn="l" defTabSz="146618" rtl="0" eaLnBrk="1" fontAlgn="base" hangingPunct="1">
        <a:spcBef>
          <a:spcPct val="0"/>
        </a:spcBef>
        <a:spcAft>
          <a:spcPct val="0"/>
        </a:spcAft>
        <a:defRPr sz="770" b="1" kern="1200" cap="all" spc="-16" baseline="0">
          <a:solidFill>
            <a:schemeClr val="tx2"/>
          </a:solidFill>
          <a:latin typeface="Verdana"/>
          <a:ea typeface="Verdana" pitchFamily="34" charset="0"/>
          <a:cs typeface="Verdana" pitchFamily="34" charset="0"/>
        </a:defRPr>
      </a:lvl1pPr>
      <a:lvl2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2pPr>
      <a:lvl3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3pPr>
      <a:lvl4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4pPr>
      <a:lvl5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5pPr>
      <a:lvl6pPr marL="146618"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6pPr>
      <a:lvl7pPr marL="293235"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7pPr>
      <a:lvl8pPr marL="439852"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8pPr>
      <a:lvl9pPr marL="586470"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9pPr>
    </p:titleStyle>
    <p:bodyStyle>
      <a:lvl1pPr marL="80815" indent="-80815" algn="l" defTabSz="146618" rtl="0" eaLnBrk="1" fontAlgn="base" hangingPunct="1">
        <a:lnSpc>
          <a:spcPct val="100000"/>
        </a:lnSpc>
        <a:spcBef>
          <a:spcPct val="0"/>
        </a:spcBef>
        <a:spcAft>
          <a:spcPts val="385"/>
        </a:spcAft>
        <a:buFont typeface="Verdana" pitchFamily="34" charset="0"/>
        <a:buChar char="•"/>
        <a:defRPr kern="1200" spc="-16" baseline="0">
          <a:solidFill>
            <a:schemeClr val="tx1"/>
          </a:solidFill>
          <a:latin typeface="Verdana"/>
          <a:ea typeface="Verdana" pitchFamily="34" charset="0"/>
          <a:cs typeface="Verdana" pitchFamily="34" charset="0"/>
        </a:defRPr>
      </a:lvl1pPr>
      <a:lvl2pPr marL="207809" indent="-80815" algn="l" defTabSz="146618" rtl="0" eaLnBrk="1" fontAlgn="base" hangingPunct="1">
        <a:lnSpc>
          <a:spcPct val="100000"/>
        </a:lnSpc>
        <a:spcBef>
          <a:spcPct val="0"/>
        </a:spcBef>
        <a:spcAft>
          <a:spcPts val="385"/>
        </a:spcAft>
        <a:buFont typeface="Verdana" pitchFamily="34" charset="0"/>
        <a:buChar char="•"/>
        <a:defRPr sz="513" kern="1200" spc="-16" baseline="0">
          <a:solidFill>
            <a:schemeClr val="tx1"/>
          </a:solidFill>
          <a:latin typeface="Verdana"/>
          <a:ea typeface="Verdana" pitchFamily="34" charset="0"/>
          <a:cs typeface="+mn-cs"/>
        </a:defRPr>
      </a:lvl2pPr>
      <a:lvl3pPr marL="314023" indent="-80815" algn="l" defTabSz="146618" rtl="0" eaLnBrk="1" fontAlgn="base" hangingPunct="1">
        <a:lnSpc>
          <a:spcPct val="100000"/>
        </a:lnSpc>
        <a:spcBef>
          <a:spcPct val="0"/>
        </a:spcBef>
        <a:spcAft>
          <a:spcPts val="385"/>
        </a:spcAft>
        <a:buFont typeface="Verdana" pitchFamily="34" charset="0"/>
        <a:buChar char="•"/>
        <a:defRPr sz="449" kern="1200" spc="-16" baseline="0">
          <a:solidFill>
            <a:schemeClr val="tx1"/>
          </a:solidFill>
          <a:latin typeface="Verdana"/>
          <a:ea typeface="Verdana" pitchFamily="34" charset="0"/>
          <a:cs typeface="+mn-cs"/>
        </a:defRPr>
      </a:lvl3pPr>
      <a:lvl4pPr marL="0" indent="0" algn="l" defTabSz="146618" rtl="0" eaLnBrk="1" fontAlgn="base" hangingPunct="1">
        <a:lnSpc>
          <a:spcPct val="100000"/>
        </a:lnSpc>
        <a:spcBef>
          <a:spcPct val="0"/>
        </a:spcBef>
        <a:spcAft>
          <a:spcPts val="385"/>
        </a:spcAft>
        <a:buFont typeface="Arial" panose="020B0604020202020204" pitchFamily="34" charset="0"/>
        <a:buChar char="​"/>
        <a:defRPr sz="577" kern="1200" spc="-16" baseline="0">
          <a:solidFill>
            <a:schemeClr val="tx1"/>
          </a:solidFill>
          <a:latin typeface="Verdana"/>
          <a:ea typeface="Verdana" pitchFamily="34" charset="0"/>
          <a:cs typeface="+mn-cs"/>
        </a:defRPr>
      </a:lvl4pPr>
      <a:lvl5pPr marL="0" indent="0" algn="l" defTabSz="146618" rtl="0" eaLnBrk="1" fontAlgn="base" hangingPunct="1">
        <a:lnSpc>
          <a:spcPct val="80000"/>
        </a:lnSpc>
        <a:spcBef>
          <a:spcPct val="0"/>
        </a:spcBef>
        <a:spcAft>
          <a:spcPts val="385"/>
        </a:spcAft>
        <a:buFont typeface="Arial" panose="020B0604020202020204" pitchFamily="34" charset="0"/>
        <a:buChar char="​"/>
        <a:defRPr sz="1539" b="1" kern="1200" cap="all" spc="-32" baseline="0">
          <a:solidFill>
            <a:schemeClr val="tx1"/>
          </a:solidFill>
          <a:latin typeface="Verdana"/>
          <a:ea typeface="Verdana" pitchFamily="34" charset="0"/>
          <a:cs typeface="+mn-cs"/>
        </a:defRPr>
      </a:lvl5pPr>
      <a:lvl6pPr marL="0" indent="0" algn="l" defTabSz="146618" rtl="0" eaLnBrk="1" latinLnBrk="0" hangingPunct="1">
        <a:spcBef>
          <a:spcPts val="0"/>
        </a:spcBef>
        <a:spcAft>
          <a:spcPts val="192"/>
        </a:spcAft>
        <a:buClr>
          <a:schemeClr val="tx2"/>
        </a:buClr>
        <a:buFont typeface="Arial" panose="020B0604020202020204" pitchFamily="34" charset="0"/>
        <a:buChar char="​"/>
        <a:defRPr sz="577" b="1" kern="1200" cap="all" spc="-16" baseline="0">
          <a:solidFill>
            <a:schemeClr val="tx2"/>
          </a:solidFill>
          <a:latin typeface="+mn-lt"/>
          <a:ea typeface="+mn-ea"/>
          <a:cs typeface="+mn-cs"/>
        </a:defRPr>
      </a:lvl6pPr>
      <a:lvl7pPr marL="0" indent="0" algn="l" defTabSz="146618" rtl="0" eaLnBrk="1" latinLnBrk="0" hangingPunct="1">
        <a:spcBef>
          <a:spcPts val="0"/>
        </a:spcBef>
        <a:spcAft>
          <a:spcPts val="385"/>
        </a:spcAft>
        <a:buFont typeface="Arial" panose="020B0604020202020204" pitchFamily="34" charset="0"/>
        <a:buChar char="​"/>
        <a:defRPr sz="577" i="0" kern="1200" spc="-16">
          <a:solidFill>
            <a:schemeClr val="bg2"/>
          </a:solidFill>
          <a:latin typeface="+mn-lt"/>
          <a:ea typeface="+mn-ea"/>
          <a:cs typeface="+mn-cs"/>
        </a:defRPr>
      </a:lvl7pPr>
      <a:lvl8pPr marL="207809" indent="-80815" algn="l" defTabSz="146618" rtl="0" eaLnBrk="1" latinLnBrk="0" hangingPunct="1">
        <a:spcBef>
          <a:spcPts val="0"/>
        </a:spcBef>
        <a:spcAft>
          <a:spcPts val="385"/>
        </a:spcAft>
        <a:buClr>
          <a:schemeClr val="bg2"/>
        </a:buClr>
        <a:buFont typeface="+mj-lt"/>
        <a:buAutoNum type="arabicPeriod"/>
        <a:defRPr sz="513" kern="1200" spc="-16">
          <a:solidFill>
            <a:schemeClr val="tx1"/>
          </a:solidFill>
          <a:latin typeface="+mn-lt"/>
          <a:ea typeface="+mn-ea"/>
          <a:cs typeface="+mn-cs"/>
        </a:defRPr>
      </a:lvl8pPr>
      <a:lvl9pPr marL="207809" indent="-80815" algn="l" defTabSz="146618" rtl="0" eaLnBrk="1" latinLnBrk="0" hangingPunct="1">
        <a:spcBef>
          <a:spcPts val="0"/>
        </a:spcBef>
        <a:spcAft>
          <a:spcPts val="385"/>
        </a:spcAft>
        <a:buClr>
          <a:schemeClr val="bg2"/>
        </a:buClr>
        <a:buFont typeface="+mj-lt"/>
        <a:buAutoNum type="alphaUcPeriod"/>
        <a:defRPr sz="513" kern="1200" spc="-16">
          <a:solidFill>
            <a:schemeClr val="tx1"/>
          </a:solidFill>
          <a:latin typeface="+mn-lt"/>
          <a:ea typeface="+mn-ea"/>
          <a:cs typeface="+mn-cs"/>
        </a:defRPr>
      </a:lvl9pPr>
    </p:bodyStyle>
    <p:otherStyle>
      <a:defPPr>
        <a:defRPr lang="en-US"/>
      </a:defPPr>
      <a:lvl1pPr marL="0" algn="l" defTabSz="146618" rtl="0" eaLnBrk="1" latinLnBrk="0" hangingPunct="1">
        <a:defRPr sz="609" kern="1200">
          <a:solidFill>
            <a:schemeClr val="tx1"/>
          </a:solidFill>
          <a:latin typeface="+mn-lt"/>
          <a:ea typeface="+mn-ea"/>
          <a:cs typeface="+mn-cs"/>
        </a:defRPr>
      </a:lvl1pPr>
      <a:lvl2pPr marL="146618" algn="l" defTabSz="146618" rtl="0" eaLnBrk="1" latinLnBrk="0" hangingPunct="1">
        <a:defRPr sz="609" kern="1200">
          <a:solidFill>
            <a:schemeClr val="tx1"/>
          </a:solidFill>
          <a:latin typeface="+mn-lt"/>
          <a:ea typeface="+mn-ea"/>
          <a:cs typeface="+mn-cs"/>
        </a:defRPr>
      </a:lvl2pPr>
      <a:lvl3pPr marL="293235" algn="l" defTabSz="146618" rtl="0" eaLnBrk="1" latinLnBrk="0" hangingPunct="1">
        <a:defRPr sz="609" kern="1200">
          <a:solidFill>
            <a:schemeClr val="tx1"/>
          </a:solidFill>
          <a:latin typeface="+mn-lt"/>
          <a:ea typeface="+mn-ea"/>
          <a:cs typeface="+mn-cs"/>
        </a:defRPr>
      </a:lvl3pPr>
      <a:lvl4pPr marL="439852" algn="l" defTabSz="146618" rtl="0" eaLnBrk="1" latinLnBrk="0" hangingPunct="1">
        <a:defRPr sz="609" kern="1200">
          <a:solidFill>
            <a:schemeClr val="tx1"/>
          </a:solidFill>
          <a:latin typeface="+mn-lt"/>
          <a:ea typeface="+mn-ea"/>
          <a:cs typeface="+mn-cs"/>
        </a:defRPr>
      </a:lvl4pPr>
      <a:lvl5pPr marL="586470" algn="l" defTabSz="146618" rtl="0" eaLnBrk="1" latinLnBrk="0" hangingPunct="1">
        <a:defRPr sz="609" kern="1200">
          <a:solidFill>
            <a:schemeClr val="tx1"/>
          </a:solidFill>
          <a:latin typeface="+mn-lt"/>
          <a:ea typeface="+mn-ea"/>
          <a:cs typeface="+mn-cs"/>
        </a:defRPr>
      </a:lvl5pPr>
      <a:lvl6pPr marL="733087" algn="l" defTabSz="146618" rtl="0" eaLnBrk="1" latinLnBrk="0" hangingPunct="1">
        <a:defRPr sz="609" kern="1200">
          <a:solidFill>
            <a:schemeClr val="tx1"/>
          </a:solidFill>
          <a:latin typeface="+mn-lt"/>
          <a:ea typeface="+mn-ea"/>
          <a:cs typeface="+mn-cs"/>
        </a:defRPr>
      </a:lvl6pPr>
      <a:lvl7pPr marL="879704" algn="l" defTabSz="146618" rtl="0" eaLnBrk="1" latinLnBrk="0" hangingPunct="1">
        <a:defRPr sz="609" kern="1200">
          <a:solidFill>
            <a:schemeClr val="tx1"/>
          </a:solidFill>
          <a:latin typeface="+mn-lt"/>
          <a:ea typeface="+mn-ea"/>
          <a:cs typeface="+mn-cs"/>
        </a:defRPr>
      </a:lvl7pPr>
      <a:lvl8pPr marL="1026321" algn="l" defTabSz="146618" rtl="0" eaLnBrk="1" latinLnBrk="0" hangingPunct="1">
        <a:defRPr sz="609" kern="1200">
          <a:solidFill>
            <a:schemeClr val="tx1"/>
          </a:solidFill>
          <a:latin typeface="+mn-lt"/>
          <a:ea typeface="+mn-ea"/>
          <a:cs typeface="+mn-cs"/>
        </a:defRPr>
      </a:lvl8pPr>
      <a:lvl9pPr marL="1172939" algn="l" defTabSz="146618" rtl="0" eaLnBrk="1" latinLnBrk="0" hangingPunct="1">
        <a:defRPr sz="60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6538">
          <p15:clr>
            <a:srgbClr val="F26B43"/>
          </p15:clr>
        </p15:guide>
        <p15:guide id="2" pos="17814">
          <p15:clr>
            <a:srgbClr val="F26B43"/>
          </p15:clr>
        </p15:guide>
        <p15:guide id="3" orient="horz" pos="3230">
          <p15:clr>
            <a:srgbClr val="F26B43"/>
          </p15:clr>
        </p15:guide>
        <p15:guide id="4" orient="horz" pos="11207">
          <p15:clr>
            <a:srgbClr val="F26B43"/>
          </p15:clr>
        </p15:guide>
        <p15:guide id="5" pos="15264">
          <p15:clr>
            <a:srgbClr val="F26B43"/>
          </p15:clr>
        </p15:guide>
        <p15:guide id="6" pos="13990">
          <p15:clr>
            <a:srgbClr val="F26B43"/>
          </p15:clr>
        </p15:guide>
        <p15:guide id="7" pos="12715">
          <p15:clr>
            <a:srgbClr val="F26B43"/>
          </p15:clr>
        </p15:guide>
        <p15:guide id="8" pos="11443">
          <p15:clr>
            <a:srgbClr val="F26B43"/>
          </p15:clr>
        </p15:guide>
        <p15:guide id="9" pos="10168">
          <p15:clr>
            <a:srgbClr val="F26B43"/>
          </p15:clr>
        </p15:guide>
        <p15:guide id="10" pos="8894">
          <p15:clr>
            <a:srgbClr val="F26B43"/>
          </p15:clr>
        </p15:guide>
        <p15:guide id="11" pos="7618">
          <p15:clr>
            <a:srgbClr val="F26B43"/>
          </p15:clr>
        </p15:guide>
        <p15:guide id="12" pos="6346">
          <p15:clr>
            <a:srgbClr val="F26B43"/>
          </p15:clr>
        </p15:guide>
        <p15:guide id="13" pos="5071">
          <p15:clr>
            <a:srgbClr val="F26B43"/>
          </p15:clr>
        </p15:guide>
        <p15:guide id="14" pos="3797">
          <p15:clr>
            <a:srgbClr val="F26B43"/>
          </p15:clr>
        </p15:guide>
        <p15:guide id="15" pos="2523">
          <p15:clr>
            <a:srgbClr val="F26B43"/>
          </p15:clr>
        </p15:guide>
        <p15:guide id="16" pos="12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emf"/><Relationship Id="rId2" Type="http://schemas.openxmlformats.org/officeDocument/2006/relationships/slideLayout" Target="../slideLayouts/slideLayout10.xml"/><Relationship Id="rId1" Type="http://schemas.openxmlformats.org/officeDocument/2006/relationships/tags" Target="../tags/tag114.x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image" Target="../media/image25.jpeg"/></Relationships>
</file>

<file path=ppt/slides/_rels/slide10.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notesSlide" Target="../notesSlides/notesSlide9.xml"/><Relationship Id="rId7" Type="http://schemas.openxmlformats.org/officeDocument/2006/relationships/image" Target="../media/image68.png"/><Relationship Id="rId2" Type="http://schemas.openxmlformats.org/officeDocument/2006/relationships/slideLayout" Target="../slideLayouts/slideLayout10.xml"/><Relationship Id="rId1" Type="http://schemas.openxmlformats.org/officeDocument/2006/relationships/tags" Target="../tags/tag120.xml"/><Relationship Id="rId6" Type="http://schemas.openxmlformats.org/officeDocument/2006/relationships/slide" Target="slide15.xml"/><Relationship Id="rId5" Type="http://schemas.openxmlformats.org/officeDocument/2006/relationships/image" Target="../media/image1.emf"/><Relationship Id="rId10" Type="http://schemas.openxmlformats.org/officeDocument/2006/relationships/image" Target="../media/image71.svg"/><Relationship Id="rId4" Type="http://schemas.openxmlformats.org/officeDocument/2006/relationships/oleObject" Target="../embeddings/oleObject119.bin"/><Relationship Id="rId9" Type="http://schemas.openxmlformats.org/officeDocument/2006/relationships/image" Target="../media/image70.png"/></Relationships>
</file>

<file path=ppt/slides/_rels/slide11.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notesSlide" Target="../notesSlides/notesSlide10.xml"/><Relationship Id="rId7" Type="http://schemas.openxmlformats.org/officeDocument/2006/relationships/image" Target="../media/image72.png"/><Relationship Id="rId2" Type="http://schemas.openxmlformats.org/officeDocument/2006/relationships/slideLayout" Target="../slideLayouts/slideLayout10.xml"/><Relationship Id="rId1" Type="http://schemas.openxmlformats.org/officeDocument/2006/relationships/tags" Target="../tags/tag121.xml"/><Relationship Id="rId6" Type="http://schemas.openxmlformats.org/officeDocument/2006/relationships/slide" Target="slide41.xml"/><Relationship Id="rId5" Type="http://schemas.openxmlformats.org/officeDocument/2006/relationships/image" Target="../media/image1.emf"/><Relationship Id="rId4" Type="http://schemas.openxmlformats.org/officeDocument/2006/relationships/oleObject" Target="../embeddings/oleObject120.bin"/></Relationships>
</file>

<file path=ppt/slides/_rels/slide12.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notesSlide" Target="../notesSlides/notesSlide11.xml"/><Relationship Id="rId7" Type="http://schemas.openxmlformats.org/officeDocument/2006/relationships/image" Target="../media/image74.png"/><Relationship Id="rId2" Type="http://schemas.openxmlformats.org/officeDocument/2006/relationships/slideLayout" Target="../slideLayouts/slideLayout10.xml"/><Relationship Id="rId1" Type="http://schemas.openxmlformats.org/officeDocument/2006/relationships/tags" Target="../tags/tag122.xml"/><Relationship Id="rId6" Type="http://schemas.openxmlformats.org/officeDocument/2006/relationships/slide" Target="slide48.xml"/><Relationship Id="rId5" Type="http://schemas.openxmlformats.org/officeDocument/2006/relationships/image" Target="../media/image1.emf"/><Relationship Id="rId10" Type="http://schemas.openxmlformats.org/officeDocument/2006/relationships/image" Target="../media/image77.svg"/><Relationship Id="rId4" Type="http://schemas.openxmlformats.org/officeDocument/2006/relationships/oleObject" Target="../embeddings/oleObject121.bin"/><Relationship Id="rId9" Type="http://schemas.openxmlformats.org/officeDocument/2006/relationships/image" Target="../media/image76.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6.xml"/><Relationship Id="rId1" Type="http://schemas.openxmlformats.org/officeDocument/2006/relationships/tags" Target="../tags/tag123.xml"/><Relationship Id="rId5" Type="http://schemas.openxmlformats.org/officeDocument/2006/relationships/image" Target="../media/image1.emf"/><Relationship Id="rId4" Type="http://schemas.openxmlformats.org/officeDocument/2006/relationships/oleObject" Target="../embeddings/oleObject122.bin"/></Relationships>
</file>

<file path=ppt/slides/_rels/slide14.xml.rels><?xml version="1.0" encoding="UTF-8" standalone="yes"?>
<Relationships xmlns="http://schemas.openxmlformats.org/package/2006/relationships"><Relationship Id="rId8" Type="http://schemas.openxmlformats.org/officeDocument/2006/relationships/slide" Target="slide28.xml"/><Relationship Id="rId3" Type="http://schemas.openxmlformats.org/officeDocument/2006/relationships/notesSlide" Target="../notesSlides/notesSlide13.xml"/><Relationship Id="rId7" Type="http://schemas.openxmlformats.org/officeDocument/2006/relationships/slide" Target="slide22.xml"/><Relationship Id="rId2" Type="http://schemas.openxmlformats.org/officeDocument/2006/relationships/slideLayout" Target="../slideLayouts/slideLayout10.xml"/><Relationship Id="rId1" Type="http://schemas.openxmlformats.org/officeDocument/2006/relationships/tags" Target="../tags/tag124.xml"/><Relationship Id="rId6" Type="http://schemas.openxmlformats.org/officeDocument/2006/relationships/slide" Target="slide15.xml"/><Relationship Id="rId5" Type="http://schemas.openxmlformats.org/officeDocument/2006/relationships/image" Target="../media/image1.emf"/><Relationship Id="rId4" Type="http://schemas.openxmlformats.org/officeDocument/2006/relationships/oleObject" Target="../embeddings/oleObject123.bin"/><Relationship Id="rId9" Type="http://schemas.openxmlformats.org/officeDocument/2006/relationships/slide" Target="slide3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6.xml"/><Relationship Id="rId1" Type="http://schemas.openxmlformats.org/officeDocument/2006/relationships/tags" Target="../tags/tag125.xml"/><Relationship Id="rId5" Type="http://schemas.openxmlformats.org/officeDocument/2006/relationships/image" Target="../media/image1.emf"/><Relationship Id="rId4" Type="http://schemas.openxmlformats.org/officeDocument/2006/relationships/oleObject" Target="../embeddings/oleObject124.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oleObject" Target="../embeddings/oleObject125.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oleObject" Target="../embeddings/oleObject126.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0.xml"/><Relationship Id="rId1" Type="http://schemas.openxmlformats.org/officeDocument/2006/relationships/tags" Target="../tags/tag128.xml"/><Relationship Id="rId5" Type="http://schemas.openxmlformats.org/officeDocument/2006/relationships/image" Target="../media/image1.emf"/><Relationship Id="rId4" Type="http://schemas.openxmlformats.org/officeDocument/2006/relationships/oleObject" Target="../embeddings/oleObject126.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0.xml"/><Relationship Id="rId1" Type="http://schemas.openxmlformats.org/officeDocument/2006/relationships/tags" Target="../tags/tag129.xml"/><Relationship Id="rId5" Type="http://schemas.openxmlformats.org/officeDocument/2006/relationships/image" Target="../media/image1.emf"/><Relationship Id="rId4" Type="http://schemas.openxmlformats.org/officeDocument/2006/relationships/oleObject" Target="../embeddings/oleObject126.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114.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0.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oleObject" Target="../embeddings/oleObject12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79.svg"/><Relationship Id="rId2" Type="http://schemas.openxmlformats.org/officeDocument/2006/relationships/slideLayout" Target="../slideLayouts/slideLayout10.xml"/><Relationship Id="rId1" Type="http://schemas.openxmlformats.org/officeDocument/2006/relationships/tags" Target="../tags/tag131.xml"/><Relationship Id="rId6" Type="http://schemas.openxmlformats.org/officeDocument/2006/relationships/image" Target="../media/image78.png"/><Relationship Id="rId5" Type="http://schemas.openxmlformats.org/officeDocument/2006/relationships/image" Target="../media/image1.emf"/><Relationship Id="rId4" Type="http://schemas.openxmlformats.org/officeDocument/2006/relationships/oleObject" Target="../embeddings/oleObject1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6.xml"/><Relationship Id="rId1" Type="http://schemas.openxmlformats.org/officeDocument/2006/relationships/tags" Target="../tags/tag132.xml"/><Relationship Id="rId5" Type="http://schemas.openxmlformats.org/officeDocument/2006/relationships/image" Target="../media/image1.emf"/><Relationship Id="rId4" Type="http://schemas.openxmlformats.org/officeDocument/2006/relationships/oleObject" Target="../embeddings/oleObject12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81.svg"/><Relationship Id="rId2" Type="http://schemas.openxmlformats.org/officeDocument/2006/relationships/slideLayout" Target="../slideLayouts/slideLayout10.xml"/><Relationship Id="rId1" Type="http://schemas.openxmlformats.org/officeDocument/2006/relationships/tags" Target="../tags/tag133.xml"/><Relationship Id="rId6" Type="http://schemas.openxmlformats.org/officeDocument/2006/relationships/image" Target="../media/image80.png"/><Relationship Id="rId5" Type="http://schemas.openxmlformats.org/officeDocument/2006/relationships/image" Target="../media/image1.emf"/><Relationship Id="rId4" Type="http://schemas.openxmlformats.org/officeDocument/2006/relationships/oleObject" Target="../embeddings/oleObject129.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81.svg"/><Relationship Id="rId2" Type="http://schemas.openxmlformats.org/officeDocument/2006/relationships/slideLayout" Target="../slideLayouts/slideLayout10.xml"/><Relationship Id="rId1" Type="http://schemas.openxmlformats.org/officeDocument/2006/relationships/tags" Target="../tags/tag134.xml"/><Relationship Id="rId6" Type="http://schemas.openxmlformats.org/officeDocument/2006/relationships/image" Target="../media/image80.png"/><Relationship Id="rId5" Type="http://schemas.openxmlformats.org/officeDocument/2006/relationships/image" Target="../media/image1.emf"/><Relationship Id="rId4" Type="http://schemas.openxmlformats.org/officeDocument/2006/relationships/oleObject" Target="../embeddings/oleObject129.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81.svg"/><Relationship Id="rId2" Type="http://schemas.openxmlformats.org/officeDocument/2006/relationships/slideLayout" Target="../slideLayouts/slideLayout10.xml"/><Relationship Id="rId1" Type="http://schemas.openxmlformats.org/officeDocument/2006/relationships/tags" Target="../tags/tag135.xml"/><Relationship Id="rId6" Type="http://schemas.openxmlformats.org/officeDocument/2006/relationships/image" Target="../media/image80.png"/><Relationship Id="rId5" Type="http://schemas.openxmlformats.org/officeDocument/2006/relationships/image" Target="../media/image1.emf"/><Relationship Id="rId4" Type="http://schemas.openxmlformats.org/officeDocument/2006/relationships/oleObject" Target="../embeddings/oleObject129.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81.svg"/><Relationship Id="rId2" Type="http://schemas.openxmlformats.org/officeDocument/2006/relationships/slideLayout" Target="../slideLayouts/slideLayout10.xml"/><Relationship Id="rId1" Type="http://schemas.openxmlformats.org/officeDocument/2006/relationships/tags" Target="../tags/tag136.xml"/><Relationship Id="rId6" Type="http://schemas.openxmlformats.org/officeDocument/2006/relationships/image" Target="../media/image80.png"/><Relationship Id="rId5" Type="http://schemas.openxmlformats.org/officeDocument/2006/relationships/image" Target="../media/image1.emf"/><Relationship Id="rId4" Type="http://schemas.openxmlformats.org/officeDocument/2006/relationships/oleObject" Target="../embeddings/oleObject129.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79.svg"/><Relationship Id="rId2" Type="http://schemas.openxmlformats.org/officeDocument/2006/relationships/slideLayout" Target="../slideLayouts/slideLayout10.xml"/><Relationship Id="rId1" Type="http://schemas.openxmlformats.org/officeDocument/2006/relationships/tags" Target="../tags/tag137.xml"/><Relationship Id="rId6" Type="http://schemas.openxmlformats.org/officeDocument/2006/relationships/image" Target="../media/image78.png"/><Relationship Id="rId5" Type="http://schemas.openxmlformats.org/officeDocument/2006/relationships/image" Target="../media/image1.emf"/><Relationship Id="rId4" Type="http://schemas.openxmlformats.org/officeDocument/2006/relationships/oleObject" Target="../embeddings/oleObject130.bin"/></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83.svg"/><Relationship Id="rId2" Type="http://schemas.openxmlformats.org/officeDocument/2006/relationships/slideLayout" Target="../slideLayouts/slideLayout10.xml"/><Relationship Id="rId1" Type="http://schemas.openxmlformats.org/officeDocument/2006/relationships/tags" Target="../tags/tag138.xml"/><Relationship Id="rId6" Type="http://schemas.openxmlformats.org/officeDocument/2006/relationships/image" Target="../media/image82.png"/><Relationship Id="rId5" Type="http://schemas.openxmlformats.org/officeDocument/2006/relationships/image" Target="../media/image1.emf"/><Relationship Id="rId4" Type="http://schemas.openxmlformats.org/officeDocument/2006/relationships/oleObject" Target="../embeddings/oleObject129.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83.svg"/><Relationship Id="rId2" Type="http://schemas.openxmlformats.org/officeDocument/2006/relationships/slideLayout" Target="../slideLayouts/slideLayout10.xml"/><Relationship Id="rId1" Type="http://schemas.openxmlformats.org/officeDocument/2006/relationships/tags" Target="../tags/tag139.xml"/><Relationship Id="rId6" Type="http://schemas.openxmlformats.org/officeDocument/2006/relationships/image" Target="../media/image82.png"/><Relationship Id="rId5" Type="http://schemas.openxmlformats.org/officeDocument/2006/relationships/image" Target="../media/image1.emf"/><Relationship Id="rId4" Type="http://schemas.openxmlformats.org/officeDocument/2006/relationships/oleObject" Target="../embeddings/oleObject129.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83.svg"/><Relationship Id="rId2" Type="http://schemas.openxmlformats.org/officeDocument/2006/relationships/slideLayout" Target="../slideLayouts/slideLayout10.xml"/><Relationship Id="rId1" Type="http://schemas.openxmlformats.org/officeDocument/2006/relationships/tags" Target="../tags/tag140.xml"/><Relationship Id="rId6" Type="http://schemas.openxmlformats.org/officeDocument/2006/relationships/image" Target="../media/image82.png"/><Relationship Id="rId5" Type="http://schemas.openxmlformats.org/officeDocument/2006/relationships/image" Target="../media/image1.emf"/><Relationship Id="rId4" Type="http://schemas.openxmlformats.org/officeDocument/2006/relationships/oleObject" Target="../embeddings/oleObject129.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83.svg"/><Relationship Id="rId2" Type="http://schemas.openxmlformats.org/officeDocument/2006/relationships/slideLayout" Target="../slideLayouts/slideLayout10.xml"/><Relationship Id="rId1" Type="http://schemas.openxmlformats.org/officeDocument/2006/relationships/tags" Target="../tags/tag141.xml"/><Relationship Id="rId6" Type="http://schemas.openxmlformats.org/officeDocument/2006/relationships/image" Target="../media/image82.png"/><Relationship Id="rId5" Type="http://schemas.openxmlformats.org/officeDocument/2006/relationships/image" Target="../media/image1.emf"/><Relationship Id="rId4" Type="http://schemas.openxmlformats.org/officeDocument/2006/relationships/oleObject" Target="../embeddings/oleObject129.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79.svg"/><Relationship Id="rId2" Type="http://schemas.openxmlformats.org/officeDocument/2006/relationships/slideLayout" Target="../slideLayouts/slideLayout10.xml"/><Relationship Id="rId1" Type="http://schemas.openxmlformats.org/officeDocument/2006/relationships/tags" Target="../tags/tag142.xml"/><Relationship Id="rId6" Type="http://schemas.openxmlformats.org/officeDocument/2006/relationships/image" Target="../media/image78.png"/><Relationship Id="rId5" Type="http://schemas.openxmlformats.org/officeDocument/2006/relationships/image" Target="../media/image1.emf"/><Relationship Id="rId4" Type="http://schemas.openxmlformats.org/officeDocument/2006/relationships/oleObject" Target="../embeddings/oleObject129.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6.xml"/><Relationship Id="rId1" Type="http://schemas.openxmlformats.org/officeDocument/2006/relationships/tags" Target="../tags/tag143.xml"/><Relationship Id="rId5" Type="http://schemas.openxmlformats.org/officeDocument/2006/relationships/image" Target="../media/image1.emf"/><Relationship Id="rId4" Type="http://schemas.openxmlformats.org/officeDocument/2006/relationships/oleObject" Target="../embeddings/oleObject131.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85.svg"/><Relationship Id="rId2" Type="http://schemas.openxmlformats.org/officeDocument/2006/relationships/slideLayout" Target="../slideLayouts/slideLayout10.xml"/><Relationship Id="rId1" Type="http://schemas.openxmlformats.org/officeDocument/2006/relationships/tags" Target="../tags/tag144.xml"/><Relationship Id="rId6" Type="http://schemas.openxmlformats.org/officeDocument/2006/relationships/image" Target="../media/image84.png"/><Relationship Id="rId5" Type="http://schemas.openxmlformats.org/officeDocument/2006/relationships/image" Target="../media/image1.emf"/><Relationship Id="rId4" Type="http://schemas.openxmlformats.org/officeDocument/2006/relationships/oleObject" Target="../embeddings/oleObject132.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85.svg"/><Relationship Id="rId2" Type="http://schemas.openxmlformats.org/officeDocument/2006/relationships/slideLayout" Target="../slideLayouts/slideLayout10.xml"/><Relationship Id="rId1" Type="http://schemas.openxmlformats.org/officeDocument/2006/relationships/tags" Target="../tags/tag145.xml"/><Relationship Id="rId6" Type="http://schemas.openxmlformats.org/officeDocument/2006/relationships/image" Target="../media/image84.png"/><Relationship Id="rId5" Type="http://schemas.openxmlformats.org/officeDocument/2006/relationships/image" Target="../media/image1.emf"/><Relationship Id="rId4" Type="http://schemas.openxmlformats.org/officeDocument/2006/relationships/oleObject" Target="../embeddings/oleObject13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85.svg"/><Relationship Id="rId2" Type="http://schemas.openxmlformats.org/officeDocument/2006/relationships/slideLayout" Target="../slideLayouts/slideLayout10.xml"/><Relationship Id="rId1" Type="http://schemas.openxmlformats.org/officeDocument/2006/relationships/tags" Target="../tags/tag146.xml"/><Relationship Id="rId6" Type="http://schemas.openxmlformats.org/officeDocument/2006/relationships/image" Target="../media/image84.png"/><Relationship Id="rId5" Type="http://schemas.openxmlformats.org/officeDocument/2006/relationships/image" Target="../media/image1.emf"/><Relationship Id="rId4" Type="http://schemas.openxmlformats.org/officeDocument/2006/relationships/oleObject" Target="../embeddings/oleObject134.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85.svg"/><Relationship Id="rId2" Type="http://schemas.openxmlformats.org/officeDocument/2006/relationships/slideLayout" Target="../slideLayouts/slideLayout10.xml"/><Relationship Id="rId1" Type="http://schemas.openxmlformats.org/officeDocument/2006/relationships/tags" Target="../tags/tag147.xml"/><Relationship Id="rId6" Type="http://schemas.openxmlformats.org/officeDocument/2006/relationships/image" Target="../media/image84.png"/><Relationship Id="rId5" Type="http://schemas.openxmlformats.org/officeDocument/2006/relationships/image" Target="../media/image1.emf"/><Relationship Id="rId4" Type="http://schemas.openxmlformats.org/officeDocument/2006/relationships/oleObject" Target="../embeddings/oleObject135.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79.svg"/><Relationship Id="rId2" Type="http://schemas.openxmlformats.org/officeDocument/2006/relationships/slideLayout" Target="../slideLayouts/slideLayout10.xml"/><Relationship Id="rId1" Type="http://schemas.openxmlformats.org/officeDocument/2006/relationships/tags" Target="../tags/tag148.xml"/><Relationship Id="rId6" Type="http://schemas.openxmlformats.org/officeDocument/2006/relationships/image" Target="../media/image78.png"/><Relationship Id="rId5" Type="http://schemas.openxmlformats.org/officeDocument/2006/relationships/image" Target="../media/image1.emf"/><Relationship Id="rId4" Type="http://schemas.openxmlformats.org/officeDocument/2006/relationships/oleObject" Target="../embeddings/oleObject136.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6.xml"/><Relationship Id="rId1" Type="http://schemas.openxmlformats.org/officeDocument/2006/relationships/tags" Target="../tags/tag149.xml"/><Relationship Id="rId5" Type="http://schemas.openxmlformats.org/officeDocument/2006/relationships/image" Target="../media/image1.emf"/><Relationship Id="rId4" Type="http://schemas.openxmlformats.org/officeDocument/2006/relationships/oleObject" Target="../embeddings/oleObject137.bin"/></Relationships>
</file>

<file path=ppt/slides/_rels/slide41.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40.xml"/><Relationship Id="rId7" Type="http://schemas.openxmlformats.org/officeDocument/2006/relationships/image" Target="../media/image87.svg"/><Relationship Id="rId2" Type="http://schemas.openxmlformats.org/officeDocument/2006/relationships/slideLayout" Target="../slideLayouts/slideLayout10.xml"/><Relationship Id="rId1" Type="http://schemas.openxmlformats.org/officeDocument/2006/relationships/tags" Target="../tags/tag150.xml"/><Relationship Id="rId6" Type="http://schemas.openxmlformats.org/officeDocument/2006/relationships/image" Target="../media/image86.png"/><Relationship Id="rId11" Type="http://schemas.openxmlformats.org/officeDocument/2006/relationships/image" Target="../media/image91.svg"/><Relationship Id="rId5" Type="http://schemas.openxmlformats.org/officeDocument/2006/relationships/image" Target="../media/image1.emf"/><Relationship Id="rId10" Type="http://schemas.openxmlformats.org/officeDocument/2006/relationships/image" Target="../media/image90.png"/><Relationship Id="rId4" Type="http://schemas.openxmlformats.org/officeDocument/2006/relationships/oleObject" Target="../embeddings/oleObject138.bin"/><Relationship Id="rId9" Type="http://schemas.openxmlformats.org/officeDocument/2006/relationships/image" Target="../media/image89.svg"/></Relationships>
</file>

<file path=ppt/slides/_rels/slide42.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41.xml"/><Relationship Id="rId7" Type="http://schemas.openxmlformats.org/officeDocument/2006/relationships/image" Target="../media/image87.svg"/><Relationship Id="rId2" Type="http://schemas.openxmlformats.org/officeDocument/2006/relationships/slideLayout" Target="../slideLayouts/slideLayout10.xml"/><Relationship Id="rId1" Type="http://schemas.openxmlformats.org/officeDocument/2006/relationships/tags" Target="../tags/tag151.xml"/><Relationship Id="rId6" Type="http://schemas.openxmlformats.org/officeDocument/2006/relationships/image" Target="../media/image86.png"/><Relationship Id="rId11" Type="http://schemas.openxmlformats.org/officeDocument/2006/relationships/image" Target="../media/image91.svg"/><Relationship Id="rId5" Type="http://schemas.openxmlformats.org/officeDocument/2006/relationships/image" Target="../media/image1.emf"/><Relationship Id="rId10" Type="http://schemas.openxmlformats.org/officeDocument/2006/relationships/image" Target="../media/image90.png"/><Relationship Id="rId4" Type="http://schemas.openxmlformats.org/officeDocument/2006/relationships/oleObject" Target="../embeddings/oleObject139.bin"/><Relationship Id="rId9" Type="http://schemas.openxmlformats.org/officeDocument/2006/relationships/image" Target="../media/image89.svg"/></Relationships>
</file>

<file path=ppt/slides/_rels/slide43.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42.xml"/><Relationship Id="rId7" Type="http://schemas.openxmlformats.org/officeDocument/2006/relationships/image" Target="../media/image87.svg"/><Relationship Id="rId2" Type="http://schemas.openxmlformats.org/officeDocument/2006/relationships/slideLayout" Target="../slideLayouts/slideLayout10.xml"/><Relationship Id="rId1" Type="http://schemas.openxmlformats.org/officeDocument/2006/relationships/tags" Target="../tags/tag152.xml"/><Relationship Id="rId6" Type="http://schemas.openxmlformats.org/officeDocument/2006/relationships/image" Target="../media/image86.png"/><Relationship Id="rId11" Type="http://schemas.openxmlformats.org/officeDocument/2006/relationships/image" Target="../media/image91.svg"/><Relationship Id="rId5" Type="http://schemas.openxmlformats.org/officeDocument/2006/relationships/image" Target="../media/image1.emf"/><Relationship Id="rId10" Type="http://schemas.openxmlformats.org/officeDocument/2006/relationships/image" Target="../media/image90.png"/><Relationship Id="rId4" Type="http://schemas.openxmlformats.org/officeDocument/2006/relationships/oleObject" Target="../embeddings/oleObject140.bin"/><Relationship Id="rId9" Type="http://schemas.openxmlformats.org/officeDocument/2006/relationships/image" Target="../media/image89.svg"/></Relationships>
</file>

<file path=ppt/slides/_rels/slide44.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notesSlide" Target="../notesSlides/notesSlide43.xml"/><Relationship Id="rId7" Type="http://schemas.openxmlformats.org/officeDocument/2006/relationships/image" Target="../media/image89.svg"/><Relationship Id="rId2" Type="http://schemas.openxmlformats.org/officeDocument/2006/relationships/slideLayout" Target="../slideLayouts/slideLayout10.xml"/><Relationship Id="rId1" Type="http://schemas.openxmlformats.org/officeDocument/2006/relationships/tags" Target="../tags/tag153.xml"/><Relationship Id="rId6" Type="http://schemas.openxmlformats.org/officeDocument/2006/relationships/image" Target="../media/image88.png"/><Relationship Id="rId11" Type="http://schemas.openxmlformats.org/officeDocument/2006/relationships/image" Target="../media/image91.svg"/><Relationship Id="rId5" Type="http://schemas.openxmlformats.org/officeDocument/2006/relationships/image" Target="../media/image1.emf"/><Relationship Id="rId10" Type="http://schemas.openxmlformats.org/officeDocument/2006/relationships/image" Target="../media/image90.png"/><Relationship Id="rId4" Type="http://schemas.openxmlformats.org/officeDocument/2006/relationships/oleObject" Target="../embeddings/oleObject141.bin"/><Relationship Id="rId9" Type="http://schemas.openxmlformats.org/officeDocument/2006/relationships/image" Target="../media/image87.svg"/></Relationships>
</file>

<file path=ppt/slides/_rels/slide45.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notesSlide" Target="../notesSlides/notesSlide44.xml"/><Relationship Id="rId7" Type="http://schemas.openxmlformats.org/officeDocument/2006/relationships/image" Target="../media/image89.svg"/><Relationship Id="rId2" Type="http://schemas.openxmlformats.org/officeDocument/2006/relationships/slideLayout" Target="../slideLayouts/slideLayout10.xml"/><Relationship Id="rId1" Type="http://schemas.openxmlformats.org/officeDocument/2006/relationships/tags" Target="../tags/tag154.xml"/><Relationship Id="rId6" Type="http://schemas.openxmlformats.org/officeDocument/2006/relationships/image" Target="../media/image88.png"/><Relationship Id="rId11" Type="http://schemas.openxmlformats.org/officeDocument/2006/relationships/image" Target="../media/image87.svg"/><Relationship Id="rId5" Type="http://schemas.openxmlformats.org/officeDocument/2006/relationships/image" Target="../media/image1.emf"/><Relationship Id="rId10" Type="http://schemas.openxmlformats.org/officeDocument/2006/relationships/image" Target="../media/image86.png"/><Relationship Id="rId4" Type="http://schemas.openxmlformats.org/officeDocument/2006/relationships/oleObject" Target="../embeddings/oleObject142.bin"/><Relationship Id="rId9" Type="http://schemas.openxmlformats.org/officeDocument/2006/relationships/image" Target="../media/image91.sv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6.xml"/></Relationships>
</file>

<file path=ppt/slides/_rels/slide47.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notesSlide" Target="../notesSlides/notesSlide46.xml"/><Relationship Id="rId7" Type="http://schemas.openxmlformats.org/officeDocument/2006/relationships/image" Target="../media/image92.png"/><Relationship Id="rId2" Type="http://schemas.openxmlformats.org/officeDocument/2006/relationships/slideLayout" Target="../slideLayouts/slideLayout10.xml"/><Relationship Id="rId1" Type="http://schemas.openxmlformats.org/officeDocument/2006/relationships/tags" Target="../tags/tag155.xml"/><Relationship Id="rId6" Type="http://schemas.openxmlformats.org/officeDocument/2006/relationships/slide" Target="slide12.xml"/><Relationship Id="rId5" Type="http://schemas.openxmlformats.org/officeDocument/2006/relationships/image" Target="../media/image1.emf"/><Relationship Id="rId4" Type="http://schemas.openxmlformats.org/officeDocument/2006/relationships/oleObject" Target="../embeddings/oleObject143.bin"/></Relationships>
</file>

<file path=ppt/slides/_rels/slide48.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notesSlide" Target="../notesSlides/notesSlide47.xml"/><Relationship Id="rId7" Type="http://schemas.openxmlformats.org/officeDocument/2006/relationships/slide" Target="slide12.xml"/><Relationship Id="rId2" Type="http://schemas.openxmlformats.org/officeDocument/2006/relationships/slideLayout" Target="../slideLayouts/slideLayout10.xml"/><Relationship Id="rId1" Type="http://schemas.openxmlformats.org/officeDocument/2006/relationships/tags" Target="../tags/tag156.xml"/><Relationship Id="rId6" Type="http://schemas.openxmlformats.org/officeDocument/2006/relationships/image" Target="../media/image94.png"/><Relationship Id="rId5" Type="http://schemas.openxmlformats.org/officeDocument/2006/relationships/image" Target="../media/image1.emf"/><Relationship Id="rId4" Type="http://schemas.openxmlformats.org/officeDocument/2006/relationships/oleObject" Target="../embeddings/oleObject144.bin"/><Relationship Id="rId9" Type="http://schemas.openxmlformats.org/officeDocument/2006/relationships/image" Target="../media/image93.svg"/></Relationships>
</file>

<file path=ppt/slides/_rels/slide49.xml.rels><?xml version="1.0" encoding="UTF-8" standalone="yes"?>
<Relationships xmlns="http://schemas.openxmlformats.org/package/2006/relationships"><Relationship Id="rId8" Type="http://schemas.openxmlformats.org/officeDocument/2006/relationships/image" Target="../media/image96.jpeg"/><Relationship Id="rId3" Type="http://schemas.openxmlformats.org/officeDocument/2006/relationships/notesSlide" Target="../notesSlides/notesSlide48.xml"/><Relationship Id="rId7" Type="http://schemas.openxmlformats.org/officeDocument/2006/relationships/image" Target="../media/image95.png"/><Relationship Id="rId2" Type="http://schemas.openxmlformats.org/officeDocument/2006/relationships/slideLayout" Target="../slideLayouts/slideLayout46.xml"/><Relationship Id="rId1" Type="http://schemas.openxmlformats.org/officeDocument/2006/relationships/tags" Target="../tags/tag157.xml"/><Relationship Id="rId6" Type="http://schemas.openxmlformats.org/officeDocument/2006/relationships/hyperlink" Target="mailto:mvd-skole@aalborg.dk" TargetMode="External"/><Relationship Id="rId5" Type="http://schemas.openxmlformats.org/officeDocument/2006/relationships/image" Target="../media/image1.emf"/><Relationship Id="rId4" Type="http://schemas.openxmlformats.org/officeDocument/2006/relationships/oleObject" Target="../embeddings/oleObject145.bin"/></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18" Type="http://schemas.openxmlformats.org/officeDocument/2006/relationships/image" Target="../media/image38.png"/><Relationship Id="rId3" Type="http://schemas.openxmlformats.org/officeDocument/2006/relationships/notesSlide" Target="../notesSlides/notesSlide5.xml"/><Relationship Id="rId7" Type="http://schemas.openxmlformats.org/officeDocument/2006/relationships/image" Target="../media/image27.svg"/><Relationship Id="rId12" Type="http://schemas.openxmlformats.org/officeDocument/2006/relationships/image" Target="../media/image32.png"/><Relationship Id="rId17" Type="http://schemas.openxmlformats.org/officeDocument/2006/relationships/image" Target="../media/image37.svg"/><Relationship Id="rId2" Type="http://schemas.openxmlformats.org/officeDocument/2006/relationships/slideLayout" Target="../slideLayouts/slideLayout10.xml"/><Relationship Id="rId16" Type="http://schemas.openxmlformats.org/officeDocument/2006/relationships/image" Target="../media/image36.png"/><Relationship Id="rId1" Type="http://schemas.openxmlformats.org/officeDocument/2006/relationships/tags" Target="../tags/tag116.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1.emf"/><Relationship Id="rId15" Type="http://schemas.openxmlformats.org/officeDocument/2006/relationships/image" Target="../media/image35.svg"/><Relationship Id="rId10" Type="http://schemas.openxmlformats.org/officeDocument/2006/relationships/image" Target="../media/image30.png"/><Relationship Id="rId19" Type="http://schemas.openxmlformats.org/officeDocument/2006/relationships/image" Target="../media/image39.svg"/><Relationship Id="rId4" Type="http://schemas.openxmlformats.org/officeDocument/2006/relationships/oleObject" Target="../embeddings/oleObject115.bin"/><Relationship Id="rId9" Type="http://schemas.openxmlformats.org/officeDocument/2006/relationships/image" Target="../media/image29.svg"/><Relationship Id="rId14" Type="http://schemas.openxmlformats.org/officeDocument/2006/relationships/image" Target="../media/image3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44.png"/><Relationship Id="rId18" Type="http://schemas.openxmlformats.org/officeDocument/2006/relationships/slide" Target="slide11.xml"/><Relationship Id="rId26" Type="http://schemas.openxmlformats.org/officeDocument/2006/relationships/image" Target="../media/image55.svg"/><Relationship Id="rId3" Type="http://schemas.openxmlformats.org/officeDocument/2006/relationships/notesSlide" Target="../notesSlides/notesSlide6.xml"/><Relationship Id="rId21" Type="http://schemas.openxmlformats.org/officeDocument/2006/relationships/image" Target="../media/image50.png"/><Relationship Id="rId7" Type="http://schemas.openxmlformats.org/officeDocument/2006/relationships/image" Target="../media/image40.png"/><Relationship Id="rId12" Type="http://schemas.openxmlformats.org/officeDocument/2006/relationships/slide" Target="slide12.xml"/><Relationship Id="rId17" Type="http://schemas.openxmlformats.org/officeDocument/2006/relationships/image" Target="../media/image47.svg"/><Relationship Id="rId25" Type="http://schemas.openxmlformats.org/officeDocument/2006/relationships/image" Target="../media/image54.png"/><Relationship Id="rId2" Type="http://schemas.openxmlformats.org/officeDocument/2006/relationships/slideLayout" Target="../slideLayouts/slideLayout10.xml"/><Relationship Id="rId16" Type="http://schemas.openxmlformats.org/officeDocument/2006/relationships/image" Target="../media/image46.png"/><Relationship Id="rId20" Type="http://schemas.openxmlformats.org/officeDocument/2006/relationships/image" Target="../media/image49.svg"/><Relationship Id="rId29" Type="http://schemas.openxmlformats.org/officeDocument/2006/relationships/image" Target="../media/image58.png"/><Relationship Id="rId1" Type="http://schemas.openxmlformats.org/officeDocument/2006/relationships/tags" Target="../tags/tag117.xml"/><Relationship Id="rId6" Type="http://schemas.openxmlformats.org/officeDocument/2006/relationships/slide" Target="slide8.xml"/><Relationship Id="rId11" Type="http://schemas.openxmlformats.org/officeDocument/2006/relationships/image" Target="../media/image43.svg"/><Relationship Id="rId24" Type="http://schemas.openxmlformats.org/officeDocument/2006/relationships/image" Target="../media/image53.svg"/><Relationship Id="rId5" Type="http://schemas.openxmlformats.org/officeDocument/2006/relationships/image" Target="../media/image1.emf"/><Relationship Id="rId15" Type="http://schemas.openxmlformats.org/officeDocument/2006/relationships/slide" Target="slide9.xml"/><Relationship Id="rId23" Type="http://schemas.openxmlformats.org/officeDocument/2006/relationships/image" Target="../media/image52.png"/><Relationship Id="rId28" Type="http://schemas.openxmlformats.org/officeDocument/2006/relationships/image" Target="../media/image57.svg"/><Relationship Id="rId10" Type="http://schemas.openxmlformats.org/officeDocument/2006/relationships/image" Target="../media/image42.png"/><Relationship Id="rId19" Type="http://schemas.openxmlformats.org/officeDocument/2006/relationships/image" Target="../media/image48.png"/><Relationship Id="rId4" Type="http://schemas.openxmlformats.org/officeDocument/2006/relationships/oleObject" Target="../embeddings/oleObject116.bin"/><Relationship Id="rId9" Type="http://schemas.openxmlformats.org/officeDocument/2006/relationships/slide" Target="slide10.xml"/><Relationship Id="rId14" Type="http://schemas.openxmlformats.org/officeDocument/2006/relationships/image" Target="../media/image45.svg"/><Relationship Id="rId22" Type="http://schemas.openxmlformats.org/officeDocument/2006/relationships/image" Target="../media/image51.svg"/><Relationship Id="rId27" Type="http://schemas.openxmlformats.org/officeDocument/2006/relationships/image" Target="../media/image56.png"/><Relationship Id="rId30" Type="http://schemas.openxmlformats.org/officeDocument/2006/relationships/image" Target="../media/image59.svg"/></Relationships>
</file>

<file path=ppt/slides/_rels/slide8.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notesSlide" Target="../notesSlides/notesSlide7.xml"/><Relationship Id="rId7"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tags" Target="../tags/tag118.xml"/><Relationship Id="rId6" Type="http://schemas.openxmlformats.org/officeDocument/2006/relationships/oleObject" Target="../embeddings/oleObject117.bin"/><Relationship Id="rId5" Type="http://schemas.openxmlformats.org/officeDocument/2006/relationships/image" Target="../media/image61.svg"/><Relationship Id="rId4" Type="http://schemas.openxmlformats.org/officeDocument/2006/relationships/image" Target="../media/image60.png"/><Relationship Id="rId9" Type="http://schemas.openxmlformats.org/officeDocument/2006/relationships/image" Target="../media/image63.svg"/></Relationships>
</file>

<file path=ppt/slides/_rels/slide9.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notesSlide" Target="../notesSlides/notesSlide8.xml"/><Relationship Id="rId7"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tags" Target="../tags/tag119.xml"/><Relationship Id="rId6" Type="http://schemas.openxmlformats.org/officeDocument/2006/relationships/oleObject" Target="../embeddings/oleObject118.bin"/><Relationship Id="rId5" Type="http://schemas.openxmlformats.org/officeDocument/2006/relationships/image" Target="../media/image65.svg"/><Relationship Id="rId10" Type="http://schemas.openxmlformats.org/officeDocument/2006/relationships/slide" Target="slide47.xml"/><Relationship Id="rId4" Type="http://schemas.openxmlformats.org/officeDocument/2006/relationships/image" Target="../media/image64.png"/><Relationship Id="rId9" Type="http://schemas.openxmlformats.org/officeDocument/2006/relationships/image" Target="../media/image6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0F48D4C5-1072-4C2B-B28F-27F7928A6DA6}"/>
              </a:ext>
            </a:extLst>
          </p:cNvPr>
          <p:cNvPicPr>
            <a:picLocks noChangeAspect="1"/>
          </p:cNvPicPr>
          <p:nvPr/>
        </p:nvPicPr>
        <p:blipFill>
          <a:blip r:embed="rId4"/>
          <a:srcRect t="7804" b="7804"/>
          <a:stretch/>
        </p:blipFill>
        <p:spPr>
          <a:xfrm>
            <a:off x="0" y="0"/>
            <a:ext cx="12187592" cy="6858000"/>
          </a:xfrm>
          <a:prstGeom prst="rect">
            <a:avLst/>
          </a:prstGeom>
        </p:spPr>
      </p:pic>
      <p:sp>
        <p:nvSpPr>
          <p:cNvPr id="2" name="Rectangle 1">
            <a:extLst>
              <a:ext uri="{FF2B5EF4-FFF2-40B4-BE49-F238E27FC236}">
                <a16:creationId xmlns:a16="http://schemas.microsoft.com/office/drawing/2014/main" id="{40C3DDA9-2CF0-DE85-AA98-701908827C49}"/>
              </a:ext>
            </a:extLst>
          </p:cNvPr>
          <p:cNvSpPr/>
          <p:nvPr/>
        </p:nvSpPr>
        <p:spPr>
          <a:xfrm>
            <a:off x="0" y="0"/>
            <a:ext cx="12187592" cy="68580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graphicFrame>
        <p:nvGraphicFramePr>
          <p:cNvPr id="4" name="Object 3" hidden="1">
            <a:extLst>
              <a:ext uri="{FF2B5EF4-FFF2-40B4-BE49-F238E27FC236}">
                <a16:creationId xmlns:a16="http://schemas.microsoft.com/office/drawing/2014/main" id="{55F73888-6420-44B3-8CC8-CF3156B09B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55F73888-6420-44B3-8CC8-CF3156B09B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Logo">
            <a:extLst>
              <a:ext uri="{FF2B5EF4-FFF2-40B4-BE49-F238E27FC236}">
                <a16:creationId xmlns:a16="http://schemas.microsoft.com/office/drawing/2014/main" id="{C5C276D7-28C6-4B24-A698-2835D220F3C0}"/>
              </a:ext>
            </a:extLst>
          </p:cNvPr>
          <p:cNvPicPr>
            <a:picLocks noChangeAspect="1"/>
          </p:cNvPicPr>
          <p:nvPr/>
        </p:nvPicPr>
        <p:blipFill rotWithShape="1">
          <a:blip r:embed="rId7">
            <a:extLst>
              <a:ext uri="{28A0092B-C50C-407E-A947-70E740481C1C}">
                <a14:useLocalDpi xmlns:a14="http://schemas.microsoft.com/office/drawing/2010/main" val="0"/>
              </a:ext>
            </a:extLst>
          </a:blip>
          <a:srcRect r="40318"/>
          <a:stretch/>
        </p:blipFill>
        <p:spPr>
          <a:xfrm>
            <a:off x="779107" y="6009015"/>
            <a:ext cx="1221842" cy="256209"/>
          </a:xfrm>
          <a:prstGeom prst="rect">
            <a:avLst/>
          </a:prstGeom>
        </p:spPr>
      </p:pic>
      <p:sp>
        <p:nvSpPr>
          <p:cNvPr id="9" name="TextBox 8">
            <a:extLst>
              <a:ext uri="{FF2B5EF4-FFF2-40B4-BE49-F238E27FC236}">
                <a16:creationId xmlns:a16="http://schemas.microsoft.com/office/drawing/2014/main" id="{53EEA5E1-87DC-4386-846F-97C024B4B09C}"/>
              </a:ext>
            </a:extLst>
          </p:cNvPr>
          <p:cNvSpPr txBox="1"/>
          <p:nvPr/>
        </p:nvSpPr>
        <p:spPr>
          <a:xfrm>
            <a:off x="857717" y="4308863"/>
            <a:ext cx="10476565" cy="1335419"/>
          </a:xfrm>
          <a:prstGeom prst="rect">
            <a:avLst/>
          </a:prstGeom>
          <a:solidFill>
            <a:schemeClr val="tx2"/>
          </a:solidFill>
          <a:ln w="28575">
            <a:noFill/>
          </a:ln>
        </p:spPr>
        <p:txBody>
          <a:bodyPr wrap="square" lIns="0" tIns="0" rIns="0" bIns="0" rtlCol="0" anchor="ctr">
            <a:noAutofit/>
          </a:bodyPr>
          <a:lstStyle/>
          <a:p>
            <a:pPr algn="ctr"/>
            <a:r>
              <a:rPr lang="da-DK" sz="4000" b="1">
                <a:solidFill>
                  <a:schemeClr val="bg2"/>
                </a:solidFill>
                <a:latin typeface="Amatic SC" panose="00000500000000000000" pitchFamily="2" charset="-79"/>
                <a:cs typeface="Amatic SC" panose="00000500000000000000" pitchFamily="2" charset="-79"/>
              </a:rPr>
              <a:t>Den Mangfoldige Folkeskole i Nordjylland</a:t>
            </a:r>
            <a:endParaRPr lang="da-DK" sz="1400" b="1">
              <a:solidFill>
                <a:schemeClr val="bg2"/>
              </a:solidFill>
              <a:latin typeface="Amatic SC" panose="00000500000000000000" pitchFamily="2" charset="-79"/>
              <a:cs typeface="Amatic SC" panose="00000500000000000000" pitchFamily="2" charset="-79"/>
            </a:endParaRPr>
          </a:p>
          <a:p>
            <a:pPr algn="ctr"/>
            <a:r>
              <a:rPr lang="da-DK" sz="2800" b="1">
                <a:solidFill>
                  <a:schemeClr val="bg1"/>
                </a:solidFill>
                <a:latin typeface="Amatic SC" panose="00000500000000000000" pitchFamily="2" charset="-79"/>
                <a:cs typeface="Amatic SC" panose="00000500000000000000" pitchFamily="2" charset="-79"/>
              </a:rPr>
              <a:t>Inspirationspakke 2023</a:t>
            </a:r>
          </a:p>
        </p:txBody>
      </p:sp>
      <p:sp>
        <p:nvSpPr>
          <p:cNvPr id="95" name="Google Shape;438;p8">
            <a:extLst>
              <a:ext uri="{FF2B5EF4-FFF2-40B4-BE49-F238E27FC236}">
                <a16:creationId xmlns:a16="http://schemas.microsoft.com/office/drawing/2014/main" id="{C8A1E9DA-0367-D683-9A7C-E1EA8CDD29BB}"/>
              </a:ext>
            </a:extLst>
          </p:cNvPr>
          <p:cNvSpPr/>
          <p:nvPr/>
        </p:nvSpPr>
        <p:spPr>
          <a:xfrm>
            <a:off x="9784321" y="5031725"/>
            <a:ext cx="375705" cy="529949"/>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chemeClr val="bg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96" name="Google Shape;439;p8">
            <a:extLst>
              <a:ext uri="{FF2B5EF4-FFF2-40B4-BE49-F238E27FC236}">
                <a16:creationId xmlns:a16="http://schemas.microsoft.com/office/drawing/2014/main" id="{BADA1BA0-05F4-E790-CB45-BCD75F152DE3}"/>
              </a:ext>
            </a:extLst>
          </p:cNvPr>
          <p:cNvSpPr/>
          <p:nvPr/>
        </p:nvSpPr>
        <p:spPr>
          <a:xfrm>
            <a:off x="10964309" y="4164522"/>
            <a:ext cx="452115" cy="413216"/>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chemeClr val="bg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98" name="Google Shape;441;p8">
            <a:extLst>
              <a:ext uri="{FF2B5EF4-FFF2-40B4-BE49-F238E27FC236}">
                <a16:creationId xmlns:a16="http://schemas.microsoft.com/office/drawing/2014/main" id="{EA0A1E8D-C991-6A66-FC11-DE833402C762}"/>
              </a:ext>
            </a:extLst>
          </p:cNvPr>
          <p:cNvSpPr/>
          <p:nvPr/>
        </p:nvSpPr>
        <p:spPr>
          <a:xfrm rot="19632691">
            <a:off x="8915508" y="5436135"/>
            <a:ext cx="189539" cy="416295"/>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chemeClr val="bg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04" name="Google Shape;447;p8">
            <a:extLst>
              <a:ext uri="{FF2B5EF4-FFF2-40B4-BE49-F238E27FC236}">
                <a16:creationId xmlns:a16="http://schemas.microsoft.com/office/drawing/2014/main" id="{F78D0E4E-499F-EBDB-2641-C735393FB6B4}"/>
              </a:ext>
            </a:extLst>
          </p:cNvPr>
          <p:cNvSpPr/>
          <p:nvPr/>
        </p:nvSpPr>
        <p:spPr>
          <a:xfrm rot="2198047">
            <a:off x="1126436" y="5064820"/>
            <a:ext cx="186975" cy="489407"/>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chemeClr val="bg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06" name="Google Shape;449;p8">
            <a:extLst>
              <a:ext uri="{FF2B5EF4-FFF2-40B4-BE49-F238E27FC236}">
                <a16:creationId xmlns:a16="http://schemas.microsoft.com/office/drawing/2014/main" id="{8719FD17-3F3A-2F48-9BF5-B51615599829}"/>
              </a:ext>
            </a:extLst>
          </p:cNvPr>
          <p:cNvSpPr/>
          <p:nvPr/>
        </p:nvSpPr>
        <p:spPr>
          <a:xfrm>
            <a:off x="10042361" y="4066554"/>
            <a:ext cx="418847" cy="466069"/>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chemeClr val="bg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07" name="Google Shape;450;p8">
            <a:extLst>
              <a:ext uri="{FF2B5EF4-FFF2-40B4-BE49-F238E27FC236}">
                <a16:creationId xmlns:a16="http://schemas.microsoft.com/office/drawing/2014/main" id="{4A560586-384E-40FB-3C11-3EFDEEF709DE}"/>
              </a:ext>
            </a:extLst>
          </p:cNvPr>
          <p:cNvSpPr/>
          <p:nvPr/>
        </p:nvSpPr>
        <p:spPr>
          <a:xfrm>
            <a:off x="10461465" y="4703630"/>
            <a:ext cx="418331" cy="474781"/>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chemeClr val="bg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08" name="Google Shape;451;p8">
            <a:extLst>
              <a:ext uri="{FF2B5EF4-FFF2-40B4-BE49-F238E27FC236}">
                <a16:creationId xmlns:a16="http://schemas.microsoft.com/office/drawing/2014/main" id="{25EA4B2B-9B88-BB26-D148-45C5923B9BC1}"/>
              </a:ext>
            </a:extLst>
          </p:cNvPr>
          <p:cNvSpPr/>
          <p:nvPr/>
        </p:nvSpPr>
        <p:spPr>
          <a:xfrm rot="20611626">
            <a:off x="1267843" y="4429158"/>
            <a:ext cx="527811" cy="426833"/>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chemeClr val="bg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10" name="Google Shape;453;p8">
            <a:extLst>
              <a:ext uri="{FF2B5EF4-FFF2-40B4-BE49-F238E27FC236}">
                <a16:creationId xmlns:a16="http://schemas.microsoft.com/office/drawing/2014/main" id="{10C9682A-8DF8-EDAF-568C-2B25F6A73CBF}"/>
              </a:ext>
            </a:extLst>
          </p:cNvPr>
          <p:cNvSpPr/>
          <p:nvPr/>
        </p:nvSpPr>
        <p:spPr>
          <a:xfrm>
            <a:off x="2052601" y="5025805"/>
            <a:ext cx="435525" cy="490389"/>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chemeClr val="bg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14" name="Google Shape;457;p8">
            <a:extLst>
              <a:ext uri="{FF2B5EF4-FFF2-40B4-BE49-F238E27FC236}">
                <a16:creationId xmlns:a16="http://schemas.microsoft.com/office/drawing/2014/main" id="{42E48DC4-BE98-C222-AD5E-B3955431CE31}"/>
              </a:ext>
            </a:extLst>
          </p:cNvPr>
          <p:cNvSpPr/>
          <p:nvPr/>
        </p:nvSpPr>
        <p:spPr>
          <a:xfrm>
            <a:off x="10964309" y="5285260"/>
            <a:ext cx="536029" cy="315300"/>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chemeClr val="bg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24" name="Google Shape;471;p8">
            <a:extLst>
              <a:ext uri="{FF2B5EF4-FFF2-40B4-BE49-F238E27FC236}">
                <a16:creationId xmlns:a16="http://schemas.microsoft.com/office/drawing/2014/main" id="{7DCFB33B-79D1-7A8E-EABE-2B1A408F86D2}"/>
              </a:ext>
            </a:extLst>
          </p:cNvPr>
          <p:cNvSpPr/>
          <p:nvPr/>
        </p:nvSpPr>
        <p:spPr>
          <a:xfrm>
            <a:off x="3279666" y="5343054"/>
            <a:ext cx="555516" cy="346279"/>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chemeClr val="bg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26" name="Google Shape;473;p8">
            <a:extLst>
              <a:ext uri="{FF2B5EF4-FFF2-40B4-BE49-F238E27FC236}">
                <a16:creationId xmlns:a16="http://schemas.microsoft.com/office/drawing/2014/main" id="{397DB7AB-C4E0-D4F4-3689-DA96DE31283C}"/>
              </a:ext>
            </a:extLst>
          </p:cNvPr>
          <p:cNvSpPr/>
          <p:nvPr/>
        </p:nvSpPr>
        <p:spPr>
          <a:xfrm>
            <a:off x="2133786" y="4075734"/>
            <a:ext cx="431481" cy="542486"/>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chemeClr val="bg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Tree>
    <p:extLst>
      <p:ext uri="{BB962C8B-B14F-4D97-AF65-F5344CB8AC3E}">
        <p14:creationId xmlns:p14="http://schemas.microsoft.com/office/powerpoint/2010/main" val="23971718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10</a:t>
            </a:fld>
            <a:endParaRPr lang="da-DK"/>
          </a:p>
        </p:txBody>
      </p:sp>
      <p:sp>
        <p:nvSpPr>
          <p:cNvPr id="12" name="Google Shape;843;p29">
            <a:extLst>
              <a:ext uri="{FF2B5EF4-FFF2-40B4-BE49-F238E27FC236}">
                <a16:creationId xmlns:a16="http://schemas.microsoft.com/office/drawing/2014/main" id="{7863966F-5A3D-4358-A359-6A15BA528247}"/>
              </a:ext>
            </a:extLst>
          </p:cNvPr>
          <p:cNvSpPr/>
          <p:nvPr/>
        </p:nvSpPr>
        <p:spPr>
          <a:xfrm>
            <a:off x="0" y="347677"/>
            <a:ext cx="12192000" cy="856671"/>
          </a:xfrm>
          <a:prstGeom prst="rect">
            <a:avLst/>
          </a:prstGeom>
          <a:solidFill>
            <a:schemeClr val="accent4"/>
          </a:solidFill>
          <a:ln>
            <a:noFill/>
          </a:ln>
        </p:spPr>
        <p:txBody>
          <a:bodyPr spcFirstLastPara="1" wrap="square" lIns="91425" tIns="0" rIns="91425" bIns="0" anchor="ctr" anchorCtr="0">
            <a:noAutofit/>
          </a:bodyPr>
          <a:lstStyle/>
          <a:p>
            <a:pPr marL="0" lvl="0" indent="0" algn="ctr">
              <a:spcBef>
                <a:spcPts val="0"/>
              </a:spcBef>
              <a:spcAft>
                <a:spcPts val="0"/>
              </a:spcAft>
              <a:buNone/>
            </a:pPr>
            <a:r>
              <a:rPr lang="da-DK" sz="4000" b="1">
                <a:solidFill>
                  <a:schemeClr val="bg1"/>
                </a:solidFill>
                <a:latin typeface="Amatic SC"/>
                <a:ea typeface="Amatic SC"/>
                <a:cs typeface="Amatic SC"/>
                <a:sym typeface="Amatic SC"/>
              </a:rPr>
              <a:t>Elevcitater</a:t>
            </a:r>
            <a:endParaRPr lang="da-DK" sz="3600" b="1">
              <a:solidFill>
                <a:schemeClr val="bg1"/>
              </a:solidFill>
              <a:latin typeface="Amatic SC"/>
              <a:ea typeface="Amatic SC"/>
              <a:cs typeface="Amatic SC"/>
              <a:sym typeface="Amatic SC"/>
            </a:endParaRPr>
          </a:p>
        </p:txBody>
      </p:sp>
      <p:sp>
        <p:nvSpPr>
          <p:cNvPr id="6" name="Google Shape;847;p29">
            <a:extLst>
              <a:ext uri="{FF2B5EF4-FFF2-40B4-BE49-F238E27FC236}">
                <a16:creationId xmlns:a16="http://schemas.microsoft.com/office/drawing/2014/main" id="{2AB896AF-D93D-00CE-FBF5-6F0E097DBC2D}"/>
              </a:ext>
            </a:extLst>
          </p:cNvPr>
          <p:cNvSpPr txBox="1"/>
          <p:nvPr/>
        </p:nvSpPr>
        <p:spPr>
          <a:xfrm>
            <a:off x="901243" y="1682257"/>
            <a:ext cx="6832596" cy="4828066"/>
          </a:xfrm>
          <a:prstGeom prst="rect">
            <a:avLst/>
          </a:prstGeom>
          <a:noFill/>
          <a:ln>
            <a:noFill/>
          </a:ln>
        </p:spPr>
        <p:txBody>
          <a:bodyPr spcFirstLastPara="1" wrap="square" lIns="0" tIns="180000" rIns="0" bIns="0" anchor="t" anchorCtr="0">
            <a:noAutofit/>
          </a:bodyPr>
          <a:lstStyle/>
          <a:p>
            <a:r>
              <a:rPr lang="da-DK" sz="1500" b="1">
                <a:latin typeface="Quicksand" panose="020B0604020202020204" charset="0"/>
                <a:ea typeface="Quicksand"/>
                <a:cs typeface="Quicksand" panose="020B0604020202020204" charset="0"/>
                <a:sym typeface="Quicksand"/>
              </a:rPr>
              <a:t>Forslag til proces: </a:t>
            </a:r>
          </a:p>
          <a:p>
            <a:endParaRPr lang="da-DK" sz="1500">
              <a:latin typeface="Quicksand" panose="020B0604020202020204" charset="0"/>
              <a:ea typeface="Quicksand"/>
              <a:cs typeface="Quicksand" panose="020B0604020202020204" charset="0"/>
              <a:sym typeface="Quicksand"/>
            </a:endParaRPr>
          </a:p>
          <a:p>
            <a:pPr marL="457200"/>
            <a:r>
              <a:rPr lang="da-DK" sz="1500">
                <a:latin typeface="Quicksand" panose="020B0604020202020204" charset="0"/>
                <a:ea typeface="Quicksand"/>
                <a:cs typeface="Quicksand" panose="020B0604020202020204" charset="0"/>
                <a:sym typeface="Quicksand"/>
              </a:rPr>
              <a:t>Skoleledelsen præsenter </a:t>
            </a:r>
            <a:r>
              <a:rPr lang="da-DK" sz="1500">
                <a:latin typeface="Quicksand" panose="020B0604020202020204" charset="0"/>
                <a:ea typeface="Quicksand"/>
                <a:cs typeface="Quicksand" panose="020B0604020202020204" charset="0"/>
                <a:sym typeface="Quicksand"/>
                <a:hlinkClick r:id="rId6" action="ppaction://hlinksldjump">
                  <a:extLst>
                    <a:ext uri="{A12FA001-AC4F-418D-AE19-62706E023703}">
                      <ahyp:hlinkClr xmlns:ahyp="http://schemas.microsoft.com/office/drawing/2018/hyperlinkcolor" val="tx"/>
                    </a:ext>
                  </a:extLst>
                </a:hlinkClick>
              </a:rPr>
              <a:t>elevernes perspektiver på læringsmiljøer med deltagelsesmuligheder for alle</a:t>
            </a:r>
            <a:r>
              <a:rPr lang="da-DK" sz="1500">
                <a:solidFill>
                  <a:srgbClr val="6611CC"/>
                </a:solidFill>
                <a:latin typeface="Quicksand" panose="020B0604020202020204" charset="0"/>
                <a:ea typeface="Quicksand"/>
                <a:cs typeface="Quicksand" panose="020B0604020202020204" charset="0"/>
                <a:sym typeface="Quicksand"/>
                <a:hlinkClick r:id="rId6" action="ppaction://hlinksldjump">
                  <a:extLst>
                    <a:ext uri="{A12FA001-AC4F-418D-AE19-62706E023703}">
                      <ahyp:hlinkClr xmlns:ahyp="http://schemas.microsoft.com/office/drawing/2018/hyperlinkcolor" val="tx"/>
                    </a:ext>
                  </a:extLst>
                </a:hlinkClick>
              </a:rPr>
              <a:t>. </a:t>
            </a:r>
            <a:endParaRPr lang="da-DK" sz="1500">
              <a:latin typeface="Quicksand" panose="020B0604020202020204" charset="0"/>
              <a:ea typeface="Quicksand"/>
              <a:cs typeface="Quicksand" panose="020B0604020202020204" charset="0"/>
              <a:sym typeface="Quicksand"/>
            </a:endParaRPr>
          </a:p>
          <a:p>
            <a:pPr marL="457200"/>
            <a:endParaRPr lang="da-DK" sz="1500">
              <a:latin typeface="Quicksand" panose="020B0604020202020204" charset="0"/>
              <a:ea typeface="Quicksand"/>
              <a:cs typeface="Quicksand" panose="020B0604020202020204" charset="0"/>
              <a:sym typeface="Quicksand"/>
            </a:endParaRPr>
          </a:p>
          <a:p>
            <a:pPr marL="457200"/>
            <a:r>
              <a:rPr lang="da-DK" sz="1500">
                <a:latin typeface="Quicksand" panose="020B0604020202020204" charset="0"/>
                <a:ea typeface="Quicksand"/>
                <a:cs typeface="Quicksand" panose="020B0604020202020204" charset="0"/>
                <a:sym typeface="Quicksand"/>
              </a:rPr>
              <a:t>Efter præsentationen går hvert team på opdagelse i elevcitaterne og skolerapporten og drøfter:</a:t>
            </a:r>
          </a:p>
          <a:p>
            <a:pPr marL="576000" lvl="1" indent="-144000">
              <a:buFont typeface="Arial" panose="020B0604020202020204" pitchFamily="34" charset="0"/>
              <a:buChar char="•"/>
            </a:pPr>
            <a:r>
              <a:rPr lang="da-DK" sz="1500">
                <a:latin typeface="Quicksand" panose="020B0604020202020204" charset="0"/>
                <a:ea typeface="Quicksand"/>
                <a:cs typeface="Quicksand" panose="020B0604020202020204" charset="0"/>
                <a:sym typeface="Quicksand"/>
              </a:rPr>
              <a:t>Hvad bliver I særligt nysgerrige på?</a:t>
            </a:r>
          </a:p>
          <a:p>
            <a:pPr marL="576000" lvl="1" indent="-144000">
              <a:buFont typeface="Arial" panose="020B0604020202020204" pitchFamily="34" charset="0"/>
              <a:buChar char="•"/>
            </a:pPr>
            <a:r>
              <a:rPr lang="da-DK" sz="1500">
                <a:latin typeface="Quicksand" panose="020B0604020202020204" charset="0"/>
                <a:ea typeface="Quicksand"/>
                <a:cs typeface="Quicksand" panose="020B0604020202020204" charset="0"/>
                <a:sym typeface="Quicksand"/>
              </a:rPr>
              <a:t>Er der noget, der særligt overrasker jer?</a:t>
            </a:r>
          </a:p>
          <a:p>
            <a:pPr marL="576000" lvl="1" indent="-144000">
              <a:buFont typeface="Arial" panose="020B0604020202020204" pitchFamily="34" charset="0"/>
              <a:buChar char="•"/>
            </a:pPr>
            <a:r>
              <a:rPr lang="da-DK" sz="1500">
                <a:latin typeface="Quicksand" panose="020B0604020202020204" charset="0"/>
                <a:ea typeface="Quicksand"/>
                <a:cs typeface="Quicksand" panose="020B0604020202020204" charset="0"/>
                <a:sym typeface="Quicksand"/>
              </a:rPr>
              <a:t>Hvad stemmer overens med/udfordrer jeres forståelse?</a:t>
            </a:r>
          </a:p>
          <a:p>
            <a:pPr marL="576000" lvl="1" indent="-144000">
              <a:buFont typeface="Arial" panose="020B0604020202020204" pitchFamily="34" charset="0"/>
              <a:buChar char="•"/>
            </a:pPr>
            <a:r>
              <a:rPr lang="da-DK" sz="1500">
                <a:latin typeface="Quicksand" panose="020B0604020202020204" charset="0"/>
                <a:ea typeface="Quicksand"/>
                <a:cs typeface="Quicksand" panose="020B0604020202020204" charset="0"/>
                <a:sym typeface="Quicksand"/>
              </a:rPr>
              <a:t>Hvordan kan I som team arbejde med at bringe jeres elevers perspektiver frem?</a:t>
            </a:r>
          </a:p>
          <a:p>
            <a:pPr marL="576000" lvl="1" indent="-144000">
              <a:buFont typeface="Arial" panose="020B0604020202020204" pitchFamily="34" charset="0"/>
              <a:buChar char="•"/>
            </a:pPr>
            <a:r>
              <a:rPr lang="da-DK" sz="1500">
                <a:latin typeface="Quicksand" panose="020B0604020202020204" charset="0"/>
                <a:ea typeface="Quicksand"/>
                <a:cs typeface="Quicksand" panose="020B0604020202020204" charset="0"/>
                <a:sym typeface="Quicksand"/>
              </a:rPr>
              <a:t>Hvordan inspirerer elevperspektiverne jeres arbejde med at skabe deltagelsesmuligheder for alle?</a:t>
            </a:r>
          </a:p>
          <a:p>
            <a:pPr marL="914400" lvl="1" indent="-285750">
              <a:buFont typeface="Arial" panose="020B0604020202020204" pitchFamily="34" charset="0"/>
              <a:buChar char="•"/>
            </a:pPr>
            <a:endParaRPr lang="da-DK" sz="1500">
              <a:latin typeface="Quicksand" panose="020B0604020202020204" charset="0"/>
              <a:ea typeface="Quicksand"/>
              <a:cs typeface="Quicksand" panose="020B0604020202020204" charset="0"/>
              <a:sym typeface="Quicksand"/>
            </a:endParaRPr>
          </a:p>
          <a:p>
            <a:pPr marL="457200"/>
            <a:r>
              <a:rPr lang="da-DK" sz="1500">
                <a:latin typeface="Quicksand" panose="020B0604020202020204" charset="0"/>
                <a:ea typeface="Quicksand"/>
                <a:cs typeface="Quicksand" panose="020B0604020202020204" charset="0"/>
                <a:sym typeface="Quicksand"/>
              </a:rPr>
              <a:t>Med afsæt i drøftelserne taler hvert team om, hvilke næste skridt drøftelserne giver anledning til i arbejdet med Den Mangfoldige Folkeskole, og aftaler, hvem der gør hvad. </a:t>
            </a:r>
          </a:p>
          <a:p>
            <a:pPr marL="457200" indent="-285750">
              <a:buFont typeface="Arial" panose="020B0604020202020204" pitchFamily="34" charset="0"/>
              <a:buChar char="•"/>
            </a:pPr>
            <a:endParaRPr lang="da-DK" sz="1500">
              <a:latin typeface="Quicksand" panose="020B0604020202020204" charset="0"/>
              <a:ea typeface="Quicksand"/>
              <a:cs typeface="Quicksand" panose="020B0604020202020204" charset="0"/>
              <a:sym typeface="Quicksand"/>
            </a:endParaRPr>
          </a:p>
          <a:p>
            <a:pPr marL="457200"/>
            <a:endParaRPr lang="da-DK" sz="1500">
              <a:latin typeface="Quicksand" panose="020B0604020202020204" charset="0"/>
              <a:ea typeface="Quicksand"/>
              <a:cs typeface="Quicksand" panose="020B0604020202020204" charset="0"/>
              <a:sym typeface="Quicksand"/>
            </a:endParaRPr>
          </a:p>
        </p:txBody>
      </p:sp>
      <p:pic>
        <p:nvPicPr>
          <p:cNvPr id="2" name="Graphic 1" descr="Child with balloon with solid fill">
            <a:extLst>
              <a:ext uri="{FF2B5EF4-FFF2-40B4-BE49-F238E27FC236}">
                <a16:creationId xmlns:a16="http://schemas.microsoft.com/office/drawing/2014/main" id="{D6EBEAE4-AA6C-DFB4-8D70-E6FE4E36F49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97187" y="381785"/>
            <a:ext cx="749050" cy="749050"/>
          </a:xfrm>
          <a:prstGeom prst="rect">
            <a:avLst/>
          </a:prstGeom>
        </p:spPr>
      </p:pic>
      <p:sp>
        <p:nvSpPr>
          <p:cNvPr id="3" name="Oval 2">
            <a:extLst>
              <a:ext uri="{FF2B5EF4-FFF2-40B4-BE49-F238E27FC236}">
                <a16:creationId xmlns:a16="http://schemas.microsoft.com/office/drawing/2014/main" id="{465FC60F-2D91-298A-3D27-3233C8A8196C}"/>
              </a:ext>
            </a:extLst>
          </p:cNvPr>
          <p:cNvSpPr/>
          <p:nvPr/>
        </p:nvSpPr>
        <p:spPr>
          <a:xfrm>
            <a:off x="901241" y="2326640"/>
            <a:ext cx="345600" cy="345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latin typeface="Quicksand" panose="020B0604020202020204" charset="0"/>
                <a:cs typeface="Quicksand" panose="020B0604020202020204" charset="0"/>
              </a:rPr>
              <a:t>1</a:t>
            </a:r>
            <a:endParaRPr lang="da-DK" sz="2000" noProof="0">
              <a:latin typeface="Quicksand" panose="020B0604020202020204" charset="0"/>
              <a:cs typeface="Quicksand" panose="020B0604020202020204" charset="0"/>
            </a:endParaRPr>
          </a:p>
        </p:txBody>
      </p:sp>
      <p:sp>
        <p:nvSpPr>
          <p:cNvPr id="7" name="Oval 6">
            <a:extLst>
              <a:ext uri="{FF2B5EF4-FFF2-40B4-BE49-F238E27FC236}">
                <a16:creationId xmlns:a16="http://schemas.microsoft.com/office/drawing/2014/main" id="{EC31981D-3901-CFBA-7D00-80437B19F3F2}"/>
              </a:ext>
            </a:extLst>
          </p:cNvPr>
          <p:cNvSpPr/>
          <p:nvPr/>
        </p:nvSpPr>
        <p:spPr>
          <a:xfrm>
            <a:off x="901241" y="2961315"/>
            <a:ext cx="345600" cy="345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a:latin typeface="Quicksand" panose="020B0604020202020204" charset="0"/>
                <a:cs typeface="Quicksand" panose="020B0604020202020204" charset="0"/>
              </a:rPr>
              <a:t>2</a:t>
            </a:r>
            <a:endParaRPr lang="da-DK" sz="2000" noProof="0">
              <a:latin typeface="Quicksand" panose="020B0604020202020204" charset="0"/>
              <a:cs typeface="Quicksand" panose="020B0604020202020204" charset="0"/>
            </a:endParaRPr>
          </a:p>
        </p:txBody>
      </p:sp>
      <p:sp>
        <p:nvSpPr>
          <p:cNvPr id="8" name="Oval 7">
            <a:extLst>
              <a:ext uri="{FF2B5EF4-FFF2-40B4-BE49-F238E27FC236}">
                <a16:creationId xmlns:a16="http://schemas.microsoft.com/office/drawing/2014/main" id="{41E187D1-A8CB-D241-B1C0-A45935666F79}"/>
              </a:ext>
            </a:extLst>
          </p:cNvPr>
          <p:cNvSpPr/>
          <p:nvPr/>
        </p:nvSpPr>
        <p:spPr>
          <a:xfrm>
            <a:off x="901241" y="5003023"/>
            <a:ext cx="345600" cy="345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latin typeface="Quicksand" panose="020B0604020202020204" charset="0"/>
                <a:cs typeface="Quicksand" panose="020B0604020202020204" charset="0"/>
              </a:rPr>
              <a:t>3</a:t>
            </a:r>
            <a:endParaRPr lang="da-DK" sz="2000" noProof="0">
              <a:latin typeface="Quicksand" panose="020B0604020202020204" charset="0"/>
              <a:cs typeface="Quicksand" panose="020B0604020202020204" charset="0"/>
            </a:endParaRPr>
          </a:p>
        </p:txBody>
      </p:sp>
      <p:pic>
        <p:nvPicPr>
          <p:cNvPr id="13" name="Graphic 12">
            <a:extLst>
              <a:ext uri="{FF2B5EF4-FFF2-40B4-BE49-F238E27FC236}">
                <a16:creationId xmlns:a16="http://schemas.microsoft.com/office/drawing/2014/main" id="{3BA0848F-0E4B-E641-1E40-66CB2E9AF1F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40824" y="1770370"/>
            <a:ext cx="3698360" cy="2607229"/>
          </a:xfrm>
          <a:prstGeom prst="rect">
            <a:avLst/>
          </a:prstGeom>
        </p:spPr>
      </p:pic>
      <p:sp>
        <p:nvSpPr>
          <p:cNvPr id="14" name="Rectangle 13">
            <a:extLst>
              <a:ext uri="{FF2B5EF4-FFF2-40B4-BE49-F238E27FC236}">
                <a16:creationId xmlns:a16="http://schemas.microsoft.com/office/drawing/2014/main" id="{33310D55-2B7C-E022-3947-AC4122B01429}"/>
              </a:ext>
            </a:extLst>
          </p:cNvPr>
          <p:cNvSpPr/>
          <p:nvPr/>
        </p:nvSpPr>
        <p:spPr>
          <a:xfrm>
            <a:off x="8609883" y="2712996"/>
            <a:ext cx="2650313" cy="11347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200" b="1">
                <a:solidFill>
                  <a:schemeClr val="bg1"/>
                </a:solidFill>
                <a:latin typeface="Quicksand" panose="020B0604020202020204"/>
              </a:rPr>
              <a:t>Tip:</a:t>
            </a:r>
            <a:br>
              <a:rPr lang="da-DK" sz="1200" b="1">
                <a:solidFill>
                  <a:schemeClr val="bg1"/>
                </a:solidFill>
                <a:latin typeface="Quicksand" panose="020B0604020202020204"/>
              </a:rPr>
            </a:br>
            <a:r>
              <a:rPr lang="da-DK" sz="1200">
                <a:solidFill>
                  <a:schemeClr val="bg1"/>
                </a:solidFill>
                <a:latin typeface="Quicksand" panose="020B0604020202020204"/>
              </a:rPr>
              <a:t>I arbejdet med elevcitater kan I med fordel inddrage skolens lokale datarapport. </a:t>
            </a:r>
            <a:r>
              <a:rPr lang="da-DK" sz="1200">
                <a:solidFill>
                  <a:schemeClr val="bg1"/>
                </a:solidFill>
                <a:latin typeface="Quicksand" panose="020B0604020202020204" charset="0"/>
                <a:ea typeface="Quicksand"/>
                <a:cs typeface="Quicksand" panose="020B0604020202020204" charset="0"/>
                <a:sym typeface="Quicksand"/>
              </a:rPr>
              <a:t>Hvordan relaterer skolens egne resultater under temaet ”Inddragelse af elevernes perspektiver” sig til elevcitaterne?</a:t>
            </a:r>
          </a:p>
        </p:txBody>
      </p:sp>
      <p:sp>
        <p:nvSpPr>
          <p:cNvPr id="15" name="Google Shape;1251;p48">
            <a:extLst>
              <a:ext uri="{FF2B5EF4-FFF2-40B4-BE49-F238E27FC236}">
                <a16:creationId xmlns:a16="http://schemas.microsoft.com/office/drawing/2014/main" id="{7C06A0A9-85C8-4FAC-EED4-4CFE7C0991AB}"/>
              </a:ext>
            </a:extLst>
          </p:cNvPr>
          <p:cNvSpPr/>
          <p:nvPr/>
        </p:nvSpPr>
        <p:spPr>
          <a:xfrm>
            <a:off x="9751539" y="2131897"/>
            <a:ext cx="345681" cy="414830"/>
          </a:xfrm>
          <a:custGeom>
            <a:avLst/>
            <a:gdLst/>
            <a:ahLst/>
            <a:cxnLst/>
            <a:rect l="l" t="t" r="r" b="b"/>
            <a:pathLst>
              <a:path w="15817" h="18981" extrusionOk="0">
                <a:moveTo>
                  <a:pt x="11364" y="1"/>
                </a:moveTo>
                <a:lnTo>
                  <a:pt x="11242" y="25"/>
                </a:lnTo>
                <a:lnTo>
                  <a:pt x="11169" y="74"/>
                </a:lnTo>
                <a:lnTo>
                  <a:pt x="11096" y="171"/>
                </a:lnTo>
                <a:lnTo>
                  <a:pt x="10780" y="731"/>
                </a:lnTo>
                <a:lnTo>
                  <a:pt x="10634" y="999"/>
                </a:lnTo>
                <a:lnTo>
                  <a:pt x="10537" y="1315"/>
                </a:lnTo>
                <a:lnTo>
                  <a:pt x="10512" y="1388"/>
                </a:lnTo>
                <a:lnTo>
                  <a:pt x="10537" y="1461"/>
                </a:lnTo>
                <a:lnTo>
                  <a:pt x="10585" y="1534"/>
                </a:lnTo>
                <a:lnTo>
                  <a:pt x="10634" y="1583"/>
                </a:lnTo>
                <a:lnTo>
                  <a:pt x="10707" y="1607"/>
                </a:lnTo>
                <a:lnTo>
                  <a:pt x="10804" y="1631"/>
                </a:lnTo>
                <a:lnTo>
                  <a:pt x="10877" y="1607"/>
                </a:lnTo>
                <a:lnTo>
                  <a:pt x="10950" y="1558"/>
                </a:lnTo>
                <a:lnTo>
                  <a:pt x="11145" y="1315"/>
                </a:lnTo>
                <a:lnTo>
                  <a:pt x="11291" y="1047"/>
                </a:lnTo>
                <a:lnTo>
                  <a:pt x="11510" y="731"/>
                </a:lnTo>
                <a:lnTo>
                  <a:pt x="11583" y="682"/>
                </a:lnTo>
                <a:lnTo>
                  <a:pt x="11656" y="609"/>
                </a:lnTo>
                <a:lnTo>
                  <a:pt x="11705" y="463"/>
                </a:lnTo>
                <a:lnTo>
                  <a:pt x="11729" y="342"/>
                </a:lnTo>
                <a:lnTo>
                  <a:pt x="11705" y="220"/>
                </a:lnTo>
                <a:lnTo>
                  <a:pt x="11656" y="123"/>
                </a:lnTo>
                <a:lnTo>
                  <a:pt x="11583" y="50"/>
                </a:lnTo>
                <a:lnTo>
                  <a:pt x="11486" y="25"/>
                </a:lnTo>
                <a:lnTo>
                  <a:pt x="11461" y="1"/>
                </a:lnTo>
                <a:close/>
                <a:moveTo>
                  <a:pt x="3821" y="171"/>
                </a:moveTo>
                <a:lnTo>
                  <a:pt x="3748" y="196"/>
                </a:lnTo>
                <a:lnTo>
                  <a:pt x="3699" y="244"/>
                </a:lnTo>
                <a:lnTo>
                  <a:pt x="3651" y="317"/>
                </a:lnTo>
                <a:lnTo>
                  <a:pt x="3651" y="390"/>
                </a:lnTo>
                <a:lnTo>
                  <a:pt x="3651" y="463"/>
                </a:lnTo>
                <a:lnTo>
                  <a:pt x="3699" y="634"/>
                </a:lnTo>
                <a:lnTo>
                  <a:pt x="3772" y="804"/>
                </a:lnTo>
                <a:lnTo>
                  <a:pt x="3943" y="1120"/>
                </a:lnTo>
                <a:lnTo>
                  <a:pt x="4113" y="1461"/>
                </a:lnTo>
                <a:lnTo>
                  <a:pt x="4259" y="1802"/>
                </a:lnTo>
                <a:lnTo>
                  <a:pt x="4332" y="1923"/>
                </a:lnTo>
                <a:lnTo>
                  <a:pt x="4429" y="1996"/>
                </a:lnTo>
                <a:lnTo>
                  <a:pt x="4527" y="2021"/>
                </a:lnTo>
                <a:lnTo>
                  <a:pt x="4624" y="1996"/>
                </a:lnTo>
                <a:lnTo>
                  <a:pt x="4721" y="1972"/>
                </a:lnTo>
                <a:lnTo>
                  <a:pt x="4794" y="1899"/>
                </a:lnTo>
                <a:lnTo>
                  <a:pt x="4843" y="1777"/>
                </a:lnTo>
                <a:lnTo>
                  <a:pt x="4843" y="1656"/>
                </a:lnTo>
                <a:lnTo>
                  <a:pt x="4794" y="1461"/>
                </a:lnTo>
                <a:lnTo>
                  <a:pt x="4697" y="1266"/>
                </a:lnTo>
                <a:lnTo>
                  <a:pt x="4502" y="901"/>
                </a:lnTo>
                <a:lnTo>
                  <a:pt x="4283" y="536"/>
                </a:lnTo>
                <a:lnTo>
                  <a:pt x="4162" y="390"/>
                </a:lnTo>
                <a:lnTo>
                  <a:pt x="4040" y="244"/>
                </a:lnTo>
                <a:lnTo>
                  <a:pt x="3967" y="196"/>
                </a:lnTo>
                <a:lnTo>
                  <a:pt x="3894" y="171"/>
                </a:lnTo>
                <a:close/>
                <a:moveTo>
                  <a:pt x="15452" y="4405"/>
                </a:moveTo>
                <a:lnTo>
                  <a:pt x="15379" y="4429"/>
                </a:lnTo>
                <a:lnTo>
                  <a:pt x="15306" y="4454"/>
                </a:lnTo>
                <a:lnTo>
                  <a:pt x="15135" y="4551"/>
                </a:lnTo>
                <a:lnTo>
                  <a:pt x="14941" y="4600"/>
                </a:lnTo>
                <a:lnTo>
                  <a:pt x="14551" y="4697"/>
                </a:lnTo>
                <a:lnTo>
                  <a:pt x="14357" y="4746"/>
                </a:lnTo>
                <a:lnTo>
                  <a:pt x="14162" y="4819"/>
                </a:lnTo>
                <a:lnTo>
                  <a:pt x="14016" y="4916"/>
                </a:lnTo>
                <a:lnTo>
                  <a:pt x="13870" y="5062"/>
                </a:lnTo>
                <a:lnTo>
                  <a:pt x="13822" y="5135"/>
                </a:lnTo>
                <a:lnTo>
                  <a:pt x="13822" y="5232"/>
                </a:lnTo>
                <a:lnTo>
                  <a:pt x="13846" y="5330"/>
                </a:lnTo>
                <a:lnTo>
                  <a:pt x="13895" y="5354"/>
                </a:lnTo>
                <a:lnTo>
                  <a:pt x="13943" y="5354"/>
                </a:lnTo>
                <a:lnTo>
                  <a:pt x="14138" y="5378"/>
                </a:lnTo>
                <a:lnTo>
                  <a:pt x="14357" y="5378"/>
                </a:lnTo>
                <a:lnTo>
                  <a:pt x="14600" y="5354"/>
                </a:lnTo>
                <a:lnTo>
                  <a:pt x="14819" y="5330"/>
                </a:lnTo>
                <a:lnTo>
                  <a:pt x="15038" y="5257"/>
                </a:lnTo>
                <a:lnTo>
                  <a:pt x="15257" y="5208"/>
                </a:lnTo>
                <a:lnTo>
                  <a:pt x="15452" y="5111"/>
                </a:lnTo>
                <a:lnTo>
                  <a:pt x="15646" y="5038"/>
                </a:lnTo>
                <a:lnTo>
                  <a:pt x="15719" y="4989"/>
                </a:lnTo>
                <a:lnTo>
                  <a:pt x="15768" y="4940"/>
                </a:lnTo>
                <a:lnTo>
                  <a:pt x="15817" y="4819"/>
                </a:lnTo>
                <a:lnTo>
                  <a:pt x="15792" y="4697"/>
                </a:lnTo>
                <a:lnTo>
                  <a:pt x="15768" y="4575"/>
                </a:lnTo>
                <a:lnTo>
                  <a:pt x="15671" y="4478"/>
                </a:lnTo>
                <a:lnTo>
                  <a:pt x="15573" y="4429"/>
                </a:lnTo>
                <a:lnTo>
                  <a:pt x="15452" y="4405"/>
                </a:lnTo>
                <a:close/>
                <a:moveTo>
                  <a:pt x="317" y="4697"/>
                </a:moveTo>
                <a:lnTo>
                  <a:pt x="220" y="4721"/>
                </a:lnTo>
                <a:lnTo>
                  <a:pt x="122" y="4746"/>
                </a:lnTo>
                <a:lnTo>
                  <a:pt x="25" y="4794"/>
                </a:lnTo>
                <a:lnTo>
                  <a:pt x="1" y="4867"/>
                </a:lnTo>
                <a:lnTo>
                  <a:pt x="1" y="4965"/>
                </a:lnTo>
                <a:lnTo>
                  <a:pt x="49" y="5038"/>
                </a:lnTo>
                <a:lnTo>
                  <a:pt x="195" y="5184"/>
                </a:lnTo>
                <a:lnTo>
                  <a:pt x="390" y="5305"/>
                </a:lnTo>
                <a:lnTo>
                  <a:pt x="779" y="5524"/>
                </a:lnTo>
                <a:lnTo>
                  <a:pt x="1169" y="5743"/>
                </a:lnTo>
                <a:lnTo>
                  <a:pt x="1388" y="5841"/>
                </a:lnTo>
                <a:lnTo>
                  <a:pt x="1582" y="5938"/>
                </a:lnTo>
                <a:lnTo>
                  <a:pt x="1655" y="5962"/>
                </a:lnTo>
                <a:lnTo>
                  <a:pt x="1801" y="5962"/>
                </a:lnTo>
                <a:lnTo>
                  <a:pt x="1850" y="5938"/>
                </a:lnTo>
                <a:lnTo>
                  <a:pt x="1923" y="5841"/>
                </a:lnTo>
                <a:lnTo>
                  <a:pt x="1972" y="5743"/>
                </a:lnTo>
                <a:lnTo>
                  <a:pt x="1996" y="5622"/>
                </a:lnTo>
                <a:lnTo>
                  <a:pt x="1972" y="5476"/>
                </a:lnTo>
                <a:lnTo>
                  <a:pt x="1899" y="5378"/>
                </a:lnTo>
                <a:lnTo>
                  <a:pt x="1826" y="5330"/>
                </a:lnTo>
                <a:lnTo>
                  <a:pt x="1777" y="5305"/>
                </a:lnTo>
                <a:lnTo>
                  <a:pt x="1582" y="5208"/>
                </a:lnTo>
                <a:lnTo>
                  <a:pt x="1388" y="5111"/>
                </a:lnTo>
                <a:lnTo>
                  <a:pt x="974" y="4892"/>
                </a:lnTo>
                <a:lnTo>
                  <a:pt x="755" y="4794"/>
                </a:lnTo>
                <a:lnTo>
                  <a:pt x="536" y="4721"/>
                </a:lnTo>
                <a:lnTo>
                  <a:pt x="317" y="4697"/>
                </a:lnTo>
                <a:close/>
                <a:moveTo>
                  <a:pt x="8809" y="6936"/>
                </a:moveTo>
                <a:lnTo>
                  <a:pt x="8736" y="6984"/>
                </a:lnTo>
                <a:lnTo>
                  <a:pt x="8663" y="7057"/>
                </a:lnTo>
                <a:lnTo>
                  <a:pt x="8566" y="7252"/>
                </a:lnTo>
                <a:lnTo>
                  <a:pt x="8468" y="7495"/>
                </a:lnTo>
                <a:lnTo>
                  <a:pt x="8420" y="7739"/>
                </a:lnTo>
                <a:lnTo>
                  <a:pt x="8395" y="7958"/>
                </a:lnTo>
                <a:lnTo>
                  <a:pt x="8395" y="8128"/>
                </a:lnTo>
                <a:lnTo>
                  <a:pt x="8322" y="8177"/>
                </a:lnTo>
                <a:lnTo>
                  <a:pt x="8201" y="8225"/>
                </a:lnTo>
                <a:lnTo>
                  <a:pt x="8079" y="8250"/>
                </a:lnTo>
                <a:lnTo>
                  <a:pt x="7982" y="8225"/>
                </a:lnTo>
                <a:lnTo>
                  <a:pt x="7909" y="8201"/>
                </a:lnTo>
                <a:lnTo>
                  <a:pt x="7982" y="8079"/>
                </a:lnTo>
                <a:lnTo>
                  <a:pt x="8055" y="7933"/>
                </a:lnTo>
                <a:lnTo>
                  <a:pt x="8103" y="7812"/>
                </a:lnTo>
                <a:lnTo>
                  <a:pt x="8103" y="7666"/>
                </a:lnTo>
                <a:lnTo>
                  <a:pt x="8103" y="7520"/>
                </a:lnTo>
                <a:lnTo>
                  <a:pt x="8055" y="7398"/>
                </a:lnTo>
                <a:lnTo>
                  <a:pt x="7957" y="7252"/>
                </a:lnTo>
                <a:lnTo>
                  <a:pt x="7836" y="7130"/>
                </a:lnTo>
                <a:lnTo>
                  <a:pt x="7763" y="7082"/>
                </a:lnTo>
                <a:lnTo>
                  <a:pt x="7617" y="7082"/>
                </a:lnTo>
                <a:lnTo>
                  <a:pt x="7544" y="7130"/>
                </a:lnTo>
                <a:lnTo>
                  <a:pt x="7446" y="7252"/>
                </a:lnTo>
                <a:lnTo>
                  <a:pt x="7373" y="7374"/>
                </a:lnTo>
                <a:lnTo>
                  <a:pt x="7325" y="7495"/>
                </a:lnTo>
                <a:lnTo>
                  <a:pt x="7300" y="7641"/>
                </a:lnTo>
                <a:lnTo>
                  <a:pt x="7300" y="7787"/>
                </a:lnTo>
                <a:lnTo>
                  <a:pt x="7300" y="7909"/>
                </a:lnTo>
                <a:lnTo>
                  <a:pt x="7325" y="8055"/>
                </a:lnTo>
                <a:lnTo>
                  <a:pt x="7373" y="8177"/>
                </a:lnTo>
                <a:lnTo>
                  <a:pt x="7179" y="8298"/>
                </a:lnTo>
                <a:lnTo>
                  <a:pt x="7081" y="8323"/>
                </a:lnTo>
                <a:lnTo>
                  <a:pt x="6984" y="8347"/>
                </a:lnTo>
                <a:lnTo>
                  <a:pt x="6911" y="8371"/>
                </a:lnTo>
                <a:lnTo>
                  <a:pt x="6814" y="8347"/>
                </a:lnTo>
                <a:lnTo>
                  <a:pt x="6692" y="8298"/>
                </a:lnTo>
                <a:lnTo>
                  <a:pt x="6570" y="8201"/>
                </a:lnTo>
                <a:lnTo>
                  <a:pt x="6497" y="8055"/>
                </a:lnTo>
                <a:lnTo>
                  <a:pt x="6449" y="7909"/>
                </a:lnTo>
                <a:lnTo>
                  <a:pt x="6449" y="7739"/>
                </a:lnTo>
                <a:lnTo>
                  <a:pt x="6497" y="7544"/>
                </a:lnTo>
                <a:lnTo>
                  <a:pt x="6497" y="7520"/>
                </a:lnTo>
                <a:lnTo>
                  <a:pt x="6473" y="7520"/>
                </a:lnTo>
                <a:lnTo>
                  <a:pt x="6449" y="7495"/>
                </a:lnTo>
                <a:lnTo>
                  <a:pt x="6424" y="7520"/>
                </a:lnTo>
                <a:lnTo>
                  <a:pt x="6327" y="7617"/>
                </a:lnTo>
                <a:lnTo>
                  <a:pt x="6254" y="7739"/>
                </a:lnTo>
                <a:lnTo>
                  <a:pt x="6230" y="7836"/>
                </a:lnTo>
                <a:lnTo>
                  <a:pt x="6206" y="7958"/>
                </a:lnTo>
                <a:lnTo>
                  <a:pt x="6206" y="8055"/>
                </a:lnTo>
                <a:lnTo>
                  <a:pt x="6206" y="8177"/>
                </a:lnTo>
                <a:lnTo>
                  <a:pt x="6254" y="8274"/>
                </a:lnTo>
                <a:lnTo>
                  <a:pt x="6303" y="8371"/>
                </a:lnTo>
                <a:lnTo>
                  <a:pt x="6376" y="8469"/>
                </a:lnTo>
                <a:lnTo>
                  <a:pt x="6449" y="8542"/>
                </a:lnTo>
                <a:lnTo>
                  <a:pt x="6546" y="8615"/>
                </a:lnTo>
                <a:lnTo>
                  <a:pt x="6643" y="8663"/>
                </a:lnTo>
                <a:lnTo>
                  <a:pt x="6765" y="8712"/>
                </a:lnTo>
                <a:lnTo>
                  <a:pt x="6862" y="8736"/>
                </a:lnTo>
                <a:lnTo>
                  <a:pt x="7008" y="8736"/>
                </a:lnTo>
                <a:lnTo>
                  <a:pt x="7130" y="8712"/>
                </a:lnTo>
                <a:lnTo>
                  <a:pt x="7349" y="8615"/>
                </a:lnTo>
                <a:lnTo>
                  <a:pt x="7592" y="8493"/>
                </a:lnTo>
                <a:lnTo>
                  <a:pt x="7690" y="8566"/>
                </a:lnTo>
                <a:lnTo>
                  <a:pt x="7836" y="8639"/>
                </a:lnTo>
                <a:lnTo>
                  <a:pt x="7982" y="8663"/>
                </a:lnTo>
                <a:lnTo>
                  <a:pt x="8128" y="8688"/>
                </a:lnTo>
                <a:lnTo>
                  <a:pt x="8225" y="8688"/>
                </a:lnTo>
                <a:lnTo>
                  <a:pt x="8347" y="8663"/>
                </a:lnTo>
                <a:lnTo>
                  <a:pt x="8566" y="8566"/>
                </a:lnTo>
                <a:lnTo>
                  <a:pt x="8639" y="8663"/>
                </a:lnTo>
                <a:lnTo>
                  <a:pt x="8736" y="8736"/>
                </a:lnTo>
                <a:lnTo>
                  <a:pt x="8833" y="8809"/>
                </a:lnTo>
                <a:lnTo>
                  <a:pt x="8931" y="8858"/>
                </a:lnTo>
                <a:lnTo>
                  <a:pt x="9174" y="8907"/>
                </a:lnTo>
                <a:lnTo>
                  <a:pt x="9417" y="8931"/>
                </a:lnTo>
                <a:lnTo>
                  <a:pt x="9661" y="8882"/>
                </a:lnTo>
                <a:lnTo>
                  <a:pt x="9880" y="8809"/>
                </a:lnTo>
                <a:lnTo>
                  <a:pt x="9977" y="8736"/>
                </a:lnTo>
                <a:lnTo>
                  <a:pt x="10074" y="8663"/>
                </a:lnTo>
                <a:lnTo>
                  <a:pt x="10172" y="8566"/>
                </a:lnTo>
                <a:lnTo>
                  <a:pt x="10269" y="8469"/>
                </a:lnTo>
                <a:lnTo>
                  <a:pt x="10293" y="8396"/>
                </a:lnTo>
                <a:lnTo>
                  <a:pt x="10293" y="8347"/>
                </a:lnTo>
                <a:lnTo>
                  <a:pt x="10269" y="8298"/>
                </a:lnTo>
                <a:lnTo>
                  <a:pt x="10245" y="8250"/>
                </a:lnTo>
                <a:lnTo>
                  <a:pt x="10172" y="8225"/>
                </a:lnTo>
                <a:lnTo>
                  <a:pt x="10123" y="8201"/>
                </a:lnTo>
                <a:lnTo>
                  <a:pt x="10001" y="8201"/>
                </a:lnTo>
                <a:lnTo>
                  <a:pt x="9782" y="8323"/>
                </a:lnTo>
                <a:lnTo>
                  <a:pt x="9563" y="8420"/>
                </a:lnTo>
                <a:lnTo>
                  <a:pt x="9442" y="8444"/>
                </a:lnTo>
                <a:lnTo>
                  <a:pt x="9344" y="8469"/>
                </a:lnTo>
                <a:lnTo>
                  <a:pt x="9223" y="8469"/>
                </a:lnTo>
                <a:lnTo>
                  <a:pt x="9101" y="8420"/>
                </a:lnTo>
                <a:lnTo>
                  <a:pt x="9004" y="8347"/>
                </a:lnTo>
                <a:lnTo>
                  <a:pt x="8931" y="8274"/>
                </a:lnTo>
                <a:lnTo>
                  <a:pt x="9052" y="8128"/>
                </a:lnTo>
                <a:lnTo>
                  <a:pt x="9150" y="7982"/>
                </a:lnTo>
                <a:lnTo>
                  <a:pt x="9247" y="7836"/>
                </a:lnTo>
                <a:lnTo>
                  <a:pt x="9296" y="7666"/>
                </a:lnTo>
                <a:lnTo>
                  <a:pt x="9320" y="7495"/>
                </a:lnTo>
                <a:lnTo>
                  <a:pt x="9296" y="7349"/>
                </a:lnTo>
                <a:lnTo>
                  <a:pt x="9247" y="7203"/>
                </a:lnTo>
                <a:lnTo>
                  <a:pt x="9150" y="7057"/>
                </a:lnTo>
                <a:lnTo>
                  <a:pt x="9052" y="6984"/>
                </a:lnTo>
                <a:lnTo>
                  <a:pt x="8955" y="6936"/>
                </a:lnTo>
                <a:close/>
                <a:moveTo>
                  <a:pt x="1947" y="9710"/>
                </a:moveTo>
                <a:lnTo>
                  <a:pt x="1801" y="9758"/>
                </a:lnTo>
                <a:lnTo>
                  <a:pt x="1582" y="9856"/>
                </a:lnTo>
                <a:lnTo>
                  <a:pt x="1363" y="10002"/>
                </a:lnTo>
                <a:lnTo>
                  <a:pt x="925" y="10294"/>
                </a:lnTo>
                <a:lnTo>
                  <a:pt x="706" y="10415"/>
                </a:lnTo>
                <a:lnTo>
                  <a:pt x="585" y="10513"/>
                </a:lnTo>
                <a:lnTo>
                  <a:pt x="463" y="10610"/>
                </a:lnTo>
                <a:lnTo>
                  <a:pt x="366" y="10707"/>
                </a:lnTo>
                <a:lnTo>
                  <a:pt x="317" y="10829"/>
                </a:lnTo>
                <a:lnTo>
                  <a:pt x="317" y="10878"/>
                </a:lnTo>
                <a:lnTo>
                  <a:pt x="341" y="10926"/>
                </a:lnTo>
                <a:lnTo>
                  <a:pt x="366" y="10999"/>
                </a:lnTo>
                <a:lnTo>
                  <a:pt x="439" y="11048"/>
                </a:lnTo>
                <a:lnTo>
                  <a:pt x="536" y="11097"/>
                </a:lnTo>
                <a:lnTo>
                  <a:pt x="633" y="11097"/>
                </a:lnTo>
                <a:lnTo>
                  <a:pt x="755" y="11072"/>
                </a:lnTo>
                <a:lnTo>
                  <a:pt x="877" y="11048"/>
                </a:lnTo>
                <a:lnTo>
                  <a:pt x="1120" y="10926"/>
                </a:lnTo>
                <a:lnTo>
                  <a:pt x="1315" y="10829"/>
                </a:lnTo>
                <a:lnTo>
                  <a:pt x="1728" y="10610"/>
                </a:lnTo>
                <a:lnTo>
                  <a:pt x="1947" y="10488"/>
                </a:lnTo>
                <a:lnTo>
                  <a:pt x="2142" y="10342"/>
                </a:lnTo>
                <a:lnTo>
                  <a:pt x="2264" y="10245"/>
                </a:lnTo>
                <a:lnTo>
                  <a:pt x="2312" y="10123"/>
                </a:lnTo>
                <a:lnTo>
                  <a:pt x="2312" y="10002"/>
                </a:lnTo>
                <a:lnTo>
                  <a:pt x="2264" y="9880"/>
                </a:lnTo>
                <a:lnTo>
                  <a:pt x="2191" y="9783"/>
                </a:lnTo>
                <a:lnTo>
                  <a:pt x="2069" y="9734"/>
                </a:lnTo>
                <a:lnTo>
                  <a:pt x="1947" y="9710"/>
                </a:lnTo>
                <a:close/>
                <a:moveTo>
                  <a:pt x="14065" y="10026"/>
                </a:moveTo>
                <a:lnTo>
                  <a:pt x="13895" y="10050"/>
                </a:lnTo>
                <a:lnTo>
                  <a:pt x="13846" y="10075"/>
                </a:lnTo>
                <a:lnTo>
                  <a:pt x="13797" y="10123"/>
                </a:lnTo>
                <a:lnTo>
                  <a:pt x="13773" y="10172"/>
                </a:lnTo>
                <a:lnTo>
                  <a:pt x="13749" y="10221"/>
                </a:lnTo>
                <a:lnTo>
                  <a:pt x="13773" y="10318"/>
                </a:lnTo>
                <a:lnTo>
                  <a:pt x="13797" y="10367"/>
                </a:lnTo>
                <a:lnTo>
                  <a:pt x="13846" y="10415"/>
                </a:lnTo>
                <a:lnTo>
                  <a:pt x="14138" y="10586"/>
                </a:lnTo>
                <a:lnTo>
                  <a:pt x="14454" y="10756"/>
                </a:lnTo>
                <a:lnTo>
                  <a:pt x="14624" y="10878"/>
                </a:lnTo>
                <a:lnTo>
                  <a:pt x="14819" y="10975"/>
                </a:lnTo>
                <a:lnTo>
                  <a:pt x="15014" y="11048"/>
                </a:lnTo>
                <a:lnTo>
                  <a:pt x="15208" y="11097"/>
                </a:lnTo>
                <a:lnTo>
                  <a:pt x="15379" y="11097"/>
                </a:lnTo>
                <a:lnTo>
                  <a:pt x="15427" y="11072"/>
                </a:lnTo>
                <a:lnTo>
                  <a:pt x="15500" y="11024"/>
                </a:lnTo>
                <a:lnTo>
                  <a:pt x="15573" y="10951"/>
                </a:lnTo>
                <a:lnTo>
                  <a:pt x="15598" y="10829"/>
                </a:lnTo>
                <a:lnTo>
                  <a:pt x="15598" y="10707"/>
                </a:lnTo>
                <a:lnTo>
                  <a:pt x="15549" y="10586"/>
                </a:lnTo>
                <a:lnTo>
                  <a:pt x="15500" y="10537"/>
                </a:lnTo>
                <a:lnTo>
                  <a:pt x="15452" y="10513"/>
                </a:lnTo>
                <a:lnTo>
                  <a:pt x="15379" y="10464"/>
                </a:lnTo>
                <a:lnTo>
                  <a:pt x="15306" y="10464"/>
                </a:lnTo>
                <a:lnTo>
                  <a:pt x="15135" y="10415"/>
                </a:lnTo>
                <a:lnTo>
                  <a:pt x="14965" y="10367"/>
                </a:lnTo>
                <a:lnTo>
                  <a:pt x="14600" y="10196"/>
                </a:lnTo>
                <a:lnTo>
                  <a:pt x="14430" y="10099"/>
                </a:lnTo>
                <a:lnTo>
                  <a:pt x="14260" y="10050"/>
                </a:lnTo>
                <a:lnTo>
                  <a:pt x="14065" y="10026"/>
                </a:lnTo>
                <a:close/>
                <a:moveTo>
                  <a:pt x="8468" y="2605"/>
                </a:moveTo>
                <a:lnTo>
                  <a:pt x="8760" y="2629"/>
                </a:lnTo>
                <a:lnTo>
                  <a:pt x="9052" y="2678"/>
                </a:lnTo>
                <a:lnTo>
                  <a:pt x="9344" y="2726"/>
                </a:lnTo>
                <a:lnTo>
                  <a:pt x="9125" y="2799"/>
                </a:lnTo>
                <a:lnTo>
                  <a:pt x="9101" y="2824"/>
                </a:lnTo>
                <a:lnTo>
                  <a:pt x="9101" y="2848"/>
                </a:lnTo>
                <a:lnTo>
                  <a:pt x="9101" y="2872"/>
                </a:lnTo>
                <a:lnTo>
                  <a:pt x="9125" y="2897"/>
                </a:lnTo>
                <a:lnTo>
                  <a:pt x="9223" y="2945"/>
                </a:lnTo>
                <a:lnTo>
                  <a:pt x="9320" y="2970"/>
                </a:lnTo>
                <a:lnTo>
                  <a:pt x="9442" y="2945"/>
                </a:lnTo>
                <a:lnTo>
                  <a:pt x="9563" y="2921"/>
                </a:lnTo>
                <a:lnTo>
                  <a:pt x="9855" y="2872"/>
                </a:lnTo>
                <a:lnTo>
                  <a:pt x="10269" y="3043"/>
                </a:lnTo>
                <a:lnTo>
                  <a:pt x="10074" y="3067"/>
                </a:lnTo>
                <a:lnTo>
                  <a:pt x="9855" y="3116"/>
                </a:lnTo>
                <a:lnTo>
                  <a:pt x="9685" y="3189"/>
                </a:lnTo>
                <a:lnTo>
                  <a:pt x="9515" y="3262"/>
                </a:lnTo>
                <a:lnTo>
                  <a:pt x="9515" y="3286"/>
                </a:lnTo>
                <a:lnTo>
                  <a:pt x="9490" y="3310"/>
                </a:lnTo>
                <a:lnTo>
                  <a:pt x="9515" y="3335"/>
                </a:lnTo>
                <a:lnTo>
                  <a:pt x="9539" y="3359"/>
                </a:lnTo>
                <a:lnTo>
                  <a:pt x="9953" y="3335"/>
                </a:lnTo>
                <a:lnTo>
                  <a:pt x="10342" y="3310"/>
                </a:lnTo>
                <a:lnTo>
                  <a:pt x="10780" y="3310"/>
                </a:lnTo>
                <a:lnTo>
                  <a:pt x="11048" y="3505"/>
                </a:lnTo>
                <a:lnTo>
                  <a:pt x="10756" y="3578"/>
                </a:lnTo>
                <a:lnTo>
                  <a:pt x="10464" y="3675"/>
                </a:lnTo>
                <a:lnTo>
                  <a:pt x="10245" y="3797"/>
                </a:lnTo>
                <a:lnTo>
                  <a:pt x="10099" y="3918"/>
                </a:lnTo>
                <a:lnTo>
                  <a:pt x="10074" y="3943"/>
                </a:lnTo>
                <a:lnTo>
                  <a:pt x="10099" y="3943"/>
                </a:lnTo>
                <a:lnTo>
                  <a:pt x="10391" y="3918"/>
                </a:lnTo>
                <a:lnTo>
                  <a:pt x="10683" y="3870"/>
                </a:lnTo>
                <a:lnTo>
                  <a:pt x="10975" y="3821"/>
                </a:lnTo>
                <a:lnTo>
                  <a:pt x="11291" y="3773"/>
                </a:lnTo>
                <a:lnTo>
                  <a:pt x="11364" y="3773"/>
                </a:lnTo>
                <a:lnTo>
                  <a:pt x="11583" y="3967"/>
                </a:lnTo>
                <a:lnTo>
                  <a:pt x="11778" y="4186"/>
                </a:lnTo>
                <a:lnTo>
                  <a:pt x="11388" y="4210"/>
                </a:lnTo>
                <a:lnTo>
                  <a:pt x="10829" y="4259"/>
                </a:lnTo>
                <a:lnTo>
                  <a:pt x="10561" y="4283"/>
                </a:lnTo>
                <a:lnTo>
                  <a:pt x="10318" y="4381"/>
                </a:lnTo>
                <a:lnTo>
                  <a:pt x="10293" y="4405"/>
                </a:lnTo>
                <a:lnTo>
                  <a:pt x="10293" y="4429"/>
                </a:lnTo>
                <a:lnTo>
                  <a:pt x="10318" y="4454"/>
                </a:lnTo>
                <a:lnTo>
                  <a:pt x="10585" y="4527"/>
                </a:lnTo>
                <a:lnTo>
                  <a:pt x="11705" y="4527"/>
                </a:lnTo>
                <a:lnTo>
                  <a:pt x="11997" y="4502"/>
                </a:lnTo>
                <a:lnTo>
                  <a:pt x="12216" y="4867"/>
                </a:lnTo>
                <a:lnTo>
                  <a:pt x="11851" y="4867"/>
                </a:lnTo>
                <a:lnTo>
                  <a:pt x="11267" y="4892"/>
                </a:lnTo>
                <a:lnTo>
                  <a:pt x="10658" y="4940"/>
                </a:lnTo>
                <a:lnTo>
                  <a:pt x="10634" y="4940"/>
                </a:lnTo>
                <a:lnTo>
                  <a:pt x="10634" y="4965"/>
                </a:lnTo>
                <a:lnTo>
                  <a:pt x="10634" y="4989"/>
                </a:lnTo>
                <a:lnTo>
                  <a:pt x="10658" y="5013"/>
                </a:lnTo>
                <a:lnTo>
                  <a:pt x="10902" y="5086"/>
                </a:lnTo>
                <a:lnTo>
                  <a:pt x="11169" y="5111"/>
                </a:lnTo>
                <a:lnTo>
                  <a:pt x="12021" y="5111"/>
                </a:lnTo>
                <a:lnTo>
                  <a:pt x="12362" y="5135"/>
                </a:lnTo>
                <a:lnTo>
                  <a:pt x="12556" y="5622"/>
                </a:lnTo>
                <a:lnTo>
                  <a:pt x="11461" y="5622"/>
                </a:lnTo>
                <a:lnTo>
                  <a:pt x="11291" y="5646"/>
                </a:lnTo>
                <a:lnTo>
                  <a:pt x="11145" y="5695"/>
                </a:lnTo>
                <a:lnTo>
                  <a:pt x="10999" y="5768"/>
                </a:lnTo>
                <a:lnTo>
                  <a:pt x="10975" y="5792"/>
                </a:lnTo>
                <a:lnTo>
                  <a:pt x="10999" y="5841"/>
                </a:lnTo>
                <a:lnTo>
                  <a:pt x="11267" y="5889"/>
                </a:lnTo>
                <a:lnTo>
                  <a:pt x="11534" y="5889"/>
                </a:lnTo>
                <a:lnTo>
                  <a:pt x="12070" y="5914"/>
                </a:lnTo>
                <a:lnTo>
                  <a:pt x="12654" y="5938"/>
                </a:lnTo>
                <a:lnTo>
                  <a:pt x="12702" y="6060"/>
                </a:lnTo>
                <a:lnTo>
                  <a:pt x="12727" y="6181"/>
                </a:lnTo>
                <a:lnTo>
                  <a:pt x="12386" y="6181"/>
                </a:lnTo>
                <a:lnTo>
                  <a:pt x="11729" y="6254"/>
                </a:lnTo>
                <a:lnTo>
                  <a:pt x="11413" y="6279"/>
                </a:lnTo>
                <a:lnTo>
                  <a:pt x="11121" y="6352"/>
                </a:lnTo>
                <a:lnTo>
                  <a:pt x="11096" y="6352"/>
                </a:lnTo>
                <a:lnTo>
                  <a:pt x="11096" y="6376"/>
                </a:lnTo>
                <a:lnTo>
                  <a:pt x="11096" y="6400"/>
                </a:lnTo>
                <a:lnTo>
                  <a:pt x="11121" y="6425"/>
                </a:lnTo>
                <a:lnTo>
                  <a:pt x="11388" y="6473"/>
                </a:lnTo>
                <a:lnTo>
                  <a:pt x="11656" y="6498"/>
                </a:lnTo>
                <a:lnTo>
                  <a:pt x="12508" y="6498"/>
                </a:lnTo>
                <a:lnTo>
                  <a:pt x="12824" y="6522"/>
                </a:lnTo>
                <a:lnTo>
                  <a:pt x="12873" y="6838"/>
                </a:lnTo>
                <a:lnTo>
                  <a:pt x="12556" y="6838"/>
                </a:lnTo>
                <a:lnTo>
                  <a:pt x="12240" y="6863"/>
                </a:lnTo>
                <a:lnTo>
                  <a:pt x="11753" y="6887"/>
                </a:lnTo>
                <a:lnTo>
                  <a:pt x="11510" y="6911"/>
                </a:lnTo>
                <a:lnTo>
                  <a:pt x="11267" y="6936"/>
                </a:lnTo>
                <a:lnTo>
                  <a:pt x="11242" y="6936"/>
                </a:lnTo>
                <a:lnTo>
                  <a:pt x="11242" y="6960"/>
                </a:lnTo>
                <a:lnTo>
                  <a:pt x="11242" y="7009"/>
                </a:lnTo>
                <a:lnTo>
                  <a:pt x="11267" y="7009"/>
                </a:lnTo>
                <a:lnTo>
                  <a:pt x="11461" y="7082"/>
                </a:lnTo>
                <a:lnTo>
                  <a:pt x="11680" y="7130"/>
                </a:lnTo>
                <a:lnTo>
                  <a:pt x="12727" y="7130"/>
                </a:lnTo>
                <a:lnTo>
                  <a:pt x="12921" y="7106"/>
                </a:lnTo>
                <a:lnTo>
                  <a:pt x="12994" y="7593"/>
                </a:lnTo>
                <a:lnTo>
                  <a:pt x="12994" y="7593"/>
                </a:lnTo>
                <a:lnTo>
                  <a:pt x="12848" y="7568"/>
                </a:lnTo>
                <a:lnTo>
                  <a:pt x="12702" y="7568"/>
                </a:lnTo>
                <a:lnTo>
                  <a:pt x="12435" y="7593"/>
                </a:lnTo>
                <a:lnTo>
                  <a:pt x="11997" y="7593"/>
                </a:lnTo>
                <a:lnTo>
                  <a:pt x="11778" y="7617"/>
                </a:lnTo>
                <a:lnTo>
                  <a:pt x="11559" y="7690"/>
                </a:lnTo>
                <a:lnTo>
                  <a:pt x="11534" y="7690"/>
                </a:lnTo>
                <a:lnTo>
                  <a:pt x="11534" y="7739"/>
                </a:lnTo>
                <a:lnTo>
                  <a:pt x="11534" y="7763"/>
                </a:lnTo>
                <a:lnTo>
                  <a:pt x="11559" y="7787"/>
                </a:lnTo>
                <a:lnTo>
                  <a:pt x="11778" y="7836"/>
                </a:lnTo>
                <a:lnTo>
                  <a:pt x="11997" y="7860"/>
                </a:lnTo>
                <a:lnTo>
                  <a:pt x="12435" y="7860"/>
                </a:lnTo>
                <a:lnTo>
                  <a:pt x="12702" y="7885"/>
                </a:lnTo>
                <a:lnTo>
                  <a:pt x="12848" y="7885"/>
                </a:lnTo>
                <a:lnTo>
                  <a:pt x="12994" y="7860"/>
                </a:lnTo>
                <a:lnTo>
                  <a:pt x="12994" y="7909"/>
                </a:lnTo>
                <a:lnTo>
                  <a:pt x="12994" y="8250"/>
                </a:lnTo>
                <a:lnTo>
                  <a:pt x="12873" y="8201"/>
                </a:lnTo>
                <a:lnTo>
                  <a:pt x="12775" y="8201"/>
                </a:lnTo>
                <a:lnTo>
                  <a:pt x="12532" y="8177"/>
                </a:lnTo>
                <a:lnTo>
                  <a:pt x="12094" y="8177"/>
                </a:lnTo>
                <a:lnTo>
                  <a:pt x="11875" y="8201"/>
                </a:lnTo>
                <a:lnTo>
                  <a:pt x="11656" y="8250"/>
                </a:lnTo>
                <a:lnTo>
                  <a:pt x="11656" y="8274"/>
                </a:lnTo>
                <a:lnTo>
                  <a:pt x="11632" y="8298"/>
                </a:lnTo>
                <a:lnTo>
                  <a:pt x="11656" y="8298"/>
                </a:lnTo>
                <a:lnTo>
                  <a:pt x="11656" y="8323"/>
                </a:lnTo>
                <a:lnTo>
                  <a:pt x="12045" y="8396"/>
                </a:lnTo>
                <a:lnTo>
                  <a:pt x="12410" y="8444"/>
                </a:lnTo>
                <a:lnTo>
                  <a:pt x="12702" y="8469"/>
                </a:lnTo>
                <a:lnTo>
                  <a:pt x="12824" y="8493"/>
                </a:lnTo>
                <a:lnTo>
                  <a:pt x="12970" y="8469"/>
                </a:lnTo>
                <a:lnTo>
                  <a:pt x="12873" y="8858"/>
                </a:lnTo>
                <a:lnTo>
                  <a:pt x="12654" y="8809"/>
                </a:lnTo>
                <a:lnTo>
                  <a:pt x="12483" y="8785"/>
                </a:lnTo>
                <a:lnTo>
                  <a:pt x="12264" y="8736"/>
                </a:lnTo>
                <a:lnTo>
                  <a:pt x="11826" y="8736"/>
                </a:lnTo>
                <a:lnTo>
                  <a:pt x="11607" y="8809"/>
                </a:lnTo>
                <a:lnTo>
                  <a:pt x="11583" y="8834"/>
                </a:lnTo>
                <a:lnTo>
                  <a:pt x="11583" y="8858"/>
                </a:lnTo>
                <a:lnTo>
                  <a:pt x="11583" y="8882"/>
                </a:lnTo>
                <a:lnTo>
                  <a:pt x="11851" y="8882"/>
                </a:lnTo>
                <a:lnTo>
                  <a:pt x="12094" y="8931"/>
                </a:lnTo>
                <a:lnTo>
                  <a:pt x="12556" y="9053"/>
                </a:lnTo>
                <a:lnTo>
                  <a:pt x="12775" y="9126"/>
                </a:lnTo>
                <a:lnTo>
                  <a:pt x="12654" y="9345"/>
                </a:lnTo>
                <a:lnTo>
                  <a:pt x="12508" y="9296"/>
                </a:lnTo>
                <a:lnTo>
                  <a:pt x="12313" y="9272"/>
                </a:lnTo>
                <a:lnTo>
                  <a:pt x="12143" y="9223"/>
                </a:lnTo>
                <a:lnTo>
                  <a:pt x="11972" y="9199"/>
                </a:lnTo>
                <a:lnTo>
                  <a:pt x="11607" y="9199"/>
                </a:lnTo>
                <a:lnTo>
                  <a:pt x="11583" y="9223"/>
                </a:lnTo>
                <a:lnTo>
                  <a:pt x="11583" y="9247"/>
                </a:lnTo>
                <a:lnTo>
                  <a:pt x="11583" y="9272"/>
                </a:lnTo>
                <a:lnTo>
                  <a:pt x="11924" y="9418"/>
                </a:lnTo>
                <a:lnTo>
                  <a:pt x="12240" y="9564"/>
                </a:lnTo>
                <a:lnTo>
                  <a:pt x="12532" y="9637"/>
                </a:lnTo>
                <a:lnTo>
                  <a:pt x="12337" y="9929"/>
                </a:lnTo>
                <a:lnTo>
                  <a:pt x="12337" y="9977"/>
                </a:lnTo>
                <a:lnTo>
                  <a:pt x="12167" y="9904"/>
                </a:lnTo>
                <a:lnTo>
                  <a:pt x="11997" y="9880"/>
                </a:lnTo>
                <a:lnTo>
                  <a:pt x="11802" y="9831"/>
                </a:lnTo>
                <a:lnTo>
                  <a:pt x="11242" y="9831"/>
                </a:lnTo>
                <a:lnTo>
                  <a:pt x="11218" y="9856"/>
                </a:lnTo>
                <a:lnTo>
                  <a:pt x="11218" y="9880"/>
                </a:lnTo>
                <a:lnTo>
                  <a:pt x="11242" y="9880"/>
                </a:lnTo>
                <a:lnTo>
                  <a:pt x="11534" y="10002"/>
                </a:lnTo>
                <a:lnTo>
                  <a:pt x="11851" y="10123"/>
                </a:lnTo>
                <a:lnTo>
                  <a:pt x="12167" y="10245"/>
                </a:lnTo>
                <a:lnTo>
                  <a:pt x="11972" y="10513"/>
                </a:lnTo>
                <a:lnTo>
                  <a:pt x="11826" y="10488"/>
                </a:lnTo>
                <a:lnTo>
                  <a:pt x="11413" y="10391"/>
                </a:lnTo>
                <a:lnTo>
                  <a:pt x="11023" y="10342"/>
                </a:lnTo>
                <a:lnTo>
                  <a:pt x="10975" y="10342"/>
                </a:lnTo>
                <a:lnTo>
                  <a:pt x="10975" y="10367"/>
                </a:lnTo>
                <a:lnTo>
                  <a:pt x="10975" y="10391"/>
                </a:lnTo>
                <a:lnTo>
                  <a:pt x="10999" y="10440"/>
                </a:lnTo>
                <a:lnTo>
                  <a:pt x="11145" y="10537"/>
                </a:lnTo>
                <a:lnTo>
                  <a:pt x="11315" y="10610"/>
                </a:lnTo>
                <a:lnTo>
                  <a:pt x="11632" y="10732"/>
                </a:lnTo>
                <a:lnTo>
                  <a:pt x="11802" y="10780"/>
                </a:lnTo>
                <a:lnTo>
                  <a:pt x="11656" y="10999"/>
                </a:lnTo>
                <a:lnTo>
                  <a:pt x="11510" y="10951"/>
                </a:lnTo>
                <a:lnTo>
                  <a:pt x="11364" y="10926"/>
                </a:lnTo>
                <a:lnTo>
                  <a:pt x="11072" y="10853"/>
                </a:lnTo>
                <a:lnTo>
                  <a:pt x="10950" y="10853"/>
                </a:lnTo>
                <a:lnTo>
                  <a:pt x="10804" y="10902"/>
                </a:lnTo>
                <a:lnTo>
                  <a:pt x="10780" y="10926"/>
                </a:lnTo>
                <a:lnTo>
                  <a:pt x="10756" y="10951"/>
                </a:lnTo>
                <a:lnTo>
                  <a:pt x="10756" y="10999"/>
                </a:lnTo>
                <a:lnTo>
                  <a:pt x="10780" y="11048"/>
                </a:lnTo>
                <a:lnTo>
                  <a:pt x="10902" y="11121"/>
                </a:lnTo>
                <a:lnTo>
                  <a:pt x="11023" y="11170"/>
                </a:lnTo>
                <a:lnTo>
                  <a:pt x="11267" y="11243"/>
                </a:lnTo>
                <a:lnTo>
                  <a:pt x="11461" y="11291"/>
                </a:lnTo>
                <a:lnTo>
                  <a:pt x="11242" y="11583"/>
                </a:lnTo>
                <a:lnTo>
                  <a:pt x="11072" y="11535"/>
                </a:lnTo>
                <a:lnTo>
                  <a:pt x="10877" y="11535"/>
                </a:lnTo>
                <a:lnTo>
                  <a:pt x="10683" y="11583"/>
                </a:lnTo>
                <a:lnTo>
                  <a:pt x="10658" y="11608"/>
                </a:lnTo>
                <a:lnTo>
                  <a:pt x="10683" y="11632"/>
                </a:lnTo>
                <a:lnTo>
                  <a:pt x="10829" y="11681"/>
                </a:lnTo>
                <a:lnTo>
                  <a:pt x="10975" y="11729"/>
                </a:lnTo>
                <a:lnTo>
                  <a:pt x="11096" y="11778"/>
                </a:lnTo>
                <a:lnTo>
                  <a:pt x="10877" y="12143"/>
                </a:lnTo>
                <a:lnTo>
                  <a:pt x="10829" y="12118"/>
                </a:lnTo>
                <a:lnTo>
                  <a:pt x="10658" y="12045"/>
                </a:lnTo>
                <a:lnTo>
                  <a:pt x="10561" y="11997"/>
                </a:lnTo>
                <a:lnTo>
                  <a:pt x="10464" y="11972"/>
                </a:lnTo>
                <a:lnTo>
                  <a:pt x="10439" y="11997"/>
                </a:lnTo>
                <a:lnTo>
                  <a:pt x="10439" y="12045"/>
                </a:lnTo>
                <a:lnTo>
                  <a:pt x="10488" y="12118"/>
                </a:lnTo>
                <a:lnTo>
                  <a:pt x="10585" y="12191"/>
                </a:lnTo>
                <a:lnTo>
                  <a:pt x="10756" y="12313"/>
                </a:lnTo>
                <a:lnTo>
                  <a:pt x="10561" y="12654"/>
                </a:lnTo>
                <a:lnTo>
                  <a:pt x="10415" y="12629"/>
                </a:lnTo>
                <a:lnTo>
                  <a:pt x="10172" y="12629"/>
                </a:lnTo>
                <a:lnTo>
                  <a:pt x="10026" y="12654"/>
                </a:lnTo>
                <a:lnTo>
                  <a:pt x="10026" y="12678"/>
                </a:lnTo>
                <a:lnTo>
                  <a:pt x="10026" y="12702"/>
                </a:lnTo>
                <a:lnTo>
                  <a:pt x="10245" y="12800"/>
                </a:lnTo>
                <a:lnTo>
                  <a:pt x="10439" y="12897"/>
                </a:lnTo>
                <a:lnTo>
                  <a:pt x="10196" y="13384"/>
                </a:lnTo>
                <a:lnTo>
                  <a:pt x="9880" y="13384"/>
                </a:lnTo>
                <a:lnTo>
                  <a:pt x="9904" y="13432"/>
                </a:lnTo>
                <a:lnTo>
                  <a:pt x="10147" y="13505"/>
                </a:lnTo>
                <a:lnTo>
                  <a:pt x="10074" y="13700"/>
                </a:lnTo>
                <a:lnTo>
                  <a:pt x="10026" y="13895"/>
                </a:lnTo>
                <a:lnTo>
                  <a:pt x="9953" y="14284"/>
                </a:lnTo>
                <a:lnTo>
                  <a:pt x="9880" y="14673"/>
                </a:lnTo>
                <a:lnTo>
                  <a:pt x="9807" y="15087"/>
                </a:lnTo>
                <a:lnTo>
                  <a:pt x="9101" y="15111"/>
                </a:lnTo>
                <a:lnTo>
                  <a:pt x="9247" y="14673"/>
                </a:lnTo>
                <a:lnTo>
                  <a:pt x="9344" y="14235"/>
                </a:lnTo>
                <a:lnTo>
                  <a:pt x="9539" y="13359"/>
                </a:lnTo>
                <a:lnTo>
                  <a:pt x="9734" y="12459"/>
                </a:lnTo>
                <a:lnTo>
                  <a:pt x="9855" y="12021"/>
                </a:lnTo>
                <a:lnTo>
                  <a:pt x="9977" y="11583"/>
                </a:lnTo>
                <a:lnTo>
                  <a:pt x="10269" y="10659"/>
                </a:lnTo>
                <a:lnTo>
                  <a:pt x="10537" y="9734"/>
                </a:lnTo>
                <a:lnTo>
                  <a:pt x="10658" y="9320"/>
                </a:lnTo>
                <a:lnTo>
                  <a:pt x="10756" y="8858"/>
                </a:lnTo>
                <a:lnTo>
                  <a:pt x="10780" y="8639"/>
                </a:lnTo>
                <a:lnTo>
                  <a:pt x="10780" y="8396"/>
                </a:lnTo>
                <a:lnTo>
                  <a:pt x="10756" y="8177"/>
                </a:lnTo>
                <a:lnTo>
                  <a:pt x="10707" y="7958"/>
                </a:lnTo>
                <a:lnTo>
                  <a:pt x="10683" y="7933"/>
                </a:lnTo>
                <a:lnTo>
                  <a:pt x="10634" y="7933"/>
                </a:lnTo>
                <a:lnTo>
                  <a:pt x="10610" y="7958"/>
                </a:lnTo>
                <a:lnTo>
                  <a:pt x="10537" y="8177"/>
                </a:lnTo>
                <a:lnTo>
                  <a:pt x="10464" y="8420"/>
                </a:lnTo>
                <a:lnTo>
                  <a:pt x="10366" y="8882"/>
                </a:lnTo>
                <a:lnTo>
                  <a:pt x="10293" y="9369"/>
                </a:lnTo>
                <a:lnTo>
                  <a:pt x="10172" y="9831"/>
                </a:lnTo>
                <a:lnTo>
                  <a:pt x="9904" y="10756"/>
                </a:lnTo>
                <a:lnTo>
                  <a:pt x="9588" y="11656"/>
                </a:lnTo>
                <a:lnTo>
                  <a:pt x="9466" y="12094"/>
                </a:lnTo>
                <a:lnTo>
                  <a:pt x="9369" y="12532"/>
                </a:lnTo>
                <a:lnTo>
                  <a:pt x="9174" y="13384"/>
                </a:lnTo>
                <a:lnTo>
                  <a:pt x="8979" y="14260"/>
                </a:lnTo>
                <a:lnTo>
                  <a:pt x="8858" y="14698"/>
                </a:lnTo>
                <a:lnTo>
                  <a:pt x="8736" y="15111"/>
                </a:lnTo>
                <a:lnTo>
                  <a:pt x="8128" y="15136"/>
                </a:lnTo>
                <a:lnTo>
                  <a:pt x="7519" y="15087"/>
                </a:lnTo>
                <a:lnTo>
                  <a:pt x="7179" y="15063"/>
                </a:lnTo>
                <a:lnTo>
                  <a:pt x="7154" y="15038"/>
                </a:lnTo>
                <a:lnTo>
                  <a:pt x="7081" y="14698"/>
                </a:lnTo>
                <a:lnTo>
                  <a:pt x="7033" y="14357"/>
                </a:lnTo>
                <a:lnTo>
                  <a:pt x="6935" y="13651"/>
                </a:lnTo>
                <a:lnTo>
                  <a:pt x="6765" y="12605"/>
                </a:lnTo>
                <a:lnTo>
                  <a:pt x="6570" y="11583"/>
                </a:lnTo>
                <a:lnTo>
                  <a:pt x="6230" y="9880"/>
                </a:lnTo>
                <a:lnTo>
                  <a:pt x="6060" y="9028"/>
                </a:lnTo>
                <a:lnTo>
                  <a:pt x="5841" y="8177"/>
                </a:lnTo>
                <a:lnTo>
                  <a:pt x="5816" y="8152"/>
                </a:lnTo>
                <a:lnTo>
                  <a:pt x="5768" y="8128"/>
                </a:lnTo>
                <a:lnTo>
                  <a:pt x="5743" y="8128"/>
                </a:lnTo>
                <a:lnTo>
                  <a:pt x="5695" y="8152"/>
                </a:lnTo>
                <a:lnTo>
                  <a:pt x="5646" y="8298"/>
                </a:lnTo>
                <a:lnTo>
                  <a:pt x="5646" y="8420"/>
                </a:lnTo>
                <a:lnTo>
                  <a:pt x="5646" y="8542"/>
                </a:lnTo>
                <a:lnTo>
                  <a:pt x="5646" y="8663"/>
                </a:lnTo>
                <a:lnTo>
                  <a:pt x="5719" y="8931"/>
                </a:lnTo>
                <a:lnTo>
                  <a:pt x="5768" y="9199"/>
                </a:lnTo>
                <a:lnTo>
                  <a:pt x="5865" y="9734"/>
                </a:lnTo>
                <a:lnTo>
                  <a:pt x="5962" y="10245"/>
                </a:lnTo>
                <a:lnTo>
                  <a:pt x="6035" y="10780"/>
                </a:lnTo>
                <a:lnTo>
                  <a:pt x="6133" y="11316"/>
                </a:lnTo>
                <a:lnTo>
                  <a:pt x="6327" y="12337"/>
                </a:lnTo>
                <a:lnTo>
                  <a:pt x="6522" y="13384"/>
                </a:lnTo>
                <a:lnTo>
                  <a:pt x="6570" y="13773"/>
                </a:lnTo>
                <a:lnTo>
                  <a:pt x="6619" y="14211"/>
                </a:lnTo>
                <a:lnTo>
                  <a:pt x="6668" y="14625"/>
                </a:lnTo>
                <a:lnTo>
                  <a:pt x="6716" y="14819"/>
                </a:lnTo>
                <a:lnTo>
                  <a:pt x="6765" y="15014"/>
                </a:lnTo>
                <a:lnTo>
                  <a:pt x="6497" y="15038"/>
                </a:lnTo>
                <a:lnTo>
                  <a:pt x="6473" y="14625"/>
                </a:lnTo>
                <a:lnTo>
                  <a:pt x="6400" y="14235"/>
                </a:lnTo>
                <a:lnTo>
                  <a:pt x="6279" y="13846"/>
                </a:lnTo>
                <a:lnTo>
                  <a:pt x="6133" y="13481"/>
                </a:lnTo>
                <a:lnTo>
                  <a:pt x="5938" y="13116"/>
                </a:lnTo>
                <a:lnTo>
                  <a:pt x="5743" y="12775"/>
                </a:lnTo>
                <a:lnTo>
                  <a:pt x="5281" y="12070"/>
                </a:lnTo>
                <a:lnTo>
                  <a:pt x="4746" y="11267"/>
                </a:lnTo>
                <a:lnTo>
                  <a:pt x="4210" y="10415"/>
                </a:lnTo>
                <a:lnTo>
                  <a:pt x="3967" y="9977"/>
                </a:lnTo>
                <a:lnTo>
                  <a:pt x="3724" y="9539"/>
                </a:lnTo>
                <a:lnTo>
                  <a:pt x="3529" y="9077"/>
                </a:lnTo>
                <a:lnTo>
                  <a:pt x="3359" y="8615"/>
                </a:lnTo>
                <a:lnTo>
                  <a:pt x="3286" y="8396"/>
                </a:lnTo>
                <a:lnTo>
                  <a:pt x="3261" y="8152"/>
                </a:lnTo>
                <a:lnTo>
                  <a:pt x="3237" y="7909"/>
                </a:lnTo>
                <a:lnTo>
                  <a:pt x="3237" y="7666"/>
                </a:lnTo>
                <a:lnTo>
                  <a:pt x="3261" y="7155"/>
                </a:lnTo>
                <a:lnTo>
                  <a:pt x="3310" y="6668"/>
                </a:lnTo>
                <a:lnTo>
                  <a:pt x="3334" y="6376"/>
                </a:lnTo>
                <a:lnTo>
                  <a:pt x="3407" y="6108"/>
                </a:lnTo>
                <a:lnTo>
                  <a:pt x="3480" y="5841"/>
                </a:lnTo>
                <a:lnTo>
                  <a:pt x="3578" y="5597"/>
                </a:lnTo>
                <a:lnTo>
                  <a:pt x="3699" y="5354"/>
                </a:lnTo>
                <a:lnTo>
                  <a:pt x="3845" y="5111"/>
                </a:lnTo>
                <a:lnTo>
                  <a:pt x="4016" y="4892"/>
                </a:lnTo>
                <a:lnTo>
                  <a:pt x="4186" y="4673"/>
                </a:lnTo>
                <a:lnTo>
                  <a:pt x="4648" y="4162"/>
                </a:lnTo>
                <a:lnTo>
                  <a:pt x="5062" y="3748"/>
                </a:lnTo>
                <a:lnTo>
                  <a:pt x="5403" y="3432"/>
                </a:lnTo>
                <a:lnTo>
                  <a:pt x="5743" y="3189"/>
                </a:lnTo>
                <a:lnTo>
                  <a:pt x="6060" y="3018"/>
                </a:lnTo>
                <a:lnTo>
                  <a:pt x="6352" y="2872"/>
                </a:lnTo>
                <a:lnTo>
                  <a:pt x="6668" y="2775"/>
                </a:lnTo>
                <a:lnTo>
                  <a:pt x="6984" y="2702"/>
                </a:lnTo>
                <a:lnTo>
                  <a:pt x="7276" y="2653"/>
                </a:lnTo>
                <a:lnTo>
                  <a:pt x="7568" y="2629"/>
                </a:lnTo>
                <a:lnTo>
                  <a:pt x="7860" y="2605"/>
                </a:lnTo>
                <a:close/>
                <a:moveTo>
                  <a:pt x="6716" y="15525"/>
                </a:moveTo>
                <a:lnTo>
                  <a:pt x="6619" y="15720"/>
                </a:lnTo>
                <a:lnTo>
                  <a:pt x="6352" y="16158"/>
                </a:lnTo>
                <a:lnTo>
                  <a:pt x="6279" y="16109"/>
                </a:lnTo>
                <a:lnTo>
                  <a:pt x="6230" y="16060"/>
                </a:lnTo>
                <a:lnTo>
                  <a:pt x="6206" y="15963"/>
                </a:lnTo>
                <a:lnTo>
                  <a:pt x="6206" y="15866"/>
                </a:lnTo>
                <a:lnTo>
                  <a:pt x="6206" y="15768"/>
                </a:lnTo>
                <a:lnTo>
                  <a:pt x="6230" y="15695"/>
                </a:lnTo>
                <a:lnTo>
                  <a:pt x="6279" y="15598"/>
                </a:lnTo>
                <a:lnTo>
                  <a:pt x="6327" y="15549"/>
                </a:lnTo>
                <a:lnTo>
                  <a:pt x="6595" y="15525"/>
                </a:lnTo>
                <a:close/>
                <a:moveTo>
                  <a:pt x="6887" y="15525"/>
                </a:moveTo>
                <a:lnTo>
                  <a:pt x="7276" y="15549"/>
                </a:lnTo>
                <a:lnTo>
                  <a:pt x="7641" y="15598"/>
                </a:lnTo>
                <a:lnTo>
                  <a:pt x="8225" y="15647"/>
                </a:lnTo>
                <a:lnTo>
                  <a:pt x="8809" y="15671"/>
                </a:lnTo>
                <a:lnTo>
                  <a:pt x="8541" y="15963"/>
                </a:lnTo>
                <a:lnTo>
                  <a:pt x="8298" y="16255"/>
                </a:lnTo>
                <a:lnTo>
                  <a:pt x="7909" y="16231"/>
                </a:lnTo>
                <a:lnTo>
                  <a:pt x="8249" y="15744"/>
                </a:lnTo>
                <a:lnTo>
                  <a:pt x="8249" y="15720"/>
                </a:lnTo>
                <a:lnTo>
                  <a:pt x="8225" y="15695"/>
                </a:lnTo>
                <a:lnTo>
                  <a:pt x="8201" y="15671"/>
                </a:lnTo>
                <a:lnTo>
                  <a:pt x="8176" y="15695"/>
                </a:lnTo>
                <a:lnTo>
                  <a:pt x="7690" y="16231"/>
                </a:lnTo>
                <a:lnTo>
                  <a:pt x="7179" y="16182"/>
                </a:lnTo>
                <a:lnTo>
                  <a:pt x="7325" y="15939"/>
                </a:lnTo>
                <a:lnTo>
                  <a:pt x="7471" y="15671"/>
                </a:lnTo>
                <a:lnTo>
                  <a:pt x="7471" y="15647"/>
                </a:lnTo>
                <a:lnTo>
                  <a:pt x="7446" y="15622"/>
                </a:lnTo>
                <a:lnTo>
                  <a:pt x="7422" y="15647"/>
                </a:lnTo>
                <a:lnTo>
                  <a:pt x="7203" y="15890"/>
                </a:lnTo>
                <a:lnTo>
                  <a:pt x="6935" y="16182"/>
                </a:lnTo>
                <a:lnTo>
                  <a:pt x="6741" y="16206"/>
                </a:lnTo>
                <a:lnTo>
                  <a:pt x="6570" y="16255"/>
                </a:lnTo>
                <a:lnTo>
                  <a:pt x="6668" y="16060"/>
                </a:lnTo>
                <a:lnTo>
                  <a:pt x="6814" y="15817"/>
                </a:lnTo>
                <a:lnTo>
                  <a:pt x="6862" y="15671"/>
                </a:lnTo>
                <a:lnTo>
                  <a:pt x="6887" y="15525"/>
                </a:lnTo>
                <a:close/>
                <a:moveTo>
                  <a:pt x="9661" y="15622"/>
                </a:moveTo>
                <a:lnTo>
                  <a:pt x="9734" y="15671"/>
                </a:lnTo>
                <a:lnTo>
                  <a:pt x="9807" y="15695"/>
                </a:lnTo>
                <a:lnTo>
                  <a:pt x="9953" y="15695"/>
                </a:lnTo>
                <a:lnTo>
                  <a:pt x="9782" y="15793"/>
                </a:lnTo>
                <a:lnTo>
                  <a:pt x="9661" y="15939"/>
                </a:lnTo>
                <a:lnTo>
                  <a:pt x="9539" y="16085"/>
                </a:lnTo>
                <a:lnTo>
                  <a:pt x="9417" y="16279"/>
                </a:lnTo>
                <a:lnTo>
                  <a:pt x="9271" y="16279"/>
                </a:lnTo>
                <a:lnTo>
                  <a:pt x="9612" y="15817"/>
                </a:lnTo>
                <a:lnTo>
                  <a:pt x="9612" y="15793"/>
                </a:lnTo>
                <a:lnTo>
                  <a:pt x="9612" y="15768"/>
                </a:lnTo>
                <a:lnTo>
                  <a:pt x="9563" y="15768"/>
                </a:lnTo>
                <a:lnTo>
                  <a:pt x="9320" y="16012"/>
                </a:lnTo>
                <a:lnTo>
                  <a:pt x="9077" y="16255"/>
                </a:lnTo>
                <a:lnTo>
                  <a:pt x="8517" y="16255"/>
                </a:lnTo>
                <a:lnTo>
                  <a:pt x="8882" y="15720"/>
                </a:lnTo>
                <a:lnTo>
                  <a:pt x="8906" y="15695"/>
                </a:lnTo>
                <a:lnTo>
                  <a:pt x="8882" y="15671"/>
                </a:lnTo>
                <a:lnTo>
                  <a:pt x="9271" y="15671"/>
                </a:lnTo>
                <a:lnTo>
                  <a:pt x="9661" y="15622"/>
                </a:lnTo>
                <a:close/>
                <a:moveTo>
                  <a:pt x="10074" y="15768"/>
                </a:moveTo>
                <a:lnTo>
                  <a:pt x="10074" y="15841"/>
                </a:lnTo>
                <a:lnTo>
                  <a:pt x="10099" y="15939"/>
                </a:lnTo>
                <a:lnTo>
                  <a:pt x="10074" y="16060"/>
                </a:lnTo>
                <a:lnTo>
                  <a:pt x="10050" y="16182"/>
                </a:lnTo>
                <a:lnTo>
                  <a:pt x="9977" y="16304"/>
                </a:lnTo>
                <a:lnTo>
                  <a:pt x="9758" y="16279"/>
                </a:lnTo>
                <a:lnTo>
                  <a:pt x="9880" y="16012"/>
                </a:lnTo>
                <a:lnTo>
                  <a:pt x="9977" y="15890"/>
                </a:lnTo>
                <a:lnTo>
                  <a:pt x="10074" y="15768"/>
                </a:lnTo>
                <a:close/>
                <a:moveTo>
                  <a:pt x="6522" y="16571"/>
                </a:moveTo>
                <a:lnTo>
                  <a:pt x="6595" y="16620"/>
                </a:lnTo>
                <a:lnTo>
                  <a:pt x="6424" y="16888"/>
                </a:lnTo>
                <a:lnTo>
                  <a:pt x="6376" y="17034"/>
                </a:lnTo>
                <a:lnTo>
                  <a:pt x="6327" y="17180"/>
                </a:lnTo>
                <a:lnTo>
                  <a:pt x="6254" y="17082"/>
                </a:lnTo>
                <a:lnTo>
                  <a:pt x="6230" y="16985"/>
                </a:lnTo>
                <a:lnTo>
                  <a:pt x="6206" y="16912"/>
                </a:lnTo>
                <a:lnTo>
                  <a:pt x="6230" y="16815"/>
                </a:lnTo>
                <a:lnTo>
                  <a:pt x="6254" y="16839"/>
                </a:lnTo>
                <a:lnTo>
                  <a:pt x="6303" y="16839"/>
                </a:lnTo>
                <a:lnTo>
                  <a:pt x="6352" y="16815"/>
                </a:lnTo>
                <a:lnTo>
                  <a:pt x="6376" y="16766"/>
                </a:lnTo>
                <a:lnTo>
                  <a:pt x="6424" y="16596"/>
                </a:lnTo>
                <a:lnTo>
                  <a:pt x="6449" y="16596"/>
                </a:lnTo>
                <a:lnTo>
                  <a:pt x="6522" y="16571"/>
                </a:lnTo>
                <a:close/>
                <a:moveTo>
                  <a:pt x="7884" y="16693"/>
                </a:moveTo>
                <a:lnTo>
                  <a:pt x="7957" y="16717"/>
                </a:lnTo>
                <a:lnTo>
                  <a:pt x="7787" y="16985"/>
                </a:lnTo>
                <a:lnTo>
                  <a:pt x="7617" y="17253"/>
                </a:lnTo>
                <a:lnTo>
                  <a:pt x="7592" y="17326"/>
                </a:lnTo>
                <a:lnTo>
                  <a:pt x="7300" y="17326"/>
                </a:lnTo>
                <a:lnTo>
                  <a:pt x="7398" y="17107"/>
                </a:lnTo>
                <a:lnTo>
                  <a:pt x="7519" y="16888"/>
                </a:lnTo>
                <a:lnTo>
                  <a:pt x="7617" y="16717"/>
                </a:lnTo>
                <a:lnTo>
                  <a:pt x="7884" y="16693"/>
                </a:lnTo>
                <a:close/>
                <a:moveTo>
                  <a:pt x="8225" y="16717"/>
                </a:moveTo>
                <a:lnTo>
                  <a:pt x="8736" y="16742"/>
                </a:lnTo>
                <a:lnTo>
                  <a:pt x="8541" y="17034"/>
                </a:lnTo>
                <a:lnTo>
                  <a:pt x="8371" y="17326"/>
                </a:lnTo>
                <a:lnTo>
                  <a:pt x="7909" y="17326"/>
                </a:lnTo>
                <a:lnTo>
                  <a:pt x="7933" y="17277"/>
                </a:lnTo>
                <a:lnTo>
                  <a:pt x="8225" y="16717"/>
                </a:lnTo>
                <a:close/>
                <a:moveTo>
                  <a:pt x="9223" y="16742"/>
                </a:moveTo>
                <a:lnTo>
                  <a:pt x="8979" y="17350"/>
                </a:lnTo>
                <a:lnTo>
                  <a:pt x="8663" y="17350"/>
                </a:lnTo>
                <a:lnTo>
                  <a:pt x="8979" y="16742"/>
                </a:lnTo>
                <a:close/>
                <a:moveTo>
                  <a:pt x="9928" y="16742"/>
                </a:moveTo>
                <a:lnTo>
                  <a:pt x="9661" y="17253"/>
                </a:lnTo>
                <a:lnTo>
                  <a:pt x="9612" y="17350"/>
                </a:lnTo>
                <a:lnTo>
                  <a:pt x="9320" y="17350"/>
                </a:lnTo>
                <a:lnTo>
                  <a:pt x="9563" y="16742"/>
                </a:lnTo>
                <a:close/>
                <a:moveTo>
                  <a:pt x="10147" y="16839"/>
                </a:moveTo>
                <a:lnTo>
                  <a:pt x="10220" y="16961"/>
                </a:lnTo>
                <a:lnTo>
                  <a:pt x="10245" y="17107"/>
                </a:lnTo>
                <a:lnTo>
                  <a:pt x="10220" y="17228"/>
                </a:lnTo>
                <a:lnTo>
                  <a:pt x="10147" y="17350"/>
                </a:lnTo>
                <a:lnTo>
                  <a:pt x="9928" y="17350"/>
                </a:lnTo>
                <a:lnTo>
                  <a:pt x="9953" y="17277"/>
                </a:lnTo>
                <a:lnTo>
                  <a:pt x="10050" y="17082"/>
                </a:lnTo>
                <a:lnTo>
                  <a:pt x="10147" y="16839"/>
                </a:lnTo>
                <a:close/>
                <a:moveTo>
                  <a:pt x="6862" y="16693"/>
                </a:moveTo>
                <a:lnTo>
                  <a:pt x="7081" y="16717"/>
                </a:lnTo>
                <a:lnTo>
                  <a:pt x="7300" y="16717"/>
                </a:lnTo>
                <a:lnTo>
                  <a:pt x="7106" y="17009"/>
                </a:lnTo>
                <a:lnTo>
                  <a:pt x="6935" y="17326"/>
                </a:lnTo>
                <a:lnTo>
                  <a:pt x="6741" y="17350"/>
                </a:lnTo>
                <a:lnTo>
                  <a:pt x="6570" y="17399"/>
                </a:lnTo>
                <a:lnTo>
                  <a:pt x="6619" y="17204"/>
                </a:lnTo>
                <a:lnTo>
                  <a:pt x="6692" y="17034"/>
                </a:lnTo>
                <a:lnTo>
                  <a:pt x="6862" y="16693"/>
                </a:lnTo>
                <a:close/>
                <a:moveTo>
                  <a:pt x="6473" y="17618"/>
                </a:moveTo>
                <a:lnTo>
                  <a:pt x="6643" y="17691"/>
                </a:lnTo>
                <a:lnTo>
                  <a:pt x="6814" y="17715"/>
                </a:lnTo>
                <a:lnTo>
                  <a:pt x="6789" y="17910"/>
                </a:lnTo>
                <a:lnTo>
                  <a:pt x="6765" y="18080"/>
                </a:lnTo>
                <a:lnTo>
                  <a:pt x="6643" y="17983"/>
                </a:lnTo>
                <a:lnTo>
                  <a:pt x="6546" y="17861"/>
                </a:lnTo>
                <a:lnTo>
                  <a:pt x="6352" y="17642"/>
                </a:lnTo>
                <a:lnTo>
                  <a:pt x="6376" y="17618"/>
                </a:lnTo>
                <a:lnTo>
                  <a:pt x="6424" y="17642"/>
                </a:lnTo>
                <a:lnTo>
                  <a:pt x="6473" y="17618"/>
                </a:lnTo>
                <a:close/>
                <a:moveTo>
                  <a:pt x="7398" y="17739"/>
                </a:moveTo>
                <a:lnTo>
                  <a:pt x="7300" y="18031"/>
                </a:lnTo>
                <a:lnTo>
                  <a:pt x="7252" y="18177"/>
                </a:lnTo>
                <a:lnTo>
                  <a:pt x="7252" y="18299"/>
                </a:lnTo>
                <a:lnTo>
                  <a:pt x="7008" y="18202"/>
                </a:lnTo>
                <a:lnTo>
                  <a:pt x="7154" y="17739"/>
                </a:lnTo>
                <a:close/>
                <a:moveTo>
                  <a:pt x="8833" y="17715"/>
                </a:moveTo>
                <a:lnTo>
                  <a:pt x="8785" y="17837"/>
                </a:lnTo>
                <a:lnTo>
                  <a:pt x="8736" y="17983"/>
                </a:lnTo>
                <a:lnTo>
                  <a:pt x="8712" y="18104"/>
                </a:lnTo>
                <a:lnTo>
                  <a:pt x="8736" y="18153"/>
                </a:lnTo>
                <a:lnTo>
                  <a:pt x="8736" y="18202"/>
                </a:lnTo>
                <a:lnTo>
                  <a:pt x="8809" y="18250"/>
                </a:lnTo>
                <a:lnTo>
                  <a:pt x="8882" y="18250"/>
                </a:lnTo>
                <a:lnTo>
                  <a:pt x="8931" y="18226"/>
                </a:lnTo>
                <a:lnTo>
                  <a:pt x="9004" y="18153"/>
                </a:lnTo>
                <a:lnTo>
                  <a:pt x="9125" y="17958"/>
                </a:lnTo>
                <a:lnTo>
                  <a:pt x="9198" y="17739"/>
                </a:lnTo>
                <a:lnTo>
                  <a:pt x="9393" y="17739"/>
                </a:lnTo>
                <a:lnTo>
                  <a:pt x="9369" y="17861"/>
                </a:lnTo>
                <a:lnTo>
                  <a:pt x="9369" y="18007"/>
                </a:lnTo>
                <a:lnTo>
                  <a:pt x="9125" y="18153"/>
                </a:lnTo>
                <a:lnTo>
                  <a:pt x="8833" y="18275"/>
                </a:lnTo>
                <a:lnTo>
                  <a:pt x="8566" y="18372"/>
                </a:lnTo>
                <a:lnTo>
                  <a:pt x="8249" y="18421"/>
                </a:lnTo>
                <a:lnTo>
                  <a:pt x="8274" y="18275"/>
                </a:lnTo>
                <a:lnTo>
                  <a:pt x="8371" y="17983"/>
                </a:lnTo>
                <a:lnTo>
                  <a:pt x="8468" y="17715"/>
                </a:lnTo>
                <a:close/>
                <a:moveTo>
                  <a:pt x="8176" y="17715"/>
                </a:moveTo>
                <a:lnTo>
                  <a:pt x="8030" y="18056"/>
                </a:lnTo>
                <a:lnTo>
                  <a:pt x="7957" y="18250"/>
                </a:lnTo>
                <a:lnTo>
                  <a:pt x="7933" y="18445"/>
                </a:lnTo>
                <a:lnTo>
                  <a:pt x="7738" y="18421"/>
                </a:lnTo>
                <a:lnTo>
                  <a:pt x="7568" y="18396"/>
                </a:lnTo>
                <a:lnTo>
                  <a:pt x="7568" y="18226"/>
                </a:lnTo>
                <a:lnTo>
                  <a:pt x="7641" y="17983"/>
                </a:lnTo>
                <a:lnTo>
                  <a:pt x="7738" y="17715"/>
                </a:lnTo>
                <a:close/>
                <a:moveTo>
                  <a:pt x="8128" y="2094"/>
                </a:moveTo>
                <a:lnTo>
                  <a:pt x="7714" y="2142"/>
                </a:lnTo>
                <a:lnTo>
                  <a:pt x="7325" y="2191"/>
                </a:lnTo>
                <a:lnTo>
                  <a:pt x="6935" y="2264"/>
                </a:lnTo>
                <a:lnTo>
                  <a:pt x="6546" y="2386"/>
                </a:lnTo>
                <a:lnTo>
                  <a:pt x="6181" y="2507"/>
                </a:lnTo>
                <a:lnTo>
                  <a:pt x="5841" y="2653"/>
                </a:lnTo>
                <a:lnTo>
                  <a:pt x="5500" y="2824"/>
                </a:lnTo>
                <a:lnTo>
                  <a:pt x="5184" y="3018"/>
                </a:lnTo>
                <a:lnTo>
                  <a:pt x="4892" y="3237"/>
                </a:lnTo>
                <a:lnTo>
                  <a:pt x="4551" y="3554"/>
                </a:lnTo>
                <a:lnTo>
                  <a:pt x="4210" y="3918"/>
                </a:lnTo>
                <a:lnTo>
                  <a:pt x="3918" y="4332"/>
                </a:lnTo>
                <a:lnTo>
                  <a:pt x="3626" y="4746"/>
                </a:lnTo>
                <a:lnTo>
                  <a:pt x="3383" y="5159"/>
                </a:lnTo>
                <a:lnTo>
                  <a:pt x="3164" y="5549"/>
                </a:lnTo>
                <a:lnTo>
                  <a:pt x="3018" y="5889"/>
                </a:lnTo>
                <a:lnTo>
                  <a:pt x="2921" y="6157"/>
                </a:lnTo>
                <a:lnTo>
                  <a:pt x="2823" y="6595"/>
                </a:lnTo>
                <a:lnTo>
                  <a:pt x="2775" y="7057"/>
                </a:lnTo>
                <a:lnTo>
                  <a:pt x="2750" y="7495"/>
                </a:lnTo>
                <a:lnTo>
                  <a:pt x="2775" y="7958"/>
                </a:lnTo>
                <a:lnTo>
                  <a:pt x="2823" y="8396"/>
                </a:lnTo>
                <a:lnTo>
                  <a:pt x="2921" y="8834"/>
                </a:lnTo>
                <a:lnTo>
                  <a:pt x="3067" y="9272"/>
                </a:lnTo>
                <a:lnTo>
                  <a:pt x="3237" y="9685"/>
                </a:lnTo>
                <a:lnTo>
                  <a:pt x="3602" y="10367"/>
                </a:lnTo>
                <a:lnTo>
                  <a:pt x="3991" y="11024"/>
                </a:lnTo>
                <a:lnTo>
                  <a:pt x="4843" y="12337"/>
                </a:lnTo>
                <a:lnTo>
                  <a:pt x="5281" y="13019"/>
                </a:lnTo>
                <a:lnTo>
                  <a:pt x="5476" y="13384"/>
                </a:lnTo>
                <a:lnTo>
                  <a:pt x="5646" y="13724"/>
                </a:lnTo>
                <a:lnTo>
                  <a:pt x="5792" y="14089"/>
                </a:lnTo>
                <a:lnTo>
                  <a:pt x="5914" y="14454"/>
                </a:lnTo>
                <a:lnTo>
                  <a:pt x="5987" y="14844"/>
                </a:lnTo>
                <a:lnTo>
                  <a:pt x="5987" y="15282"/>
                </a:lnTo>
                <a:lnTo>
                  <a:pt x="5962" y="15379"/>
                </a:lnTo>
                <a:lnTo>
                  <a:pt x="5962" y="15428"/>
                </a:lnTo>
                <a:lnTo>
                  <a:pt x="5889" y="15525"/>
                </a:lnTo>
                <a:lnTo>
                  <a:pt x="5841" y="15647"/>
                </a:lnTo>
                <a:lnTo>
                  <a:pt x="5816" y="15768"/>
                </a:lnTo>
                <a:lnTo>
                  <a:pt x="5792" y="15914"/>
                </a:lnTo>
                <a:lnTo>
                  <a:pt x="5816" y="16036"/>
                </a:lnTo>
                <a:lnTo>
                  <a:pt x="5841" y="16158"/>
                </a:lnTo>
                <a:lnTo>
                  <a:pt x="5889" y="16279"/>
                </a:lnTo>
                <a:lnTo>
                  <a:pt x="5962" y="16377"/>
                </a:lnTo>
                <a:lnTo>
                  <a:pt x="5865" y="16474"/>
                </a:lnTo>
                <a:lnTo>
                  <a:pt x="5792" y="16620"/>
                </a:lnTo>
                <a:lnTo>
                  <a:pt x="5768" y="16766"/>
                </a:lnTo>
                <a:lnTo>
                  <a:pt x="5768" y="16912"/>
                </a:lnTo>
                <a:lnTo>
                  <a:pt x="5768" y="17058"/>
                </a:lnTo>
                <a:lnTo>
                  <a:pt x="5816" y="17204"/>
                </a:lnTo>
                <a:lnTo>
                  <a:pt x="5889" y="17350"/>
                </a:lnTo>
                <a:lnTo>
                  <a:pt x="5987" y="17472"/>
                </a:lnTo>
                <a:lnTo>
                  <a:pt x="5962" y="17496"/>
                </a:lnTo>
                <a:lnTo>
                  <a:pt x="5914" y="17618"/>
                </a:lnTo>
                <a:lnTo>
                  <a:pt x="5914" y="17715"/>
                </a:lnTo>
                <a:lnTo>
                  <a:pt x="5938" y="17837"/>
                </a:lnTo>
                <a:lnTo>
                  <a:pt x="5987" y="17934"/>
                </a:lnTo>
                <a:lnTo>
                  <a:pt x="6133" y="18129"/>
                </a:lnTo>
                <a:lnTo>
                  <a:pt x="6303" y="18299"/>
                </a:lnTo>
                <a:lnTo>
                  <a:pt x="6424" y="18421"/>
                </a:lnTo>
                <a:lnTo>
                  <a:pt x="6570" y="18518"/>
                </a:lnTo>
                <a:lnTo>
                  <a:pt x="6862" y="18688"/>
                </a:lnTo>
                <a:lnTo>
                  <a:pt x="7179" y="18810"/>
                </a:lnTo>
                <a:lnTo>
                  <a:pt x="7495" y="18859"/>
                </a:lnTo>
                <a:lnTo>
                  <a:pt x="7738" y="18883"/>
                </a:lnTo>
                <a:lnTo>
                  <a:pt x="7982" y="18883"/>
                </a:lnTo>
                <a:lnTo>
                  <a:pt x="8030" y="18956"/>
                </a:lnTo>
                <a:lnTo>
                  <a:pt x="8079" y="18980"/>
                </a:lnTo>
                <a:lnTo>
                  <a:pt x="8128" y="18980"/>
                </a:lnTo>
                <a:lnTo>
                  <a:pt x="8176" y="18956"/>
                </a:lnTo>
                <a:lnTo>
                  <a:pt x="8201" y="18907"/>
                </a:lnTo>
                <a:lnTo>
                  <a:pt x="8201" y="18883"/>
                </a:lnTo>
                <a:lnTo>
                  <a:pt x="8493" y="18834"/>
                </a:lnTo>
                <a:lnTo>
                  <a:pt x="8785" y="18761"/>
                </a:lnTo>
                <a:lnTo>
                  <a:pt x="9052" y="18664"/>
                </a:lnTo>
                <a:lnTo>
                  <a:pt x="9320" y="18542"/>
                </a:lnTo>
                <a:lnTo>
                  <a:pt x="9563" y="18396"/>
                </a:lnTo>
                <a:lnTo>
                  <a:pt x="9807" y="18226"/>
                </a:lnTo>
                <a:lnTo>
                  <a:pt x="10050" y="18056"/>
                </a:lnTo>
                <a:lnTo>
                  <a:pt x="10269" y="17837"/>
                </a:lnTo>
                <a:lnTo>
                  <a:pt x="10318" y="17764"/>
                </a:lnTo>
                <a:lnTo>
                  <a:pt x="10342" y="17691"/>
                </a:lnTo>
                <a:lnTo>
                  <a:pt x="10464" y="17593"/>
                </a:lnTo>
                <a:lnTo>
                  <a:pt x="10537" y="17447"/>
                </a:lnTo>
                <a:lnTo>
                  <a:pt x="10585" y="17301"/>
                </a:lnTo>
                <a:lnTo>
                  <a:pt x="10634" y="17107"/>
                </a:lnTo>
                <a:lnTo>
                  <a:pt x="10634" y="16936"/>
                </a:lnTo>
                <a:lnTo>
                  <a:pt x="10585" y="16742"/>
                </a:lnTo>
                <a:lnTo>
                  <a:pt x="10512" y="16596"/>
                </a:lnTo>
                <a:lnTo>
                  <a:pt x="10391" y="16474"/>
                </a:lnTo>
                <a:lnTo>
                  <a:pt x="10488" y="16255"/>
                </a:lnTo>
                <a:lnTo>
                  <a:pt x="10537" y="16036"/>
                </a:lnTo>
                <a:lnTo>
                  <a:pt x="10537" y="15817"/>
                </a:lnTo>
                <a:lnTo>
                  <a:pt x="10488" y="15574"/>
                </a:lnTo>
                <a:lnTo>
                  <a:pt x="10415" y="15476"/>
                </a:lnTo>
                <a:lnTo>
                  <a:pt x="10342" y="15379"/>
                </a:lnTo>
                <a:lnTo>
                  <a:pt x="10342" y="15306"/>
                </a:lnTo>
                <a:lnTo>
                  <a:pt x="10415" y="14965"/>
                </a:lnTo>
                <a:lnTo>
                  <a:pt x="10464" y="14625"/>
                </a:lnTo>
                <a:lnTo>
                  <a:pt x="10512" y="14284"/>
                </a:lnTo>
                <a:lnTo>
                  <a:pt x="10585" y="13943"/>
                </a:lnTo>
                <a:lnTo>
                  <a:pt x="10658" y="13700"/>
                </a:lnTo>
                <a:lnTo>
                  <a:pt x="10756" y="13457"/>
                </a:lnTo>
                <a:lnTo>
                  <a:pt x="10999" y="12994"/>
                </a:lnTo>
                <a:lnTo>
                  <a:pt x="11023" y="12970"/>
                </a:lnTo>
                <a:lnTo>
                  <a:pt x="11023" y="12946"/>
                </a:lnTo>
                <a:lnTo>
                  <a:pt x="11340" y="12459"/>
                </a:lnTo>
                <a:lnTo>
                  <a:pt x="11632" y="11972"/>
                </a:lnTo>
                <a:lnTo>
                  <a:pt x="12191" y="11194"/>
                </a:lnTo>
                <a:lnTo>
                  <a:pt x="12483" y="10780"/>
                </a:lnTo>
                <a:lnTo>
                  <a:pt x="12751" y="10367"/>
                </a:lnTo>
                <a:lnTo>
                  <a:pt x="12994" y="9953"/>
                </a:lnTo>
                <a:lnTo>
                  <a:pt x="13213" y="9515"/>
                </a:lnTo>
                <a:lnTo>
                  <a:pt x="13384" y="9053"/>
                </a:lnTo>
                <a:lnTo>
                  <a:pt x="13457" y="8809"/>
                </a:lnTo>
                <a:lnTo>
                  <a:pt x="13505" y="8590"/>
                </a:lnTo>
                <a:lnTo>
                  <a:pt x="13554" y="8152"/>
                </a:lnTo>
                <a:lnTo>
                  <a:pt x="13554" y="7714"/>
                </a:lnTo>
                <a:lnTo>
                  <a:pt x="13505" y="7276"/>
                </a:lnTo>
                <a:lnTo>
                  <a:pt x="13432" y="6838"/>
                </a:lnTo>
                <a:lnTo>
                  <a:pt x="13335" y="6400"/>
                </a:lnTo>
                <a:lnTo>
                  <a:pt x="13213" y="5962"/>
                </a:lnTo>
                <a:lnTo>
                  <a:pt x="12946" y="5135"/>
                </a:lnTo>
                <a:lnTo>
                  <a:pt x="12800" y="4770"/>
                </a:lnTo>
                <a:lnTo>
                  <a:pt x="12605" y="4429"/>
                </a:lnTo>
                <a:lnTo>
                  <a:pt x="12386" y="4113"/>
                </a:lnTo>
                <a:lnTo>
                  <a:pt x="12143" y="3797"/>
                </a:lnTo>
                <a:lnTo>
                  <a:pt x="12143" y="3773"/>
                </a:lnTo>
                <a:lnTo>
                  <a:pt x="12094" y="3675"/>
                </a:lnTo>
                <a:lnTo>
                  <a:pt x="12021" y="3602"/>
                </a:lnTo>
                <a:lnTo>
                  <a:pt x="11948" y="3554"/>
                </a:lnTo>
                <a:lnTo>
                  <a:pt x="11851" y="3505"/>
                </a:lnTo>
                <a:lnTo>
                  <a:pt x="11607" y="3286"/>
                </a:lnTo>
                <a:lnTo>
                  <a:pt x="11340" y="3091"/>
                </a:lnTo>
                <a:lnTo>
                  <a:pt x="11072" y="2897"/>
                </a:lnTo>
                <a:lnTo>
                  <a:pt x="10804" y="2726"/>
                </a:lnTo>
                <a:lnTo>
                  <a:pt x="10464" y="2556"/>
                </a:lnTo>
                <a:lnTo>
                  <a:pt x="10099" y="2386"/>
                </a:lnTo>
                <a:lnTo>
                  <a:pt x="9709" y="2264"/>
                </a:lnTo>
                <a:lnTo>
                  <a:pt x="9320" y="2191"/>
                </a:lnTo>
                <a:lnTo>
                  <a:pt x="8931" y="2142"/>
                </a:lnTo>
                <a:lnTo>
                  <a:pt x="8517" y="2094"/>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118414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11</a:t>
            </a:fld>
            <a:endParaRPr lang="da-DK"/>
          </a:p>
        </p:txBody>
      </p:sp>
      <p:sp>
        <p:nvSpPr>
          <p:cNvPr id="12" name="Google Shape;843;p29">
            <a:extLst>
              <a:ext uri="{FF2B5EF4-FFF2-40B4-BE49-F238E27FC236}">
                <a16:creationId xmlns:a16="http://schemas.microsoft.com/office/drawing/2014/main" id="{7863966F-5A3D-4358-A359-6A15BA528247}"/>
              </a:ext>
            </a:extLst>
          </p:cNvPr>
          <p:cNvSpPr/>
          <p:nvPr/>
        </p:nvSpPr>
        <p:spPr>
          <a:xfrm>
            <a:off x="0" y="347677"/>
            <a:ext cx="12192000" cy="856671"/>
          </a:xfrm>
          <a:prstGeom prst="rect">
            <a:avLst/>
          </a:prstGeom>
          <a:solidFill>
            <a:schemeClr val="accent3"/>
          </a:solidFill>
          <a:ln>
            <a:noFill/>
          </a:ln>
        </p:spPr>
        <p:txBody>
          <a:bodyPr spcFirstLastPara="1" wrap="square" lIns="91425" tIns="0" rIns="91425" bIns="0" anchor="ctr" anchorCtr="0">
            <a:noAutofit/>
          </a:bodyPr>
          <a:lstStyle/>
          <a:p>
            <a:pPr marL="0" lvl="0" indent="0" algn="ctr">
              <a:spcBef>
                <a:spcPts val="0"/>
              </a:spcBef>
              <a:spcAft>
                <a:spcPts val="0"/>
              </a:spcAft>
              <a:buNone/>
            </a:pPr>
            <a:r>
              <a:rPr lang="da-DK" sz="4000" b="1">
                <a:solidFill>
                  <a:schemeClr val="bg1"/>
                </a:solidFill>
                <a:latin typeface="Amatic SC"/>
                <a:ea typeface="Amatic SC"/>
                <a:cs typeface="Amatic SC"/>
                <a:sym typeface="Amatic SC"/>
              </a:rPr>
              <a:t>prøvehandlinger</a:t>
            </a:r>
            <a:endParaRPr lang="da-DK" sz="2800" b="1">
              <a:solidFill>
                <a:schemeClr val="bg1"/>
              </a:solidFill>
              <a:latin typeface="Amatic SC"/>
              <a:ea typeface="Amatic SC"/>
              <a:cs typeface="Amatic SC"/>
              <a:sym typeface="Amatic SC"/>
            </a:endParaRPr>
          </a:p>
        </p:txBody>
      </p:sp>
      <p:sp>
        <p:nvSpPr>
          <p:cNvPr id="2" name="Google Shape;847;p29">
            <a:extLst>
              <a:ext uri="{FF2B5EF4-FFF2-40B4-BE49-F238E27FC236}">
                <a16:creationId xmlns:a16="http://schemas.microsoft.com/office/drawing/2014/main" id="{33A948B7-3432-5D65-F956-347F28D9D6F0}"/>
              </a:ext>
            </a:extLst>
          </p:cNvPr>
          <p:cNvSpPr txBox="1"/>
          <p:nvPr/>
        </p:nvSpPr>
        <p:spPr>
          <a:xfrm>
            <a:off x="901244" y="1682257"/>
            <a:ext cx="9430810" cy="4828066"/>
          </a:xfrm>
          <a:prstGeom prst="rect">
            <a:avLst/>
          </a:prstGeom>
          <a:noFill/>
          <a:ln>
            <a:noFill/>
          </a:ln>
        </p:spPr>
        <p:txBody>
          <a:bodyPr spcFirstLastPara="1" wrap="square" lIns="0" tIns="180000" rIns="0" bIns="0" anchor="t" anchorCtr="0">
            <a:noAutofit/>
          </a:bodyPr>
          <a:lstStyle/>
          <a:p>
            <a:r>
              <a:rPr lang="da-DK" sz="1500" b="1">
                <a:latin typeface="Quicksand" panose="020B0604020202020204" charset="0"/>
                <a:ea typeface="Quicksand"/>
                <a:cs typeface="Quicksand" panose="020B0604020202020204" charset="0"/>
                <a:sym typeface="Quicksand"/>
              </a:rPr>
              <a:t>Forslag til proces: </a:t>
            </a:r>
          </a:p>
          <a:p>
            <a:endParaRPr lang="da-DK" sz="1500">
              <a:latin typeface="Quicksand" panose="020B0604020202020204" charset="0"/>
              <a:ea typeface="Quicksand"/>
              <a:cs typeface="Quicksand" panose="020B0604020202020204" charset="0"/>
              <a:sym typeface="Quicksand"/>
            </a:endParaRPr>
          </a:p>
          <a:p>
            <a:pPr marL="457200"/>
            <a:r>
              <a:rPr lang="da-DK" sz="1500">
                <a:latin typeface="Quicksand" panose="020B0604020202020204" charset="0"/>
                <a:ea typeface="Quicksand"/>
                <a:cs typeface="Quicksand" panose="020B0604020202020204" charset="0"/>
                <a:sym typeface="Quicksand"/>
              </a:rPr>
              <a:t>Alle </a:t>
            </a:r>
            <a:r>
              <a:rPr lang="da-DK" sz="1500">
                <a:latin typeface="Quicksand" panose="020B0604020202020204" charset="0"/>
                <a:ea typeface="Quicksand"/>
                <a:cs typeface="Quicksand" panose="020B0604020202020204" charset="0"/>
                <a:sym typeface="Quicksand"/>
                <a:hlinkClick r:id="rId6" action="ppaction://hlinksldjump">
                  <a:extLst>
                    <a:ext uri="{A12FA001-AC4F-418D-AE19-62706E023703}">
                      <ahyp:hlinkClr xmlns:ahyp="http://schemas.microsoft.com/office/drawing/2018/hyperlinkcolor" val="tx"/>
                    </a:ext>
                  </a:extLst>
                </a:hlinkClick>
              </a:rPr>
              <a:t>eksempler på prøvehandlinger fra praksis</a:t>
            </a:r>
            <a:r>
              <a:rPr lang="da-DK" sz="1500">
                <a:latin typeface="Quicksand" panose="020B0604020202020204" charset="0"/>
                <a:ea typeface="Quicksand"/>
                <a:cs typeface="Quicksand" panose="020B0604020202020204" charset="0"/>
                <a:sym typeface="Quicksand"/>
              </a:rPr>
              <a:t> (klik) er udprintet og ligger enten på bordet eller hænger på væggene.</a:t>
            </a:r>
          </a:p>
          <a:p>
            <a:pPr marL="457200"/>
            <a:endParaRPr lang="da-DK" sz="1500">
              <a:latin typeface="Quicksand" panose="020B0604020202020204" charset="0"/>
              <a:ea typeface="Quicksand"/>
              <a:cs typeface="Quicksand" panose="020B0604020202020204" charset="0"/>
              <a:sym typeface="Quicksand"/>
            </a:endParaRPr>
          </a:p>
          <a:p>
            <a:pPr marL="457200"/>
            <a:r>
              <a:rPr lang="da-DK" sz="1500">
                <a:latin typeface="Quicksand" panose="020B0604020202020204" charset="0"/>
                <a:ea typeface="Quicksand"/>
                <a:cs typeface="Quicksand" panose="020B0604020202020204" charset="0"/>
                <a:sym typeface="Quicksand"/>
              </a:rPr>
              <a:t>Teamet orienterer sig i prøvehandlingerne og udvælger i fællesskab dem, som de finder særligt inspirerende og motiverende. Teammedlemmerne kan fx sætte et klistermærke eller et kryds ved de prøvehandlinger, som særligt inspirerer.</a:t>
            </a:r>
          </a:p>
          <a:p>
            <a:pPr marL="457200"/>
            <a:endParaRPr lang="da-DK" sz="1500">
              <a:latin typeface="Quicksand" panose="020B0604020202020204" charset="0"/>
              <a:ea typeface="Quicksand"/>
              <a:cs typeface="Quicksand" panose="020B0604020202020204" charset="0"/>
              <a:sym typeface="Quicksand"/>
            </a:endParaRPr>
          </a:p>
          <a:p>
            <a:pPr marL="457200"/>
            <a:r>
              <a:rPr lang="da-DK" sz="1500">
                <a:latin typeface="Quicksand" panose="020B0604020202020204" charset="0"/>
                <a:ea typeface="Quicksand"/>
                <a:cs typeface="Quicksand" panose="020B0604020202020204" charset="0"/>
                <a:sym typeface="Quicksand"/>
              </a:rPr>
              <a:t>Med afsæt i de udvalgte prøvehandlinger drøfter teamet, hvordan de kan justere, videreudvikle eller afprøve en ny prøvehandling. De kan fx drøfte:</a:t>
            </a:r>
          </a:p>
          <a:p>
            <a:pPr marL="576000" lvl="1" indent="-144000">
              <a:buFont typeface="Arial" panose="020B0604020202020204" pitchFamily="34" charset="0"/>
              <a:buChar char="•"/>
            </a:pPr>
            <a:r>
              <a:rPr lang="da-DK" sz="1500">
                <a:latin typeface="Quicksand" panose="020B0604020202020204" charset="0"/>
                <a:ea typeface="Quicksand"/>
                <a:cs typeface="Quicksand" panose="020B0604020202020204" charset="0"/>
                <a:sym typeface="Quicksand"/>
              </a:rPr>
              <a:t>Hvorfor inspirerer det os? </a:t>
            </a:r>
          </a:p>
          <a:p>
            <a:pPr marL="576000" lvl="1" indent="-144000">
              <a:buFont typeface="Arial" panose="020B0604020202020204" pitchFamily="34" charset="0"/>
              <a:buChar char="•"/>
            </a:pPr>
            <a:r>
              <a:rPr lang="da-DK" sz="1500">
                <a:latin typeface="Quicksand" panose="020B0604020202020204" charset="0"/>
                <a:ea typeface="Quicksand"/>
                <a:cs typeface="Quicksand" panose="020B0604020202020204" charset="0"/>
                <a:sym typeface="Quicksand"/>
              </a:rPr>
              <a:t>Kan vi genkende udfordringen? </a:t>
            </a:r>
          </a:p>
          <a:p>
            <a:pPr marL="576000" lvl="1" indent="-144000">
              <a:buFont typeface="Arial" panose="020B0604020202020204" pitchFamily="34" charset="0"/>
              <a:buChar char="•"/>
            </a:pPr>
            <a:r>
              <a:rPr lang="da-DK" sz="1500">
                <a:latin typeface="Quicksand" panose="020B0604020202020204" charset="0"/>
                <a:ea typeface="Quicksand"/>
                <a:cs typeface="Quicksand" panose="020B0604020202020204" charset="0"/>
                <a:sym typeface="Quicksand"/>
              </a:rPr>
              <a:t>Hvordan kobler eksemplet på en prøvehandling sig til vores eksisterende prøvehandlinger? </a:t>
            </a:r>
          </a:p>
          <a:p>
            <a:pPr marL="576000" lvl="1" indent="-144000">
              <a:buFont typeface="Arial" panose="020B0604020202020204" pitchFamily="34" charset="0"/>
              <a:buChar char="•"/>
            </a:pPr>
            <a:r>
              <a:rPr lang="da-DK" sz="1500">
                <a:latin typeface="Quicksand" panose="020B0604020202020204" charset="0"/>
                <a:ea typeface="Quicksand"/>
                <a:cs typeface="Quicksand" panose="020B0604020202020204" charset="0"/>
                <a:sym typeface="Quicksand"/>
              </a:rPr>
              <a:t>Hvordan kan vi med afsæt i eksemplet udarbejde en ny prøvehandling, som vi vil arbejde med?</a:t>
            </a:r>
          </a:p>
        </p:txBody>
      </p:sp>
      <p:pic>
        <p:nvPicPr>
          <p:cNvPr id="3" name="Graphic 2" descr="Group brainstorm with solid fill">
            <a:extLst>
              <a:ext uri="{FF2B5EF4-FFF2-40B4-BE49-F238E27FC236}">
                <a16:creationId xmlns:a16="http://schemas.microsoft.com/office/drawing/2014/main" id="{B3DEEB3A-9639-1B91-9819-C4052F33CB3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18378" y="381785"/>
            <a:ext cx="780305" cy="780305"/>
          </a:xfrm>
          <a:prstGeom prst="rect">
            <a:avLst/>
          </a:prstGeom>
        </p:spPr>
      </p:pic>
      <p:sp>
        <p:nvSpPr>
          <p:cNvPr id="6" name="Oval 5">
            <a:extLst>
              <a:ext uri="{FF2B5EF4-FFF2-40B4-BE49-F238E27FC236}">
                <a16:creationId xmlns:a16="http://schemas.microsoft.com/office/drawing/2014/main" id="{B85D8481-3EF1-21B0-0229-5F0026B12BE2}"/>
              </a:ext>
            </a:extLst>
          </p:cNvPr>
          <p:cNvSpPr/>
          <p:nvPr/>
        </p:nvSpPr>
        <p:spPr>
          <a:xfrm>
            <a:off x="901241" y="2326640"/>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latin typeface="Quicksand" panose="020B0604020202020204" charset="0"/>
                <a:cs typeface="Quicksand" panose="020B0604020202020204" charset="0"/>
              </a:rPr>
              <a:t>1</a:t>
            </a:r>
            <a:endParaRPr lang="da-DK" sz="2000" noProof="0">
              <a:latin typeface="Quicksand" panose="020B0604020202020204" charset="0"/>
              <a:cs typeface="Quicksand" panose="020B0604020202020204" charset="0"/>
            </a:endParaRPr>
          </a:p>
        </p:txBody>
      </p:sp>
      <p:sp>
        <p:nvSpPr>
          <p:cNvPr id="7" name="Oval 6">
            <a:extLst>
              <a:ext uri="{FF2B5EF4-FFF2-40B4-BE49-F238E27FC236}">
                <a16:creationId xmlns:a16="http://schemas.microsoft.com/office/drawing/2014/main" id="{05D7796D-EC6B-7E2E-0F18-5376EEE18240}"/>
              </a:ext>
            </a:extLst>
          </p:cNvPr>
          <p:cNvSpPr/>
          <p:nvPr/>
        </p:nvSpPr>
        <p:spPr>
          <a:xfrm>
            <a:off x="901241" y="2804549"/>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a:latin typeface="Quicksand" panose="020B0604020202020204" charset="0"/>
                <a:cs typeface="Quicksand" panose="020B0604020202020204" charset="0"/>
              </a:rPr>
              <a:t>2</a:t>
            </a:r>
            <a:endParaRPr lang="da-DK" sz="2000" noProof="0">
              <a:latin typeface="Quicksand" panose="020B0604020202020204" charset="0"/>
              <a:cs typeface="Quicksand" panose="020B0604020202020204" charset="0"/>
            </a:endParaRPr>
          </a:p>
        </p:txBody>
      </p:sp>
      <p:sp>
        <p:nvSpPr>
          <p:cNvPr id="8" name="Oval 7">
            <a:extLst>
              <a:ext uri="{FF2B5EF4-FFF2-40B4-BE49-F238E27FC236}">
                <a16:creationId xmlns:a16="http://schemas.microsoft.com/office/drawing/2014/main" id="{A8D45A94-71F2-9B81-D70C-2620F6BDCBC2}"/>
              </a:ext>
            </a:extLst>
          </p:cNvPr>
          <p:cNvSpPr/>
          <p:nvPr/>
        </p:nvSpPr>
        <p:spPr>
          <a:xfrm>
            <a:off x="901241" y="3667654"/>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a:latin typeface="Quicksand" panose="020B0604020202020204" charset="0"/>
                <a:cs typeface="Quicksand" panose="020B0604020202020204" charset="0"/>
              </a:rPr>
              <a:t>3</a:t>
            </a:r>
            <a:endParaRPr lang="da-DK" sz="2000" noProof="0">
              <a:latin typeface="Quicksand" panose="020B0604020202020204" charset="0"/>
              <a:cs typeface="Quicksand" panose="020B0604020202020204" charset="0"/>
            </a:endParaRPr>
          </a:p>
        </p:txBody>
      </p:sp>
    </p:spTree>
    <p:extLst>
      <p:ext uri="{BB962C8B-B14F-4D97-AF65-F5344CB8AC3E}">
        <p14:creationId xmlns:p14="http://schemas.microsoft.com/office/powerpoint/2010/main" val="31451515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12</a:t>
            </a:fld>
            <a:endParaRPr lang="da-DK"/>
          </a:p>
        </p:txBody>
      </p:sp>
      <p:sp>
        <p:nvSpPr>
          <p:cNvPr id="12" name="Google Shape;843;p29">
            <a:extLst>
              <a:ext uri="{FF2B5EF4-FFF2-40B4-BE49-F238E27FC236}">
                <a16:creationId xmlns:a16="http://schemas.microsoft.com/office/drawing/2014/main" id="{7863966F-5A3D-4358-A359-6A15BA528247}"/>
              </a:ext>
            </a:extLst>
          </p:cNvPr>
          <p:cNvSpPr/>
          <p:nvPr/>
        </p:nvSpPr>
        <p:spPr>
          <a:xfrm>
            <a:off x="0" y="347677"/>
            <a:ext cx="12192000" cy="856671"/>
          </a:xfrm>
          <a:prstGeom prst="rect">
            <a:avLst/>
          </a:prstGeom>
          <a:solidFill>
            <a:schemeClr val="accent5"/>
          </a:solidFill>
          <a:ln>
            <a:noFill/>
          </a:ln>
        </p:spPr>
        <p:txBody>
          <a:bodyPr spcFirstLastPara="1" wrap="square" lIns="91425" tIns="0" rIns="91425" bIns="0" anchor="ctr" anchorCtr="0">
            <a:noAutofit/>
          </a:bodyPr>
          <a:lstStyle/>
          <a:p>
            <a:pPr marL="0" lvl="0" indent="0" algn="ctr">
              <a:spcBef>
                <a:spcPts val="0"/>
              </a:spcBef>
              <a:spcAft>
                <a:spcPts val="0"/>
              </a:spcAft>
              <a:buNone/>
            </a:pPr>
            <a:r>
              <a:rPr lang="da-DK" sz="4000" b="1">
                <a:solidFill>
                  <a:schemeClr val="bg1"/>
                </a:solidFill>
                <a:latin typeface="Amatic SC"/>
                <a:ea typeface="Amatic SC"/>
                <a:cs typeface="Amatic SC"/>
                <a:sym typeface="Amatic SC"/>
              </a:rPr>
              <a:t>Børnesyn</a:t>
            </a:r>
          </a:p>
        </p:txBody>
      </p:sp>
      <p:sp>
        <p:nvSpPr>
          <p:cNvPr id="2" name="Google Shape;847;p29">
            <a:extLst>
              <a:ext uri="{FF2B5EF4-FFF2-40B4-BE49-F238E27FC236}">
                <a16:creationId xmlns:a16="http://schemas.microsoft.com/office/drawing/2014/main" id="{12FF808D-AA50-EC38-DDF4-A3A60971C11D}"/>
              </a:ext>
            </a:extLst>
          </p:cNvPr>
          <p:cNvSpPr txBox="1"/>
          <p:nvPr/>
        </p:nvSpPr>
        <p:spPr>
          <a:xfrm>
            <a:off x="905135" y="1682257"/>
            <a:ext cx="7271103" cy="4828066"/>
          </a:xfrm>
          <a:prstGeom prst="rect">
            <a:avLst/>
          </a:prstGeom>
          <a:noFill/>
          <a:ln>
            <a:noFill/>
          </a:ln>
        </p:spPr>
        <p:txBody>
          <a:bodyPr spcFirstLastPara="1" wrap="square" lIns="0" tIns="180000" rIns="0" bIns="0" anchor="t" anchorCtr="0">
            <a:noAutofit/>
          </a:bodyPr>
          <a:lstStyle/>
          <a:p>
            <a:r>
              <a:rPr lang="da-DK" sz="1500" b="1">
                <a:latin typeface="Quicksand" panose="020B0604020202020204" charset="0"/>
                <a:ea typeface="Quicksand"/>
                <a:cs typeface="Quicksand" panose="020B0604020202020204" charset="0"/>
                <a:sym typeface="Quicksand"/>
              </a:rPr>
              <a:t>Forslag til proces: </a:t>
            </a:r>
          </a:p>
          <a:p>
            <a:endParaRPr lang="da-DK" sz="1500">
              <a:latin typeface="Quicksand" panose="020B0604020202020204" charset="0"/>
              <a:ea typeface="Quicksand"/>
              <a:cs typeface="Quicksand" panose="020B0604020202020204" charset="0"/>
              <a:sym typeface="Quicksand"/>
            </a:endParaRPr>
          </a:p>
          <a:p>
            <a:pPr lvl="1"/>
            <a:r>
              <a:rPr lang="da-DK" sz="1500">
                <a:latin typeface="Quicksand" panose="020B0604020202020204" charset="0"/>
                <a:ea typeface="Quicksand"/>
                <a:cs typeface="Quicksand" panose="020B0604020202020204" charset="0"/>
                <a:sym typeface="Quicksand"/>
              </a:rPr>
              <a:t>Teams får udleveret en printet version af </a:t>
            </a:r>
            <a:r>
              <a:rPr lang="da-DK" sz="1500">
                <a:latin typeface="Quicksand" panose="020B0604020202020204" charset="0"/>
                <a:ea typeface="Quicksand"/>
                <a:cs typeface="Quicksand" panose="020B0604020202020204" charset="0"/>
                <a:sym typeface="Quicksand"/>
                <a:hlinkClick r:id="rId6" action="ppaction://hlinksldjump">
                  <a:extLst>
                    <a:ext uri="{A12FA001-AC4F-418D-AE19-62706E023703}">
                      <ahyp:hlinkClr xmlns:ahyp="http://schemas.microsoft.com/office/drawing/2018/hyperlinkcolor" val="tx"/>
                    </a:ext>
                  </a:extLst>
                </a:hlinkClick>
              </a:rPr>
              <a:t>bilaget med ord, der karakteriserer skolernes børnesyn</a:t>
            </a:r>
            <a:r>
              <a:rPr lang="da-DK" sz="1500">
                <a:latin typeface="Quicksand" panose="020B0604020202020204" charset="0"/>
                <a:ea typeface="Quicksand"/>
                <a:cs typeface="Quicksand" panose="020B0604020202020204" charset="0"/>
                <a:sym typeface="Quicksand"/>
              </a:rPr>
              <a:t>. Hvert teammedlem reflekterer over, hvilke ord de mener karakteriserer skolens børnesyn, og sætter ring om de ord, som særligt karakteriserer skolens børnesyn, og sætter kryds over de ord, som ikke stemmer overens med skolens børnesyn.</a:t>
            </a:r>
          </a:p>
          <a:p>
            <a:pPr marL="457200"/>
            <a:endParaRPr lang="da-DK" sz="1500">
              <a:latin typeface="Quicksand" panose="020B0604020202020204" charset="0"/>
              <a:ea typeface="Quicksand"/>
              <a:cs typeface="Quicksand" panose="020B0604020202020204" charset="0"/>
              <a:sym typeface="Quicksand"/>
            </a:endParaRPr>
          </a:p>
          <a:p>
            <a:pPr marL="457200"/>
            <a:r>
              <a:rPr lang="da-DK" sz="1500">
                <a:latin typeface="Quicksand" panose="020B0604020202020204" charset="0"/>
                <a:ea typeface="Quicksand"/>
                <a:cs typeface="Quicksand" panose="020B0604020202020204" charset="0"/>
                <a:sym typeface="Quicksand"/>
              </a:rPr>
              <a:t>På skift præsenterer teammedlemmerne kort, hvilke ord de hver især har fremhævet. Derefter drøfter teamet:</a:t>
            </a:r>
          </a:p>
          <a:p>
            <a:pPr marL="914400" lvl="1" indent="-285750">
              <a:buFont typeface="Arial" panose="020B0604020202020204" pitchFamily="34" charset="0"/>
              <a:buChar char="•"/>
            </a:pPr>
            <a:r>
              <a:rPr lang="da-DK" sz="1500">
                <a:latin typeface="Quicksand" panose="020B0604020202020204" charset="0"/>
                <a:ea typeface="Quicksand"/>
                <a:cs typeface="Quicksand" panose="020B0604020202020204" charset="0"/>
                <a:sym typeface="Quicksand"/>
              </a:rPr>
              <a:t>Hvordan kommer vores børnesyn til udtryk i vores praksis?</a:t>
            </a:r>
          </a:p>
          <a:p>
            <a:pPr marL="914400" lvl="1" indent="-285750">
              <a:buFont typeface="Arial" panose="020B0604020202020204" pitchFamily="34" charset="0"/>
              <a:buChar char="•"/>
            </a:pPr>
            <a:r>
              <a:rPr lang="da-DK" sz="1500">
                <a:latin typeface="Quicksand" panose="020B0604020202020204" charset="0"/>
                <a:ea typeface="Quicksand"/>
                <a:cs typeface="Quicksand" panose="020B0604020202020204" charset="0"/>
                <a:sym typeface="Quicksand"/>
              </a:rPr>
              <a:t>Hvad skal der til for at sikre stærkere sammenhæng mellem skolens børnesyn og praksis?</a:t>
            </a:r>
          </a:p>
          <a:p>
            <a:pPr marL="171450"/>
            <a:endParaRPr lang="da-DK" sz="1500">
              <a:latin typeface="Quicksand" panose="020B0604020202020204" charset="0"/>
              <a:ea typeface="Quicksand"/>
              <a:cs typeface="Quicksand" panose="020B0604020202020204" charset="0"/>
              <a:sym typeface="Quicksand"/>
            </a:endParaRPr>
          </a:p>
          <a:p>
            <a:pPr marL="457200"/>
            <a:r>
              <a:rPr lang="da-DK" sz="1500">
                <a:latin typeface="Quicksand" panose="020B0604020202020204" charset="0"/>
                <a:ea typeface="Quicksand"/>
                <a:cs typeface="Quicksand" panose="020B0604020202020204" charset="0"/>
                <a:sym typeface="Quicksand"/>
              </a:rPr>
              <a:t>Teamet aftaler næste skridt (hvem der gør hvad og hvornår) i arbejdet med at integrere børnesynet i arbejdet med Den Mangfoldige Folkeskole.</a:t>
            </a:r>
          </a:p>
        </p:txBody>
      </p:sp>
      <p:pic>
        <p:nvPicPr>
          <p:cNvPr id="3" name="Graphic 2" descr="Compass with solid fill">
            <a:extLst>
              <a:ext uri="{FF2B5EF4-FFF2-40B4-BE49-F238E27FC236}">
                <a16:creationId xmlns:a16="http://schemas.microsoft.com/office/drawing/2014/main" id="{C4B151BE-9929-3302-832C-7751EC99B09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81806" y="384308"/>
            <a:ext cx="783408" cy="783408"/>
          </a:xfrm>
          <a:prstGeom prst="rect">
            <a:avLst/>
          </a:prstGeom>
        </p:spPr>
      </p:pic>
      <p:sp>
        <p:nvSpPr>
          <p:cNvPr id="6" name="Oval 5">
            <a:extLst>
              <a:ext uri="{FF2B5EF4-FFF2-40B4-BE49-F238E27FC236}">
                <a16:creationId xmlns:a16="http://schemas.microsoft.com/office/drawing/2014/main" id="{D850FFB8-611F-F595-5E89-D21EA3E4A562}"/>
              </a:ext>
            </a:extLst>
          </p:cNvPr>
          <p:cNvSpPr/>
          <p:nvPr/>
        </p:nvSpPr>
        <p:spPr>
          <a:xfrm>
            <a:off x="904591" y="2326640"/>
            <a:ext cx="345600" cy="34544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latin typeface="Quicksand" panose="020B0604020202020204" charset="0"/>
                <a:cs typeface="Quicksand" panose="020B0604020202020204" charset="0"/>
              </a:rPr>
              <a:t>1</a:t>
            </a:r>
            <a:endParaRPr lang="da-DK" sz="2000" noProof="0">
              <a:latin typeface="Quicksand" panose="020B0604020202020204" charset="0"/>
              <a:cs typeface="Quicksand" panose="020B0604020202020204" charset="0"/>
            </a:endParaRPr>
          </a:p>
        </p:txBody>
      </p:sp>
      <p:sp>
        <p:nvSpPr>
          <p:cNvPr id="7" name="Oval 6">
            <a:extLst>
              <a:ext uri="{FF2B5EF4-FFF2-40B4-BE49-F238E27FC236}">
                <a16:creationId xmlns:a16="http://schemas.microsoft.com/office/drawing/2014/main" id="{96BC81CA-E8A8-25B4-1C95-A7529B589A07}"/>
              </a:ext>
            </a:extLst>
          </p:cNvPr>
          <p:cNvSpPr/>
          <p:nvPr/>
        </p:nvSpPr>
        <p:spPr>
          <a:xfrm>
            <a:off x="904591" y="3646741"/>
            <a:ext cx="345600" cy="34544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a:latin typeface="Quicksand" panose="020B0604020202020204" charset="0"/>
                <a:cs typeface="Quicksand" panose="020B0604020202020204" charset="0"/>
              </a:rPr>
              <a:t>2</a:t>
            </a:r>
          </a:p>
        </p:txBody>
      </p:sp>
      <p:sp>
        <p:nvSpPr>
          <p:cNvPr id="8" name="Oval 7">
            <a:extLst>
              <a:ext uri="{FF2B5EF4-FFF2-40B4-BE49-F238E27FC236}">
                <a16:creationId xmlns:a16="http://schemas.microsoft.com/office/drawing/2014/main" id="{8512E92E-F827-F1F0-ABE8-77E1612C8217}"/>
              </a:ext>
            </a:extLst>
          </p:cNvPr>
          <p:cNvSpPr/>
          <p:nvPr/>
        </p:nvSpPr>
        <p:spPr>
          <a:xfrm>
            <a:off x="904591" y="5047071"/>
            <a:ext cx="345600" cy="34544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a:latin typeface="Quicksand" panose="020B0604020202020204" charset="0"/>
                <a:cs typeface="Quicksand" panose="020B0604020202020204" charset="0"/>
              </a:rPr>
              <a:t>3</a:t>
            </a:r>
            <a:endParaRPr lang="da-DK" sz="1600" noProof="0">
              <a:latin typeface="Quicksand" panose="020B0604020202020204" charset="0"/>
              <a:cs typeface="Quicksand" panose="020B0604020202020204" charset="0"/>
            </a:endParaRPr>
          </a:p>
        </p:txBody>
      </p:sp>
      <p:sp>
        <p:nvSpPr>
          <p:cNvPr id="10" name="TextBox 9">
            <a:extLst>
              <a:ext uri="{FF2B5EF4-FFF2-40B4-BE49-F238E27FC236}">
                <a16:creationId xmlns:a16="http://schemas.microsoft.com/office/drawing/2014/main" id="{B9B5E756-3862-C58E-4881-08CAF0E4AE6E}"/>
              </a:ext>
            </a:extLst>
          </p:cNvPr>
          <p:cNvSpPr txBox="1"/>
          <p:nvPr/>
        </p:nvSpPr>
        <p:spPr>
          <a:xfrm>
            <a:off x="869721" y="5697700"/>
            <a:ext cx="7271103" cy="246221"/>
          </a:xfrm>
          <a:prstGeom prst="rect">
            <a:avLst/>
          </a:prstGeom>
          <a:noFill/>
        </p:spPr>
        <p:txBody>
          <a:bodyPr wrap="square" lIns="0" tIns="0" rIns="0" bIns="0" rtlCol="0">
            <a:spAutoFit/>
          </a:bodyPr>
          <a:lstStyle/>
          <a:p>
            <a:r>
              <a:rPr lang="da-DK" sz="800">
                <a:latin typeface="Quicksand" panose="020B0604020202020204"/>
              </a:rPr>
              <a:t>*I skolerapporten fremgår det pædagogiske personales besvarelse af følgende spørgsmål relateret til det fælles børnesyn: ”På min skole er der en klar vision eller et fælles mål for arbejdet med at skabe deltagelsesmuligheder for alle elever” og ”På min skole har vi et fælles børnesyn”. </a:t>
            </a:r>
          </a:p>
        </p:txBody>
      </p:sp>
      <p:pic>
        <p:nvPicPr>
          <p:cNvPr id="14" name="Graphic 13">
            <a:extLst>
              <a:ext uri="{FF2B5EF4-FFF2-40B4-BE49-F238E27FC236}">
                <a16:creationId xmlns:a16="http://schemas.microsoft.com/office/drawing/2014/main" id="{CF1A5AC3-DED5-D098-88CD-1735CAB1613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40824" y="1770370"/>
            <a:ext cx="3698360" cy="2607229"/>
          </a:xfrm>
          <a:prstGeom prst="rect">
            <a:avLst/>
          </a:prstGeom>
        </p:spPr>
      </p:pic>
      <p:sp>
        <p:nvSpPr>
          <p:cNvPr id="15" name="Rectangle 14">
            <a:extLst>
              <a:ext uri="{FF2B5EF4-FFF2-40B4-BE49-F238E27FC236}">
                <a16:creationId xmlns:a16="http://schemas.microsoft.com/office/drawing/2014/main" id="{739AC131-1BC6-D446-4071-FDB56C36AFEE}"/>
              </a:ext>
            </a:extLst>
          </p:cNvPr>
          <p:cNvSpPr/>
          <p:nvPr/>
        </p:nvSpPr>
        <p:spPr>
          <a:xfrm>
            <a:off x="8605896" y="2577629"/>
            <a:ext cx="2650313" cy="8711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200" b="1">
                <a:solidFill>
                  <a:schemeClr val="tx1"/>
                </a:solidFill>
                <a:latin typeface="Quicksand" panose="020B0604020202020204"/>
              </a:rPr>
              <a:t>Tip:</a:t>
            </a:r>
            <a:br>
              <a:rPr lang="da-DK" sz="1200" b="1">
                <a:solidFill>
                  <a:schemeClr val="tx1"/>
                </a:solidFill>
                <a:latin typeface="Quicksand" panose="020B0604020202020204"/>
              </a:rPr>
            </a:br>
            <a:r>
              <a:rPr lang="da-DK" sz="1200">
                <a:solidFill>
                  <a:schemeClr val="tx1"/>
                </a:solidFill>
                <a:latin typeface="Quicksand" panose="020B0604020202020204"/>
              </a:rPr>
              <a:t>I dialogen om skolens børnesyn kan I med fordel inddrage skolens egne data fra skolerapporten*.</a:t>
            </a:r>
            <a:endParaRPr lang="da-DK" sz="1200">
              <a:solidFill>
                <a:schemeClr val="tx1"/>
              </a:solidFill>
              <a:latin typeface="Quicksand" panose="020B0604020202020204" charset="0"/>
              <a:ea typeface="Quicksand"/>
              <a:cs typeface="Quicksand" panose="020B0604020202020204" charset="0"/>
              <a:sym typeface="Quicksand"/>
            </a:endParaRPr>
          </a:p>
        </p:txBody>
      </p:sp>
      <p:sp>
        <p:nvSpPr>
          <p:cNvPr id="16" name="Google Shape;1251;p48">
            <a:extLst>
              <a:ext uri="{FF2B5EF4-FFF2-40B4-BE49-F238E27FC236}">
                <a16:creationId xmlns:a16="http://schemas.microsoft.com/office/drawing/2014/main" id="{72E99403-A121-F8B4-D1FF-54E02C719A0D}"/>
              </a:ext>
            </a:extLst>
          </p:cNvPr>
          <p:cNvSpPr/>
          <p:nvPr/>
        </p:nvSpPr>
        <p:spPr>
          <a:xfrm>
            <a:off x="9751539" y="2131897"/>
            <a:ext cx="345681" cy="414830"/>
          </a:xfrm>
          <a:custGeom>
            <a:avLst/>
            <a:gdLst/>
            <a:ahLst/>
            <a:cxnLst/>
            <a:rect l="l" t="t" r="r" b="b"/>
            <a:pathLst>
              <a:path w="15817" h="18981" extrusionOk="0">
                <a:moveTo>
                  <a:pt x="11364" y="1"/>
                </a:moveTo>
                <a:lnTo>
                  <a:pt x="11242" y="25"/>
                </a:lnTo>
                <a:lnTo>
                  <a:pt x="11169" y="74"/>
                </a:lnTo>
                <a:lnTo>
                  <a:pt x="11096" y="171"/>
                </a:lnTo>
                <a:lnTo>
                  <a:pt x="10780" y="731"/>
                </a:lnTo>
                <a:lnTo>
                  <a:pt x="10634" y="999"/>
                </a:lnTo>
                <a:lnTo>
                  <a:pt x="10537" y="1315"/>
                </a:lnTo>
                <a:lnTo>
                  <a:pt x="10512" y="1388"/>
                </a:lnTo>
                <a:lnTo>
                  <a:pt x="10537" y="1461"/>
                </a:lnTo>
                <a:lnTo>
                  <a:pt x="10585" y="1534"/>
                </a:lnTo>
                <a:lnTo>
                  <a:pt x="10634" y="1583"/>
                </a:lnTo>
                <a:lnTo>
                  <a:pt x="10707" y="1607"/>
                </a:lnTo>
                <a:lnTo>
                  <a:pt x="10804" y="1631"/>
                </a:lnTo>
                <a:lnTo>
                  <a:pt x="10877" y="1607"/>
                </a:lnTo>
                <a:lnTo>
                  <a:pt x="10950" y="1558"/>
                </a:lnTo>
                <a:lnTo>
                  <a:pt x="11145" y="1315"/>
                </a:lnTo>
                <a:lnTo>
                  <a:pt x="11291" y="1047"/>
                </a:lnTo>
                <a:lnTo>
                  <a:pt x="11510" y="731"/>
                </a:lnTo>
                <a:lnTo>
                  <a:pt x="11583" y="682"/>
                </a:lnTo>
                <a:lnTo>
                  <a:pt x="11656" y="609"/>
                </a:lnTo>
                <a:lnTo>
                  <a:pt x="11705" y="463"/>
                </a:lnTo>
                <a:lnTo>
                  <a:pt x="11729" y="342"/>
                </a:lnTo>
                <a:lnTo>
                  <a:pt x="11705" y="220"/>
                </a:lnTo>
                <a:lnTo>
                  <a:pt x="11656" y="123"/>
                </a:lnTo>
                <a:lnTo>
                  <a:pt x="11583" y="50"/>
                </a:lnTo>
                <a:lnTo>
                  <a:pt x="11486" y="25"/>
                </a:lnTo>
                <a:lnTo>
                  <a:pt x="11461" y="1"/>
                </a:lnTo>
                <a:close/>
                <a:moveTo>
                  <a:pt x="3821" y="171"/>
                </a:moveTo>
                <a:lnTo>
                  <a:pt x="3748" y="196"/>
                </a:lnTo>
                <a:lnTo>
                  <a:pt x="3699" y="244"/>
                </a:lnTo>
                <a:lnTo>
                  <a:pt x="3651" y="317"/>
                </a:lnTo>
                <a:lnTo>
                  <a:pt x="3651" y="390"/>
                </a:lnTo>
                <a:lnTo>
                  <a:pt x="3651" y="463"/>
                </a:lnTo>
                <a:lnTo>
                  <a:pt x="3699" y="634"/>
                </a:lnTo>
                <a:lnTo>
                  <a:pt x="3772" y="804"/>
                </a:lnTo>
                <a:lnTo>
                  <a:pt x="3943" y="1120"/>
                </a:lnTo>
                <a:lnTo>
                  <a:pt x="4113" y="1461"/>
                </a:lnTo>
                <a:lnTo>
                  <a:pt x="4259" y="1802"/>
                </a:lnTo>
                <a:lnTo>
                  <a:pt x="4332" y="1923"/>
                </a:lnTo>
                <a:lnTo>
                  <a:pt x="4429" y="1996"/>
                </a:lnTo>
                <a:lnTo>
                  <a:pt x="4527" y="2021"/>
                </a:lnTo>
                <a:lnTo>
                  <a:pt x="4624" y="1996"/>
                </a:lnTo>
                <a:lnTo>
                  <a:pt x="4721" y="1972"/>
                </a:lnTo>
                <a:lnTo>
                  <a:pt x="4794" y="1899"/>
                </a:lnTo>
                <a:lnTo>
                  <a:pt x="4843" y="1777"/>
                </a:lnTo>
                <a:lnTo>
                  <a:pt x="4843" y="1656"/>
                </a:lnTo>
                <a:lnTo>
                  <a:pt x="4794" y="1461"/>
                </a:lnTo>
                <a:lnTo>
                  <a:pt x="4697" y="1266"/>
                </a:lnTo>
                <a:lnTo>
                  <a:pt x="4502" y="901"/>
                </a:lnTo>
                <a:lnTo>
                  <a:pt x="4283" y="536"/>
                </a:lnTo>
                <a:lnTo>
                  <a:pt x="4162" y="390"/>
                </a:lnTo>
                <a:lnTo>
                  <a:pt x="4040" y="244"/>
                </a:lnTo>
                <a:lnTo>
                  <a:pt x="3967" y="196"/>
                </a:lnTo>
                <a:lnTo>
                  <a:pt x="3894" y="171"/>
                </a:lnTo>
                <a:close/>
                <a:moveTo>
                  <a:pt x="15452" y="4405"/>
                </a:moveTo>
                <a:lnTo>
                  <a:pt x="15379" y="4429"/>
                </a:lnTo>
                <a:lnTo>
                  <a:pt x="15306" y="4454"/>
                </a:lnTo>
                <a:lnTo>
                  <a:pt x="15135" y="4551"/>
                </a:lnTo>
                <a:lnTo>
                  <a:pt x="14941" y="4600"/>
                </a:lnTo>
                <a:lnTo>
                  <a:pt x="14551" y="4697"/>
                </a:lnTo>
                <a:lnTo>
                  <a:pt x="14357" y="4746"/>
                </a:lnTo>
                <a:lnTo>
                  <a:pt x="14162" y="4819"/>
                </a:lnTo>
                <a:lnTo>
                  <a:pt x="14016" y="4916"/>
                </a:lnTo>
                <a:lnTo>
                  <a:pt x="13870" y="5062"/>
                </a:lnTo>
                <a:lnTo>
                  <a:pt x="13822" y="5135"/>
                </a:lnTo>
                <a:lnTo>
                  <a:pt x="13822" y="5232"/>
                </a:lnTo>
                <a:lnTo>
                  <a:pt x="13846" y="5330"/>
                </a:lnTo>
                <a:lnTo>
                  <a:pt x="13895" y="5354"/>
                </a:lnTo>
                <a:lnTo>
                  <a:pt x="13943" y="5354"/>
                </a:lnTo>
                <a:lnTo>
                  <a:pt x="14138" y="5378"/>
                </a:lnTo>
                <a:lnTo>
                  <a:pt x="14357" y="5378"/>
                </a:lnTo>
                <a:lnTo>
                  <a:pt x="14600" y="5354"/>
                </a:lnTo>
                <a:lnTo>
                  <a:pt x="14819" y="5330"/>
                </a:lnTo>
                <a:lnTo>
                  <a:pt x="15038" y="5257"/>
                </a:lnTo>
                <a:lnTo>
                  <a:pt x="15257" y="5208"/>
                </a:lnTo>
                <a:lnTo>
                  <a:pt x="15452" y="5111"/>
                </a:lnTo>
                <a:lnTo>
                  <a:pt x="15646" y="5038"/>
                </a:lnTo>
                <a:lnTo>
                  <a:pt x="15719" y="4989"/>
                </a:lnTo>
                <a:lnTo>
                  <a:pt x="15768" y="4940"/>
                </a:lnTo>
                <a:lnTo>
                  <a:pt x="15817" y="4819"/>
                </a:lnTo>
                <a:lnTo>
                  <a:pt x="15792" y="4697"/>
                </a:lnTo>
                <a:lnTo>
                  <a:pt x="15768" y="4575"/>
                </a:lnTo>
                <a:lnTo>
                  <a:pt x="15671" y="4478"/>
                </a:lnTo>
                <a:lnTo>
                  <a:pt x="15573" y="4429"/>
                </a:lnTo>
                <a:lnTo>
                  <a:pt x="15452" y="4405"/>
                </a:lnTo>
                <a:close/>
                <a:moveTo>
                  <a:pt x="317" y="4697"/>
                </a:moveTo>
                <a:lnTo>
                  <a:pt x="220" y="4721"/>
                </a:lnTo>
                <a:lnTo>
                  <a:pt x="122" y="4746"/>
                </a:lnTo>
                <a:lnTo>
                  <a:pt x="25" y="4794"/>
                </a:lnTo>
                <a:lnTo>
                  <a:pt x="1" y="4867"/>
                </a:lnTo>
                <a:lnTo>
                  <a:pt x="1" y="4965"/>
                </a:lnTo>
                <a:lnTo>
                  <a:pt x="49" y="5038"/>
                </a:lnTo>
                <a:lnTo>
                  <a:pt x="195" y="5184"/>
                </a:lnTo>
                <a:lnTo>
                  <a:pt x="390" y="5305"/>
                </a:lnTo>
                <a:lnTo>
                  <a:pt x="779" y="5524"/>
                </a:lnTo>
                <a:lnTo>
                  <a:pt x="1169" y="5743"/>
                </a:lnTo>
                <a:lnTo>
                  <a:pt x="1388" y="5841"/>
                </a:lnTo>
                <a:lnTo>
                  <a:pt x="1582" y="5938"/>
                </a:lnTo>
                <a:lnTo>
                  <a:pt x="1655" y="5962"/>
                </a:lnTo>
                <a:lnTo>
                  <a:pt x="1801" y="5962"/>
                </a:lnTo>
                <a:lnTo>
                  <a:pt x="1850" y="5938"/>
                </a:lnTo>
                <a:lnTo>
                  <a:pt x="1923" y="5841"/>
                </a:lnTo>
                <a:lnTo>
                  <a:pt x="1972" y="5743"/>
                </a:lnTo>
                <a:lnTo>
                  <a:pt x="1996" y="5622"/>
                </a:lnTo>
                <a:lnTo>
                  <a:pt x="1972" y="5476"/>
                </a:lnTo>
                <a:lnTo>
                  <a:pt x="1899" y="5378"/>
                </a:lnTo>
                <a:lnTo>
                  <a:pt x="1826" y="5330"/>
                </a:lnTo>
                <a:lnTo>
                  <a:pt x="1777" y="5305"/>
                </a:lnTo>
                <a:lnTo>
                  <a:pt x="1582" y="5208"/>
                </a:lnTo>
                <a:lnTo>
                  <a:pt x="1388" y="5111"/>
                </a:lnTo>
                <a:lnTo>
                  <a:pt x="974" y="4892"/>
                </a:lnTo>
                <a:lnTo>
                  <a:pt x="755" y="4794"/>
                </a:lnTo>
                <a:lnTo>
                  <a:pt x="536" y="4721"/>
                </a:lnTo>
                <a:lnTo>
                  <a:pt x="317" y="4697"/>
                </a:lnTo>
                <a:close/>
                <a:moveTo>
                  <a:pt x="8809" y="6936"/>
                </a:moveTo>
                <a:lnTo>
                  <a:pt x="8736" y="6984"/>
                </a:lnTo>
                <a:lnTo>
                  <a:pt x="8663" y="7057"/>
                </a:lnTo>
                <a:lnTo>
                  <a:pt x="8566" y="7252"/>
                </a:lnTo>
                <a:lnTo>
                  <a:pt x="8468" y="7495"/>
                </a:lnTo>
                <a:lnTo>
                  <a:pt x="8420" y="7739"/>
                </a:lnTo>
                <a:lnTo>
                  <a:pt x="8395" y="7958"/>
                </a:lnTo>
                <a:lnTo>
                  <a:pt x="8395" y="8128"/>
                </a:lnTo>
                <a:lnTo>
                  <a:pt x="8322" y="8177"/>
                </a:lnTo>
                <a:lnTo>
                  <a:pt x="8201" y="8225"/>
                </a:lnTo>
                <a:lnTo>
                  <a:pt x="8079" y="8250"/>
                </a:lnTo>
                <a:lnTo>
                  <a:pt x="7982" y="8225"/>
                </a:lnTo>
                <a:lnTo>
                  <a:pt x="7909" y="8201"/>
                </a:lnTo>
                <a:lnTo>
                  <a:pt x="7982" y="8079"/>
                </a:lnTo>
                <a:lnTo>
                  <a:pt x="8055" y="7933"/>
                </a:lnTo>
                <a:lnTo>
                  <a:pt x="8103" y="7812"/>
                </a:lnTo>
                <a:lnTo>
                  <a:pt x="8103" y="7666"/>
                </a:lnTo>
                <a:lnTo>
                  <a:pt x="8103" y="7520"/>
                </a:lnTo>
                <a:lnTo>
                  <a:pt x="8055" y="7398"/>
                </a:lnTo>
                <a:lnTo>
                  <a:pt x="7957" y="7252"/>
                </a:lnTo>
                <a:lnTo>
                  <a:pt x="7836" y="7130"/>
                </a:lnTo>
                <a:lnTo>
                  <a:pt x="7763" y="7082"/>
                </a:lnTo>
                <a:lnTo>
                  <a:pt x="7617" y="7082"/>
                </a:lnTo>
                <a:lnTo>
                  <a:pt x="7544" y="7130"/>
                </a:lnTo>
                <a:lnTo>
                  <a:pt x="7446" y="7252"/>
                </a:lnTo>
                <a:lnTo>
                  <a:pt x="7373" y="7374"/>
                </a:lnTo>
                <a:lnTo>
                  <a:pt x="7325" y="7495"/>
                </a:lnTo>
                <a:lnTo>
                  <a:pt x="7300" y="7641"/>
                </a:lnTo>
                <a:lnTo>
                  <a:pt x="7300" y="7787"/>
                </a:lnTo>
                <a:lnTo>
                  <a:pt x="7300" y="7909"/>
                </a:lnTo>
                <a:lnTo>
                  <a:pt x="7325" y="8055"/>
                </a:lnTo>
                <a:lnTo>
                  <a:pt x="7373" y="8177"/>
                </a:lnTo>
                <a:lnTo>
                  <a:pt x="7179" y="8298"/>
                </a:lnTo>
                <a:lnTo>
                  <a:pt x="7081" y="8323"/>
                </a:lnTo>
                <a:lnTo>
                  <a:pt x="6984" y="8347"/>
                </a:lnTo>
                <a:lnTo>
                  <a:pt x="6911" y="8371"/>
                </a:lnTo>
                <a:lnTo>
                  <a:pt x="6814" y="8347"/>
                </a:lnTo>
                <a:lnTo>
                  <a:pt x="6692" y="8298"/>
                </a:lnTo>
                <a:lnTo>
                  <a:pt x="6570" y="8201"/>
                </a:lnTo>
                <a:lnTo>
                  <a:pt x="6497" y="8055"/>
                </a:lnTo>
                <a:lnTo>
                  <a:pt x="6449" y="7909"/>
                </a:lnTo>
                <a:lnTo>
                  <a:pt x="6449" y="7739"/>
                </a:lnTo>
                <a:lnTo>
                  <a:pt x="6497" y="7544"/>
                </a:lnTo>
                <a:lnTo>
                  <a:pt x="6497" y="7520"/>
                </a:lnTo>
                <a:lnTo>
                  <a:pt x="6473" y="7520"/>
                </a:lnTo>
                <a:lnTo>
                  <a:pt x="6449" y="7495"/>
                </a:lnTo>
                <a:lnTo>
                  <a:pt x="6424" y="7520"/>
                </a:lnTo>
                <a:lnTo>
                  <a:pt x="6327" y="7617"/>
                </a:lnTo>
                <a:lnTo>
                  <a:pt x="6254" y="7739"/>
                </a:lnTo>
                <a:lnTo>
                  <a:pt x="6230" y="7836"/>
                </a:lnTo>
                <a:lnTo>
                  <a:pt x="6206" y="7958"/>
                </a:lnTo>
                <a:lnTo>
                  <a:pt x="6206" y="8055"/>
                </a:lnTo>
                <a:lnTo>
                  <a:pt x="6206" y="8177"/>
                </a:lnTo>
                <a:lnTo>
                  <a:pt x="6254" y="8274"/>
                </a:lnTo>
                <a:lnTo>
                  <a:pt x="6303" y="8371"/>
                </a:lnTo>
                <a:lnTo>
                  <a:pt x="6376" y="8469"/>
                </a:lnTo>
                <a:lnTo>
                  <a:pt x="6449" y="8542"/>
                </a:lnTo>
                <a:lnTo>
                  <a:pt x="6546" y="8615"/>
                </a:lnTo>
                <a:lnTo>
                  <a:pt x="6643" y="8663"/>
                </a:lnTo>
                <a:lnTo>
                  <a:pt x="6765" y="8712"/>
                </a:lnTo>
                <a:lnTo>
                  <a:pt x="6862" y="8736"/>
                </a:lnTo>
                <a:lnTo>
                  <a:pt x="7008" y="8736"/>
                </a:lnTo>
                <a:lnTo>
                  <a:pt x="7130" y="8712"/>
                </a:lnTo>
                <a:lnTo>
                  <a:pt x="7349" y="8615"/>
                </a:lnTo>
                <a:lnTo>
                  <a:pt x="7592" y="8493"/>
                </a:lnTo>
                <a:lnTo>
                  <a:pt x="7690" y="8566"/>
                </a:lnTo>
                <a:lnTo>
                  <a:pt x="7836" y="8639"/>
                </a:lnTo>
                <a:lnTo>
                  <a:pt x="7982" y="8663"/>
                </a:lnTo>
                <a:lnTo>
                  <a:pt x="8128" y="8688"/>
                </a:lnTo>
                <a:lnTo>
                  <a:pt x="8225" y="8688"/>
                </a:lnTo>
                <a:lnTo>
                  <a:pt x="8347" y="8663"/>
                </a:lnTo>
                <a:lnTo>
                  <a:pt x="8566" y="8566"/>
                </a:lnTo>
                <a:lnTo>
                  <a:pt x="8639" y="8663"/>
                </a:lnTo>
                <a:lnTo>
                  <a:pt x="8736" y="8736"/>
                </a:lnTo>
                <a:lnTo>
                  <a:pt x="8833" y="8809"/>
                </a:lnTo>
                <a:lnTo>
                  <a:pt x="8931" y="8858"/>
                </a:lnTo>
                <a:lnTo>
                  <a:pt x="9174" y="8907"/>
                </a:lnTo>
                <a:lnTo>
                  <a:pt x="9417" y="8931"/>
                </a:lnTo>
                <a:lnTo>
                  <a:pt x="9661" y="8882"/>
                </a:lnTo>
                <a:lnTo>
                  <a:pt x="9880" y="8809"/>
                </a:lnTo>
                <a:lnTo>
                  <a:pt x="9977" y="8736"/>
                </a:lnTo>
                <a:lnTo>
                  <a:pt x="10074" y="8663"/>
                </a:lnTo>
                <a:lnTo>
                  <a:pt x="10172" y="8566"/>
                </a:lnTo>
                <a:lnTo>
                  <a:pt x="10269" y="8469"/>
                </a:lnTo>
                <a:lnTo>
                  <a:pt x="10293" y="8396"/>
                </a:lnTo>
                <a:lnTo>
                  <a:pt x="10293" y="8347"/>
                </a:lnTo>
                <a:lnTo>
                  <a:pt x="10269" y="8298"/>
                </a:lnTo>
                <a:lnTo>
                  <a:pt x="10245" y="8250"/>
                </a:lnTo>
                <a:lnTo>
                  <a:pt x="10172" y="8225"/>
                </a:lnTo>
                <a:lnTo>
                  <a:pt x="10123" y="8201"/>
                </a:lnTo>
                <a:lnTo>
                  <a:pt x="10001" y="8201"/>
                </a:lnTo>
                <a:lnTo>
                  <a:pt x="9782" y="8323"/>
                </a:lnTo>
                <a:lnTo>
                  <a:pt x="9563" y="8420"/>
                </a:lnTo>
                <a:lnTo>
                  <a:pt x="9442" y="8444"/>
                </a:lnTo>
                <a:lnTo>
                  <a:pt x="9344" y="8469"/>
                </a:lnTo>
                <a:lnTo>
                  <a:pt x="9223" y="8469"/>
                </a:lnTo>
                <a:lnTo>
                  <a:pt x="9101" y="8420"/>
                </a:lnTo>
                <a:lnTo>
                  <a:pt x="9004" y="8347"/>
                </a:lnTo>
                <a:lnTo>
                  <a:pt x="8931" y="8274"/>
                </a:lnTo>
                <a:lnTo>
                  <a:pt x="9052" y="8128"/>
                </a:lnTo>
                <a:lnTo>
                  <a:pt x="9150" y="7982"/>
                </a:lnTo>
                <a:lnTo>
                  <a:pt x="9247" y="7836"/>
                </a:lnTo>
                <a:lnTo>
                  <a:pt x="9296" y="7666"/>
                </a:lnTo>
                <a:lnTo>
                  <a:pt x="9320" y="7495"/>
                </a:lnTo>
                <a:lnTo>
                  <a:pt x="9296" y="7349"/>
                </a:lnTo>
                <a:lnTo>
                  <a:pt x="9247" y="7203"/>
                </a:lnTo>
                <a:lnTo>
                  <a:pt x="9150" y="7057"/>
                </a:lnTo>
                <a:lnTo>
                  <a:pt x="9052" y="6984"/>
                </a:lnTo>
                <a:lnTo>
                  <a:pt x="8955" y="6936"/>
                </a:lnTo>
                <a:close/>
                <a:moveTo>
                  <a:pt x="1947" y="9710"/>
                </a:moveTo>
                <a:lnTo>
                  <a:pt x="1801" y="9758"/>
                </a:lnTo>
                <a:lnTo>
                  <a:pt x="1582" y="9856"/>
                </a:lnTo>
                <a:lnTo>
                  <a:pt x="1363" y="10002"/>
                </a:lnTo>
                <a:lnTo>
                  <a:pt x="925" y="10294"/>
                </a:lnTo>
                <a:lnTo>
                  <a:pt x="706" y="10415"/>
                </a:lnTo>
                <a:lnTo>
                  <a:pt x="585" y="10513"/>
                </a:lnTo>
                <a:lnTo>
                  <a:pt x="463" y="10610"/>
                </a:lnTo>
                <a:lnTo>
                  <a:pt x="366" y="10707"/>
                </a:lnTo>
                <a:lnTo>
                  <a:pt x="317" y="10829"/>
                </a:lnTo>
                <a:lnTo>
                  <a:pt x="317" y="10878"/>
                </a:lnTo>
                <a:lnTo>
                  <a:pt x="341" y="10926"/>
                </a:lnTo>
                <a:lnTo>
                  <a:pt x="366" y="10999"/>
                </a:lnTo>
                <a:lnTo>
                  <a:pt x="439" y="11048"/>
                </a:lnTo>
                <a:lnTo>
                  <a:pt x="536" y="11097"/>
                </a:lnTo>
                <a:lnTo>
                  <a:pt x="633" y="11097"/>
                </a:lnTo>
                <a:lnTo>
                  <a:pt x="755" y="11072"/>
                </a:lnTo>
                <a:lnTo>
                  <a:pt x="877" y="11048"/>
                </a:lnTo>
                <a:lnTo>
                  <a:pt x="1120" y="10926"/>
                </a:lnTo>
                <a:lnTo>
                  <a:pt x="1315" y="10829"/>
                </a:lnTo>
                <a:lnTo>
                  <a:pt x="1728" y="10610"/>
                </a:lnTo>
                <a:lnTo>
                  <a:pt x="1947" y="10488"/>
                </a:lnTo>
                <a:lnTo>
                  <a:pt x="2142" y="10342"/>
                </a:lnTo>
                <a:lnTo>
                  <a:pt x="2264" y="10245"/>
                </a:lnTo>
                <a:lnTo>
                  <a:pt x="2312" y="10123"/>
                </a:lnTo>
                <a:lnTo>
                  <a:pt x="2312" y="10002"/>
                </a:lnTo>
                <a:lnTo>
                  <a:pt x="2264" y="9880"/>
                </a:lnTo>
                <a:lnTo>
                  <a:pt x="2191" y="9783"/>
                </a:lnTo>
                <a:lnTo>
                  <a:pt x="2069" y="9734"/>
                </a:lnTo>
                <a:lnTo>
                  <a:pt x="1947" y="9710"/>
                </a:lnTo>
                <a:close/>
                <a:moveTo>
                  <a:pt x="14065" y="10026"/>
                </a:moveTo>
                <a:lnTo>
                  <a:pt x="13895" y="10050"/>
                </a:lnTo>
                <a:lnTo>
                  <a:pt x="13846" y="10075"/>
                </a:lnTo>
                <a:lnTo>
                  <a:pt x="13797" y="10123"/>
                </a:lnTo>
                <a:lnTo>
                  <a:pt x="13773" y="10172"/>
                </a:lnTo>
                <a:lnTo>
                  <a:pt x="13749" y="10221"/>
                </a:lnTo>
                <a:lnTo>
                  <a:pt x="13773" y="10318"/>
                </a:lnTo>
                <a:lnTo>
                  <a:pt x="13797" y="10367"/>
                </a:lnTo>
                <a:lnTo>
                  <a:pt x="13846" y="10415"/>
                </a:lnTo>
                <a:lnTo>
                  <a:pt x="14138" y="10586"/>
                </a:lnTo>
                <a:lnTo>
                  <a:pt x="14454" y="10756"/>
                </a:lnTo>
                <a:lnTo>
                  <a:pt x="14624" y="10878"/>
                </a:lnTo>
                <a:lnTo>
                  <a:pt x="14819" y="10975"/>
                </a:lnTo>
                <a:lnTo>
                  <a:pt x="15014" y="11048"/>
                </a:lnTo>
                <a:lnTo>
                  <a:pt x="15208" y="11097"/>
                </a:lnTo>
                <a:lnTo>
                  <a:pt x="15379" y="11097"/>
                </a:lnTo>
                <a:lnTo>
                  <a:pt x="15427" y="11072"/>
                </a:lnTo>
                <a:lnTo>
                  <a:pt x="15500" y="11024"/>
                </a:lnTo>
                <a:lnTo>
                  <a:pt x="15573" y="10951"/>
                </a:lnTo>
                <a:lnTo>
                  <a:pt x="15598" y="10829"/>
                </a:lnTo>
                <a:lnTo>
                  <a:pt x="15598" y="10707"/>
                </a:lnTo>
                <a:lnTo>
                  <a:pt x="15549" y="10586"/>
                </a:lnTo>
                <a:lnTo>
                  <a:pt x="15500" y="10537"/>
                </a:lnTo>
                <a:lnTo>
                  <a:pt x="15452" y="10513"/>
                </a:lnTo>
                <a:lnTo>
                  <a:pt x="15379" y="10464"/>
                </a:lnTo>
                <a:lnTo>
                  <a:pt x="15306" y="10464"/>
                </a:lnTo>
                <a:lnTo>
                  <a:pt x="15135" y="10415"/>
                </a:lnTo>
                <a:lnTo>
                  <a:pt x="14965" y="10367"/>
                </a:lnTo>
                <a:lnTo>
                  <a:pt x="14600" y="10196"/>
                </a:lnTo>
                <a:lnTo>
                  <a:pt x="14430" y="10099"/>
                </a:lnTo>
                <a:lnTo>
                  <a:pt x="14260" y="10050"/>
                </a:lnTo>
                <a:lnTo>
                  <a:pt x="14065" y="10026"/>
                </a:lnTo>
                <a:close/>
                <a:moveTo>
                  <a:pt x="8468" y="2605"/>
                </a:moveTo>
                <a:lnTo>
                  <a:pt x="8760" y="2629"/>
                </a:lnTo>
                <a:lnTo>
                  <a:pt x="9052" y="2678"/>
                </a:lnTo>
                <a:lnTo>
                  <a:pt x="9344" y="2726"/>
                </a:lnTo>
                <a:lnTo>
                  <a:pt x="9125" y="2799"/>
                </a:lnTo>
                <a:lnTo>
                  <a:pt x="9101" y="2824"/>
                </a:lnTo>
                <a:lnTo>
                  <a:pt x="9101" y="2848"/>
                </a:lnTo>
                <a:lnTo>
                  <a:pt x="9101" y="2872"/>
                </a:lnTo>
                <a:lnTo>
                  <a:pt x="9125" y="2897"/>
                </a:lnTo>
                <a:lnTo>
                  <a:pt x="9223" y="2945"/>
                </a:lnTo>
                <a:lnTo>
                  <a:pt x="9320" y="2970"/>
                </a:lnTo>
                <a:lnTo>
                  <a:pt x="9442" y="2945"/>
                </a:lnTo>
                <a:lnTo>
                  <a:pt x="9563" y="2921"/>
                </a:lnTo>
                <a:lnTo>
                  <a:pt x="9855" y="2872"/>
                </a:lnTo>
                <a:lnTo>
                  <a:pt x="10269" y="3043"/>
                </a:lnTo>
                <a:lnTo>
                  <a:pt x="10074" y="3067"/>
                </a:lnTo>
                <a:lnTo>
                  <a:pt x="9855" y="3116"/>
                </a:lnTo>
                <a:lnTo>
                  <a:pt x="9685" y="3189"/>
                </a:lnTo>
                <a:lnTo>
                  <a:pt x="9515" y="3262"/>
                </a:lnTo>
                <a:lnTo>
                  <a:pt x="9515" y="3286"/>
                </a:lnTo>
                <a:lnTo>
                  <a:pt x="9490" y="3310"/>
                </a:lnTo>
                <a:lnTo>
                  <a:pt x="9515" y="3335"/>
                </a:lnTo>
                <a:lnTo>
                  <a:pt x="9539" y="3359"/>
                </a:lnTo>
                <a:lnTo>
                  <a:pt x="9953" y="3335"/>
                </a:lnTo>
                <a:lnTo>
                  <a:pt x="10342" y="3310"/>
                </a:lnTo>
                <a:lnTo>
                  <a:pt x="10780" y="3310"/>
                </a:lnTo>
                <a:lnTo>
                  <a:pt x="11048" y="3505"/>
                </a:lnTo>
                <a:lnTo>
                  <a:pt x="10756" y="3578"/>
                </a:lnTo>
                <a:lnTo>
                  <a:pt x="10464" y="3675"/>
                </a:lnTo>
                <a:lnTo>
                  <a:pt x="10245" y="3797"/>
                </a:lnTo>
                <a:lnTo>
                  <a:pt x="10099" y="3918"/>
                </a:lnTo>
                <a:lnTo>
                  <a:pt x="10074" y="3943"/>
                </a:lnTo>
                <a:lnTo>
                  <a:pt x="10099" y="3943"/>
                </a:lnTo>
                <a:lnTo>
                  <a:pt x="10391" y="3918"/>
                </a:lnTo>
                <a:lnTo>
                  <a:pt x="10683" y="3870"/>
                </a:lnTo>
                <a:lnTo>
                  <a:pt x="10975" y="3821"/>
                </a:lnTo>
                <a:lnTo>
                  <a:pt x="11291" y="3773"/>
                </a:lnTo>
                <a:lnTo>
                  <a:pt x="11364" y="3773"/>
                </a:lnTo>
                <a:lnTo>
                  <a:pt x="11583" y="3967"/>
                </a:lnTo>
                <a:lnTo>
                  <a:pt x="11778" y="4186"/>
                </a:lnTo>
                <a:lnTo>
                  <a:pt x="11388" y="4210"/>
                </a:lnTo>
                <a:lnTo>
                  <a:pt x="10829" y="4259"/>
                </a:lnTo>
                <a:lnTo>
                  <a:pt x="10561" y="4283"/>
                </a:lnTo>
                <a:lnTo>
                  <a:pt x="10318" y="4381"/>
                </a:lnTo>
                <a:lnTo>
                  <a:pt x="10293" y="4405"/>
                </a:lnTo>
                <a:lnTo>
                  <a:pt x="10293" y="4429"/>
                </a:lnTo>
                <a:lnTo>
                  <a:pt x="10318" y="4454"/>
                </a:lnTo>
                <a:lnTo>
                  <a:pt x="10585" y="4527"/>
                </a:lnTo>
                <a:lnTo>
                  <a:pt x="11705" y="4527"/>
                </a:lnTo>
                <a:lnTo>
                  <a:pt x="11997" y="4502"/>
                </a:lnTo>
                <a:lnTo>
                  <a:pt x="12216" y="4867"/>
                </a:lnTo>
                <a:lnTo>
                  <a:pt x="11851" y="4867"/>
                </a:lnTo>
                <a:lnTo>
                  <a:pt x="11267" y="4892"/>
                </a:lnTo>
                <a:lnTo>
                  <a:pt x="10658" y="4940"/>
                </a:lnTo>
                <a:lnTo>
                  <a:pt x="10634" y="4940"/>
                </a:lnTo>
                <a:lnTo>
                  <a:pt x="10634" y="4965"/>
                </a:lnTo>
                <a:lnTo>
                  <a:pt x="10634" y="4989"/>
                </a:lnTo>
                <a:lnTo>
                  <a:pt x="10658" y="5013"/>
                </a:lnTo>
                <a:lnTo>
                  <a:pt x="10902" y="5086"/>
                </a:lnTo>
                <a:lnTo>
                  <a:pt x="11169" y="5111"/>
                </a:lnTo>
                <a:lnTo>
                  <a:pt x="12021" y="5111"/>
                </a:lnTo>
                <a:lnTo>
                  <a:pt x="12362" y="5135"/>
                </a:lnTo>
                <a:lnTo>
                  <a:pt x="12556" y="5622"/>
                </a:lnTo>
                <a:lnTo>
                  <a:pt x="11461" y="5622"/>
                </a:lnTo>
                <a:lnTo>
                  <a:pt x="11291" y="5646"/>
                </a:lnTo>
                <a:lnTo>
                  <a:pt x="11145" y="5695"/>
                </a:lnTo>
                <a:lnTo>
                  <a:pt x="10999" y="5768"/>
                </a:lnTo>
                <a:lnTo>
                  <a:pt x="10975" y="5792"/>
                </a:lnTo>
                <a:lnTo>
                  <a:pt x="10999" y="5841"/>
                </a:lnTo>
                <a:lnTo>
                  <a:pt x="11267" y="5889"/>
                </a:lnTo>
                <a:lnTo>
                  <a:pt x="11534" y="5889"/>
                </a:lnTo>
                <a:lnTo>
                  <a:pt x="12070" y="5914"/>
                </a:lnTo>
                <a:lnTo>
                  <a:pt x="12654" y="5938"/>
                </a:lnTo>
                <a:lnTo>
                  <a:pt x="12702" y="6060"/>
                </a:lnTo>
                <a:lnTo>
                  <a:pt x="12727" y="6181"/>
                </a:lnTo>
                <a:lnTo>
                  <a:pt x="12386" y="6181"/>
                </a:lnTo>
                <a:lnTo>
                  <a:pt x="11729" y="6254"/>
                </a:lnTo>
                <a:lnTo>
                  <a:pt x="11413" y="6279"/>
                </a:lnTo>
                <a:lnTo>
                  <a:pt x="11121" y="6352"/>
                </a:lnTo>
                <a:lnTo>
                  <a:pt x="11096" y="6352"/>
                </a:lnTo>
                <a:lnTo>
                  <a:pt x="11096" y="6376"/>
                </a:lnTo>
                <a:lnTo>
                  <a:pt x="11096" y="6400"/>
                </a:lnTo>
                <a:lnTo>
                  <a:pt x="11121" y="6425"/>
                </a:lnTo>
                <a:lnTo>
                  <a:pt x="11388" y="6473"/>
                </a:lnTo>
                <a:lnTo>
                  <a:pt x="11656" y="6498"/>
                </a:lnTo>
                <a:lnTo>
                  <a:pt x="12508" y="6498"/>
                </a:lnTo>
                <a:lnTo>
                  <a:pt x="12824" y="6522"/>
                </a:lnTo>
                <a:lnTo>
                  <a:pt x="12873" y="6838"/>
                </a:lnTo>
                <a:lnTo>
                  <a:pt x="12556" y="6838"/>
                </a:lnTo>
                <a:lnTo>
                  <a:pt x="12240" y="6863"/>
                </a:lnTo>
                <a:lnTo>
                  <a:pt x="11753" y="6887"/>
                </a:lnTo>
                <a:lnTo>
                  <a:pt x="11510" y="6911"/>
                </a:lnTo>
                <a:lnTo>
                  <a:pt x="11267" y="6936"/>
                </a:lnTo>
                <a:lnTo>
                  <a:pt x="11242" y="6936"/>
                </a:lnTo>
                <a:lnTo>
                  <a:pt x="11242" y="6960"/>
                </a:lnTo>
                <a:lnTo>
                  <a:pt x="11242" y="7009"/>
                </a:lnTo>
                <a:lnTo>
                  <a:pt x="11267" y="7009"/>
                </a:lnTo>
                <a:lnTo>
                  <a:pt x="11461" y="7082"/>
                </a:lnTo>
                <a:lnTo>
                  <a:pt x="11680" y="7130"/>
                </a:lnTo>
                <a:lnTo>
                  <a:pt x="12727" y="7130"/>
                </a:lnTo>
                <a:lnTo>
                  <a:pt x="12921" y="7106"/>
                </a:lnTo>
                <a:lnTo>
                  <a:pt x="12994" y="7593"/>
                </a:lnTo>
                <a:lnTo>
                  <a:pt x="12994" y="7593"/>
                </a:lnTo>
                <a:lnTo>
                  <a:pt x="12848" y="7568"/>
                </a:lnTo>
                <a:lnTo>
                  <a:pt x="12702" y="7568"/>
                </a:lnTo>
                <a:lnTo>
                  <a:pt x="12435" y="7593"/>
                </a:lnTo>
                <a:lnTo>
                  <a:pt x="11997" y="7593"/>
                </a:lnTo>
                <a:lnTo>
                  <a:pt x="11778" y="7617"/>
                </a:lnTo>
                <a:lnTo>
                  <a:pt x="11559" y="7690"/>
                </a:lnTo>
                <a:lnTo>
                  <a:pt x="11534" y="7690"/>
                </a:lnTo>
                <a:lnTo>
                  <a:pt x="11534" y="7739"/>
                </a:lnTo>
                <a:lnTo>
                  <a:pt x="11534" y="7763"/>
                </a:lnTo>
                <a:lnTo>
                  <a:pt x="11559" y="7787"/>
                </a:lnTo>
                <a:lnTo>
                  <a:pt x="11778" y="7836"/>
                </a:lnTo>
                <a:lnTo>
                  <a:pt x="11997" y="7860"/>
                </a:lnTo>
                <a:lnTo>
                  <a:pt x="12435" y="7860"/>
                </a:lnTo>
                <a:lnTo>
                  <a:pt x="12702" y="7885"/>
                </a:lnTo>
                <a:lnTo>
                  <a:pt x="12848" y="7885"/>
                </a:lnTo>
                <a:lnTo>
                  <a:pt x="12994" y="7860"/>
                </a:lnTo>
                <a:lnTo>
                  <a:pt x="12994" y="7909"/>
                </a:lnTo>
                <a:lnTo>
                  <a:pt x="12994" y="8250"/>
                </a:lnTo>
                <a:lnTo>
                  <a:pt x="12873" y="8201"/>
                </a:lnTo>
                <a:lnTo>
                  <a:pt x="12775" y="8201"/>
                </a:lnTo>
                <a:lnTo>
                  <a:pt x="12532" y="8177"/>
                </a:lnTo>
                <a:lnTo>
                  <a:pt x="12094" y="8177"/>
                </a:lnTo>
                <a:lnTo>
                  <a:pt x="11875" y="8201"/>
                </a:lnTo>
                <a:lnTo>
                  <a:pt x="11656" y="8250"/>
                </a:lnTo>
                <a:lnTo>
                  <a:pt x="11656" y="8274"/>
                </a:lnTo>
                <a:lnTo>
                  <a:pt x="11632" y="8298"/>
                </a:lnTo>
                <a:lnTo>
                  <a:pt x="11656" y="8298"/>
                </a:lnTo>
                <a:lnTo>
                  <a:pt x="11656" y="8323"/>
                </a:lnTo>
                <a:lnTo>
                  <a:pt x="12045" y="8396"/>
                </a:lnTo>
                <a:lnTo>
                  <a:pt x="12410" y="8444"/>
                </a:lnTo>
                <a:lnTo>
                  <a:pt x="12702" y="8469"/>
                </a:lnTo>
                <a:lnTo>
                  <a:pt x="12824" y="8493"/>
                </a:lnTo>
                <a:lnTo>
                  <a:pt x="12970" y="8469"/>
                </a:lnTo>
                <a:lnTo>
                  <a:pt x="12873" y="8858"/>
                </a:lnTo>
                <a:lnTo>
                  <a:pt x="12654" y="8809"/>
                </a:lnTo>
                <a:lnTo>
                  <a:pt x="12483" y="8785"/>
                </a:lnTo>
                <a:lnTo>
                  <a:pt x="12264" y="8736"/>
                </a:lnTo>
                <a:lnTo>
                  <a:pt x="11826" y="8736"/>
                </a:lnTo>
                <a:lnTo>
                  <a:pt x="11607" y="8809"/>
                </a:lnTo>
                <a:lnTo>
                  <a:pt x="11583" y="8834"/>
                </a:lnTo>
                <a:lnTo>
                  <a:pt x="11583" y="8858"/>
                </a:lnTo>
                <a:lnTo>
                  <a:pt x="11583" y="8882"/>
                </a:lnTo>
                <a:lnTo>
                  <a:pt x="11851" y="8882"/>
                </a:lnTo>
                <a:lnTo>
                  <a:pt x="12094" y="8931"/>
                </a:lnTo>
                <a:lnTo>
                  <a:pt x="12556" y="9053"/>
                </a:lnTo>
                <a:lnTo>
                  <a:pt x="12775" y="9126"/>
                </a:lnTo>
                <a:lnTo>
                  <a:pt x="12654" y="9345"/>
                </a:lnTo>
                <a:lnTo>
                  <a:pt x="12508" y="9296"/>
                </a:lnTo>
                <a:lnTo>
                  <a:pt x="12313" y="9272"/>
                </a:lnTo>
                <a:lnTo>
                  <a:pt x="12143" y="9223"/>
                </a:lnTo>
                <a:lnTo>
                  <a:pt x="11972" y="9199"/>
                </a:lnTo>
                <a:lnTo>
                  <a:pt x="11607" y="9199"/>
                </a:lnTo>
                <a:lnTo>
                  <a:pt x="11583" y="9223"/>
                </a:lnTo>
                <a:lnTo>
                  <a:pt x="11583" y="9247"/>
                </a:lnTo>
                <a:lnTo>
                  <a:pt x="11583" y="9272"/>
                </a:lnTo>
                <a:lnTo>
                  <a:pt x="11924" y="9418"/>
                </a:lnTo>
                <a:lnTo>
                  <a:pt x="12240" y="9564"/>
                </a:lnTo>
                <a:lnTo>
                  <a:pt x="12532" y="9637"/>
                </a:lnTo>
                <a:lnTo>
                  <a:pt x="12337" y="9929"/>
                </a:lnTo>
                <a:lnTo>
                  <a:pt x="12337" y="9977"/>
                </a:lnTo>
                <a:lnTo>
                  <a:pt x="12167" y="9904"/>
                </a:lnTo>
                <a:lnTo>
                  <a:pt x="11997" y="9880"/>
                </a:lnTo>
                <a:lnTo>
                  <a:pt x="11802" y="9831"/>
                </a:lnTo>
                <a:lnTo>
                  <a:pt x="11242" y="9831"/>
                </a:lnTo>
                <a:lnTo>
                  <a:pt x="11218" y="9856"/>
                </a:lnTo>
                <a:lnTo>
                  <a:pt x="11218" y="9880"/>
                </a:lnTo>
                <a:lnTo>
                  <a:pt x="11242" y="9880"/>
                </a:lnTo>
                <a:lnTo>
                  <a:pt x="11534" y="10002"/>
                </a:lnTo>
                <a:lnTo>
                  <a:pt x="11851" y="10123"/>
                </a:lnTo>
                <a:lnTo>
                  <a:pt x="12167" y="10245"/>
                </a:lnTo>
                <a:lnTo>
                  <a:pt x="11972" y="10513"/>
                </a:lnTo>
                <a:lnTo>
                  <a:pt x="11826" y="10488"/>
                </a:lnTo>
                <a:lnTo>
                  <a:pt x="11413" y="10391"/>
                </a:lnTo>
                <a:lnTo>
                  <a:pt x="11023" y="10342"/>
                </a:lnTo>
                <a:lnTo>
                  <a:pt x="10975" y="10342"/>
                </a:lnTo>
                <a:lnTo>
                  <a:pt x="10975" y="10367"/>
                </a:lnTo>
                <a:lnTo>
                  <a:pt x="10975" y="10391"/>
                </a:lnTo>
                <a:lnTo>
                  <a:pt x="10999" y="10440"/>
                </a:lnTo>
                <a:lnTo>
                  <a:pt x="11145" y="10537"/>
                </a:lnTo>
                <a:lnTo>
                  <a:pt x="11315" y="10610"/>
                </a:lnTo>
                <a:lnTo>
                  <a:pt x="11632" y="10732"/>
                </a:lnTo>
                <a:lnTo>
                  <a:pt x="11802" y="10780"/>
                </a:lnTo>
                <a:lnTo>
                  <a:pt x="11656" y="10999"/>
                </a:lnTo>
                <a:lnTo>
                  <a:pt x="11510" y="10951"/>
                </a:lnTo>
                <a:lnTo>
                  <a:pt x="11364" y="10926"/>
                </a:lnTo>
                <a:lnTo>
                  <a:pt x="11072" y="10853"/>
                </a:lnTo>
                <a:lnTo>
                  <a:pt x="10950" y="10853"/>
                </a:lnTo>
                <a:lnTo>
                  <a:pt x="10804" y="10902"/>
                </a:lnTo>
                <a:lnTo>
                  <a:pt x="10780" y="10926"/>
                </a:lnTo>
                <a:lnTo>
                  <a:pt x="10756" y="10951"/>
                </a:lnTo>
                <a:lnTo>
                  <a:pt x="10756" y="10999"/>
                </a:lnTo>
                <a:lnTo>
                  <a:pt x="10780" y="11048"/>
                </a:lnTo>
                <a:lnTo>
                  <a:pt x="10902" y="11121"/>
                </a:lnTo>
                <a:lnTo>
                  <a:pt x="11023" y="11170"/>
                </a:lnTo>
                <a:lnTo>
                  <a:pt x="11267" y="11243"/>
                </a:lnTo>
                <a:lnTo>
                  <a:pt x="11461" y="11291"/>
                </a:lnTo>
                <a:lnTo>
                  <a:pt x="11242" y="11583"/>
                </a:lnTo>
                <a:lnTo>
                  <a:pt x="11072" y="11535"/>
                </a:lnTo>
                <a:lnTo>
                  <a:pt x="10877" y="11535"/>
                </a:lnTo>
                <a:lnTo>
                  <a:pt x="10683" y="11583"/>
                </a:lnTo>
                <a:lnTo>
                  <a:pt x="10658" y="11608"/>
                </a:lnTo>
                <a:lnTo>
                  <a:pt x="10683" y="11632"/>
                </a:lnTo>
                <a:lnTo>
                  <a:pt x="10829" y="11681"/>
                </a:lnTo>
                <a:lnTo>
                  <a:pt x="10975" y="11729"/>
                </a:lnTo>
                <a:lnTo>
                  <a:pt x="11096" y="11778"/>
                </a:lnTo>
                <a:lnTo>
                  <a:pt x="10877" y="12143"/>
                </a:lnTo>
                <a:lnTo>
                  <a:pt x="10829" y="12118"/>
                </a:lnTo>
                <a:lnTo>
                  <a:pt x="10658" y="12045"/>
                </a:lnTo>
                <a:lnTo>
                  <a:pt x="10561" y="11997"/>
                </a:lnTo>
                <a:lnTo>
                  <a:pt x="10464" y="11972"/>
                </a:lnTo>
                <a:lnTo>
                  <a:pt x="10439" y="11997"/>
                </a:lnTo>
                <a:lnTo>
                  <a:pt x="10439" y="12045"/>
                </a:lnTo>
                <a:lnTo>
                  <a:pt x="10488" y="12118"/>
                </a:lnTo>
                <a:lnTo>
                  <a:pt x="10585" y="12191"/>
                </a:lnTo>
                <a:lnTo>
                  <a:pt x="10756" y="12313"/>
                </a:lnTo>
                <a:lnTo>
                  <a:pt x="10561" y="12654"/>
                </a:lnTo>
                <a:lnTo>
                  <a:pt x="10415" y="12629"/>
                </a:lnTo>
                <a:lnTo>
                  <a:pt x="10172" y="12629"/>
                </a:lnTo>
                <a:lnTo>
                  <a:pt x="10026" y="12654"/>
                </a:lnTo>
                <a:lnTo>
                  <a:pt x="10026" y="12678"/>
                </a:lnTo>
                <a:lnTo>
                  <a:pt x="10026" y="12702"/>
                </a:lnTo>
                <a:lnTo>
                  <a:pt x="10245" y="12800"/>
                </a:lnTo>
                <a:lnTo>
                  <a:pt x="10439" y="12897"/>
                </a:lnTo>
                <a:lnTo>
                  <a:pt x="10196" y="13384"/>
                </a:lnTo>
                <a:lnTo>
                  <a:pt x="9880" y="13384"/>
                </a:lnTo>
                <a:lnTo>
                  <a:pt x="9904" y="13432"/>
                </a:lnTo>
                <a:lnTo>
                  <a:pt x="10147" y="13505"/>
                </a:lnTo>
                <a:lnTo>
                  <a:pt x="10074" y="13700"/>
                </a:lnTo>
                <a:lnTo>
                  <a:pt x="10026" y="13895"/>
                </a:lnTo>
                <a:lnTo>
                  <a:pt x="9953" y="14284"/>
                </a:lnTo>
                <a:lnTo>
                  <a:pt x="9880" y="14673"/>
                </a:lnTo>
                <a:lnTo>
                  <a:pt x="9807" y="15087"/>
                </a:lnTo>
                <a:lnTo>
                  <a:pt x="9101" y="15111"/>
                </a:lnTo>
                <a:lnTo>
                  <a:pt x="9247" y="14673"/>
                </a:lnTo>
                <a:lnTo>
                  <a:pt x="9344" y="14235"/>
                </a:lnTo>
                <a:lnTo>
                  <a:pt x="9539" y="13359"/>
                </a:lnTo>
                <a:lnTo>
                  <a:pt x="9734" y="12459"/>
                </a:lnTo>
                <a:lnTo>
                  <a:pt x="9855" y="12021"/>
                </a:lnTo>
                <a:lnTo>
                  <a:pt x="9977" y="11583"/>
                </a:lnTo>
                <a:lnTo>
                  <a:pt x="10269" y="10659"/>
                </a:lnTo>
                <a:lnTo>
                  <a:pt x="10537" y="9734"/>
                </a:lnTo>
                <a:lnTo>
                  <a:pt x="10658" y="9320"/>
                </a:lnTo>
                <a:lnTo>
                  <a:pt x="10756" y="8858"/>
                </a:lnTo>
                <a:lnTo>
                  <a:pt x="10780" y="8639"/>
                </a:lnTo>
                <a:lnTo>
                  <a:pt x="10780" y="8396"/>
                </a:lnTo>
                <a:lnTo>
                  <a:pt x="10756" y="8177"/>
                </a:lnTo>
                <a:lnTo>
                  <a:pt x="10707" y="7958"/>
                </a:lnTo>
                <a:lnTo>
                  <a:pt x="10683" y="7933"/>
                </a:lnTo>
                <a:lnTo>
                  <a:pt x="10634" y="7933"/>
                </a:lnTo>
                <a:lnTo>
                  <a:pt x="10610" y="7958"/>
                </a:lnTo>
                <a:lnTo>
                  <a:pt x="10537" y="8177"/>
                </a:lnTo>
                <a:lnTo>
                  <a:pt x="10464" y="8420"/>
                </a:lnTo>
                <a:lnTo>
                  <a:pt x="10366" y="8882"/>
                </a:lnTo>
                <a:lnTo>
                  <a:pt x="10293" y="9369"/>
                </a:lnTo>
                <a:lnTo>
                  <a:pt x="10172" y="9831"/>
                </a:lnTo>
                <a:lnTo>
                  <a:pt x="9904" y="10756"/>
                </a:lnTo>
                <a:lnTo>
                  <a:pt x="9588" y="11656"/>
                </a:lnTo>
                <a:lnTo>
                  <a:pt x="9466" y="12094"/>
                </a:lnTo>
                <a:lnTo>
                  <a:pt x="9369" y="12532"/>
                </a:lnTo>
                <a:lnTo>
                  <a:pt x="9174" y="13384"/>
                </a:lnTo>
                <a:lnTo>
                  <a:pt x="8979" y="14260"/>
                </a:lnTo>
                <a:lnTo>
                  <a:pt x="8858" y="14698"/>
                </a:lnTo>
                <a:lnTo>
                  <a:pt x="8736" y="15111"/>
                </a:lnTo>
                <a:lnTo>
                  <a:pt x="8128" y="15136"/>
                </a:lnTo>
                <a:lnTo>
                  <a:pt x="7519" y="15087"/>
                </a:lnTo>
                <a:lnTo>
                  <a:pt x="7179" y="15063"/>
                </a:lnTo>
                <a:lnTo>
                  <a:pt x="7154" y="15038"/>
                </a:lnTo>
                <a:lnTo>
                  <a:pt x="7081" y="14698"/>
                </a:lnTo>
                <a:lnTo>
                  <a:pt x="7033" y="14357"/>
                </a:lnTo>
                <a:lnTo>
                  <a:pt x="6935" y="13651"/>
                </a:lnTo>
                <a:lnTo>
                  <a:pt x="6765" y="12605"/>
                </a:lnTo>
                <a:lnTo>
                  <a:pt x="6570" y="11583"/>
                </a:lnTo>
                <a:lnTo>
                  <a:pt x="6230" y="9880"/>
                </a:lnTo>
                <a:lnTo>
                  <a:pt x="6060" y="9028"/>
                </a:lnTo>
                <a:lnTo>
                  <a:pt x="5841" y="8177"/>
                </a:lnTo>
                <a:lnTo>
                  <a:pt x="5816" y="8152"/>
                </a:lnTo>
                <a:lnTo>
                  <a:pt x="5768" y="8128"/>
                </a:lnTo>
                <a:lnTo>
                  <a:pt x="5743" y="8128"/>
                </a:lnTo>
                <a:lnTo>
                  <a:pt x="5695" y="8152"/>
                </a:lnTo>
                <a:lnTo>
                  <a:pt x="5646" y="8298"/>
                </a:lnTo>
                <a:lnTo>
                  <a:pt x="5646" y="8420"/>
                </a:lnTo>
                <a:lnTo>
                  <a:pt x="5646" y="8542"/>
                </a:lnTo>
                <a:lnTo>
                  <a:pt x="5646" y="8663"/>
                </a:lnTo>
                <a:lnTo>
                  <a:pt x="5719" y="8931"/>
                </a:lnTo>
                <a:lnTo>
                  <a:pt x="5768" y="9199"/>
                </a:lnTo>
                <a:lnTo>
                  <a:pt x="5865" y="9734"/>
                </a:lnTo>
                <a:lnTo>
                  <a:pt x="5962" y="10245"/>
                </a:lnTo>
                <a:lnTo>
                  <a:pt x="6035" y="10780"/>
                </a:lnTo>
                <a:lnTo>
                  <a:pt x="6133" y="11316"/>
                </a:lnTo>
                <a:lnTo>
                  <a:pt x="6327" y="12337"/>
                </a:lnTo>
                <a:lnTo>
                  <a:pt x="6522" y="13384"/>
                </a:lnTo>
                <a:lnTo>
                  <a:pt x="6570" y="13773"/>
                </a:lnTo>
                <a:lnTo>
                  <a:pt x="6619" y="14211"/>
                </a:lnTo>
                <a:lnTo>
                  <a:pt x="6668" y="14625"/>
                </a:lnTo>
                <a:lnTo>
                  <a:pt x="6716" y="14819"/>
                </a:lnTo>
                <a:lnTo>
                  <a:pt x="6765" y="15014"/>
                </a:lnTo>
                <a:lnTo>
                  <a:pt x="6497" y="15038"/>
                </a:lnTo>
                <a:lnTo>
                  <a:pt x="6473" y="14625"/>
                </a:lnTo>
                <a:lnTo>
                  <a:pt x="6400" y="14235"/>
                </a:lnTo>
                <a:lnTo>
                  <a:pt x="6279" y="13846"/>
                </a:lnTo>
                <a:lnTo>
                  <a:pt x="6133" y="13481"/>
                </a:lnTo>
                <a:lnTo>
                  <a:pt x="5938" y="13116"/>
                </a:lnTo>
                <a:lnTo>
                  <a:pt x="5743" y="12775"/>
                </a:lnTo>
                <a:lnTo>
                  <a:pt x="5281" y="12070"/>
                </a:lnTo>
                <a:lnTo>
                  <a:pt x="4746" y="11267"/>
                </a:lnTo>
                <a:lnTo>
                  <a:pt x="4210" y="10415"/>
                </a:lnTo>
                <a:lnTo>
                  <a:pt x="3967" y="9977"/>
                </a:lnTo>
                <a:lnTo>
                  <a:pt x="3724" y="9539"/>
                </a:lnTo>
                <a:lnTo>
                  <a:pt x="3529" y="9077"/>
                </a:lnTo>
                <a:lnTo>
                  <a:pt x="3359" y="8615"/>
                </a:lnTo>
                <a:lnTo>
                  <a:pt x="3286" y="8396"/>
                </a:lnTo>
                <a:lnTo>
                  <a:pt x="3261" y="8152"/>
                </a:lnTo>
                <a:lnTo>
                  <a:pt x="3237" y="7909"/>
                </a:lnTo>
                <a:lnTo>
                  <a:pt x="3237" y="7666"/>
                </a:lnTo>
                <a:lnTo>
                  <a:pt x="3261" y="7155"/>
                </a:lnTo>
                <a:lnTo>
                  <a:pt x="3310" y="6668"/>
                </a:lnTo>
                <a:lnTo>
                  <a:pt x="3334" y="6376"/>
                </a:lnTo>
                <a:lnTo>
                  <a:pt x="3407" y="6108"/>
                </a:lnTo>
                <a:lnTo>
                  <a:pt x="3480" y="5841"/>
                </a:lnTo>
                <a:lnTo>
                  <a:pt x="3578" y="5597"/>
                </a:lnTo>
                <a:lnTo>
                  <a:pt x="3699" y="5354"/>
                </a:lnTo>
                <a:lnTo>
                  <a:pt x="3845" y="5111"/>
                </a:lnTo>
                <a:lnTo>
                  <a:pt x="4016" y="4892"/>
                </a:lnTo>
                <a:lnTo>
                  <a:pt x="4186" y="4673"/>
                </a:lnTo>
                <a:lnTo>
                  <a:pt x="4648" y="4162"/>
                </a:lnTo>
                <a:lnTo>
                  <a:pt x="5062" y="3748"/>
                </a:lnTo>
                <a:lnTo>
                  <a:pt x="5403" y="3432"/>
                </a:lnTo>
                <a:lnTo>
                  <a:pt x="5743" y="3189"/>
                </a:lnTo>
                <a:lnTo>
                  <a:pt x="6060" y="3018"/>
                </a:lnTo>
                <a:lnTo>
                  <a:pt x="6352" y="2872"/>
                </a:lnTo>
                <a:lnTo>
                  <a:pt x="6668" y="2775"/>
                </a:lnTo>
                <a:lnTo>
                  <a:pt x="6984" y="2702"/>
                </a:lnTo>
                <a:lnTo>
                  <a:pt x="7276" y="2653"/>
                </a:lnTo>
                <a:lnTo>
                  <a:pt x="7568" y="2629"/>
                </a:lnTo>
                <a:lnTo>
                  <a:pt x="7860" y="2605"/>
                </a:lnTo>
                <a:close/>
                <a:moveTo>
                  <a:pt x="6716" y="15525"/>
                </a:moveTo>
                <a:lnTo>
                  <a:pt x="6619" y="15720"/>
                </a:lnTo>
                <a:lnTo>
                  <a:pt x="6352" y="16158"/>
                </a:lnTo>
                <a:lnTo>
                  <a:pt x="6279" y="16109"/>
                </a:lnTo>
                <a:lnTo>
                  <a:pt x="6230" y="16060"/>
                </a:lnTo>
                <a:lnTo>
                  <a:pt x="6206" y="15963"/>
                </a:lnTo>
                <a:lnTo>
                  <a:pt x="6206" y="15866"/>
                </a:lnTo>
                <a:lnTo>
                  <a:pt x="6206" y="15768"/>
                </a:lnTo>
                <a:lnTo>
                  <a:pt x="6230" y="15695"/>
                </a:lnTo>
                <a:lnTo>
                  <a:pt x="6279" y="15598"/>
                </a:lnTo>
                <a:lnTo>
                  <a:pt x="6327" y="15549"/>
                </a:lnTo>
                <a:lnTo>
                  <a:pt x="6595" y="15525"/>
                </a:lnTo>
                <a:close/>
                <a:moveTo>
                  <a:pt x="6887" y="15525"/>
                </a:moveTo>
                <a:lnTo>
                  <a:pt x="7276" y="15549"/>
                </a:lnTo>
                <a:lnTo>
                  <a:pt x="7641" y="15598"/>
                </a:lnTo>
                <a:lnTo>
                  <a:pt x="8225" y="15647"/>
                </a:lnTo>
                <a:lnTo>
                  <a:pt x="8809" y="15671"/>
                </a:lnTo>
                <a:lnTo>
                  <a:pt x="8541" y="15963"/>
                </a:lnTo>
                <a:lnTo>
                  <a:pt x="8298" y="16255"/>
                </a:lnTo>
                <a:lnTo>
                  <a:pt x="7909" y="16231"/>
                </a:lnTo>
                <a:lnTo>
                  <a:pt x="8249" y="15744"/>
                </a:lnTo>
                <a:lnTo>
                  <a:pt x="8249" y="15720"/>
                </a:lnTo>
                <a:lnTo>
                  <a:pt x="8225" y="15695"/>
                </a:lnTo>
                <a:lnTo>
                  <a:pt x="8201" y="15671"/>
                </a:lnTo>
                <a:lnTo>
                  <a:pt x="8176" y="15695"/>
                </a:lnTo>
                <a:lnTo>
                  <a:pt x="7690" y="16231"/>
                </a:lnTo>
                <a:lnTo>
                  <a:pt x="7179" y="16182"/>
                </a:lnTo>
                <a:lnTo>
                  <a:pt x="7325" y="15939"/>
                </a:lnTo>
                <a:lnTo>
                  <a:pt x="7471" y="15671"/>
                </a:lnTo>
                <a:lnTo>
                  <a:pt x="7471" y="15647"/>
                </a:lnTo>
                <a:lnTo>
                  <a:pt x="7446" y="15622"/>
                </a:lnTo>
                <a:lnTo>
                  <a:pt x="7422" y="15647"/>
                </a:lnTo>
                <a:lnTo>
                  <a:pt x="7203" y="15890"/>
                </a:lnTo>
                <a:lnTo>
                  <a:pt x="6935" y="16182"/>
                </a:lnTo>
                <a:lnTo>
                  <a:pt x="6741" y="16206"/>
                </a:lnTo>
                <a:lnTo>
                  <a:pt x="6570" y="16255"/>
                </a:lnTo>
                <a:lnTo>
                  <a:pt x="6668" y="16060"/>
                </a:lnTo>
                <a:lnTo>
                  <a:pt x="6814" y="15817"/>
                </a:lnTo>
                <a:lnTo>
                  <a:pt x="6862" y="15671"/>
                </a:lnTo>
                <a:lnTo>
                  <a:pt x="6887" y="15525"/>
                </a:lnTo>
                <a:close/>
                <a:moveTo>
                  <a:pt x="9661" y="15622"/>
                </a:moveTo>
                <a:lnTo>
                  <a:pt x="9734" y="15671"/>
                </a:lnTo>
                <a:lnTo>
                  <a:pt x="9807" y="15695"/>
                </a:lnTo>
                <a:lnTo>
                  <a:pt x="9953" y="15695"/>
                </a:lnTo>
                <a:lnTo>
                  <a:pt x="9782" y="15793"/>
                </a:lnTo>
                <a:lnTo>
                  <a:pt x="9661" y="15939"/>
                </a:lnTo>
                <a:lnTo>
                  <a:pt x="9539" y="16085"/>
                </a:lnTo>
                <a:lnTo>
                  <a:pt x="9417" y="16279"/>
                </a:lnTo>
                <a:lnTo>
                  <a:pt x="9271" y="16279"/>
                </a:lnTo>
                <a:lnTo>
                  <a:pt x="9612" y="15817"/>
                </a:lnTo>
                <a:lnTo>
                  <a:pt x="9612" y="15793"/>
                </a:lnTo>
                <a:lnTo>
                  <a:pt x="9612" y="15768"/>
                </a:lnTo>
                <a:lnTo>
                  <a:pt x="9563" y="15768"/>
                </a:lnTo>
                <a:lnTo>
                  <a:pt x="9320" y="16012"/>
                </a:lnTo>
                <a:lnTo>
                  <a:pt x="9077" y="16255"/>
                </a:lnTo>
                <a:lnTo>
                  <a:pt x="8517" y="16255"/>
                </a:lnTo>
                <a:lnTo>
                  <a:pt x="8882" y="15720"/>
                </a:lnTo>
                <a:lnTo>
                  <a:pt x="8906" y="15695"/>
                </a:lnTo>
                <a:lnTo>
                  <a:pt x="8882" y="15671"/>
                </a:lnTo>
                <a:lnTo>
                  <a:pt x="9271" y="15671"/>
                </a:lnTo>
                <a:lnTo>
                  <a:pt x="9661" y="15622"/>
                </a:lnTo>
                <a:close/>
                <a:moveTo>
                  <a:pt x="10074" y="15768"/>
                </a:moveTo>
                <a:lnTo>
                  <a:pt x="10074" y="15841"/>
                </a:lnTo>
                <a:lnTo>
                  <a:pt x="10099" y="15939"/>
                </a:lnTo>
                <a:lnTo>
                  <a:pt x="10074" y="16060"/>
                </a:lnTo>
                <a:lnTo>
                  <a:pt x="10050" y="16182"/>
                </a:lnTo>
                <a:lnTo>
                  <a:pt x="9977" y="16304"/>
                </a:lnTo>
                <a:lnTo>
                  <a:pt x="9758" y="16279"/>
                </a:lnTo>
                <a:lnTo>
                  <a:pt x="9880" y="16012"/>
                </a:lnTo>
                <a:lnTo>
                  <a:pt x="9977" y="15890"/>
                </a:lnTo>
                <a:lnTo>
                  <a:pt x="10074" y="15768"/>
                </a:lnTo>
                <a:close/>
                <a:moveTo>
                  <a:pt x="6522" y="16571"/>
                </a:moveTo>
                <a:lnTo>
                  <a:pt x="6595" y="16620"/>
                </a:lnTo>
                <a:lnTo>
                  <a:pt x="6424" y="16888"/>
                </a:lnTo>
                <a:lnTo>
                  <a:pt x="6376" y="17034"/>
                </a:lnTo>
                <a:lnTo>
                  <a:pt x="6327" y="17180"/>
                </a:lnTo>
                <a:lnTo>
                  <a:pt x="6254" y="17082"/>
                </a:lnTo>
                <a:lnTo>
                  <a:pt x="6230" y="16985"/>
                </a:lnTo>
                <a:lnTo>
                  <a:pt x="6206" y="16912"/>
                </a:lnTo>
                <a:lnTo>
                  <a:pt x="6230" y="16815"/>
                </a:lnTo>
                <a:lnTo>
                  <a:pt x="6254" y="16839"/>
                </a:lnTo>
                <a:lnTo>
                  <a:pt x="6303" y="16839"/>
                </a:lnTo>
                <a:lnTo>
                  <a:pt x="6352" y="16815"/>
                </a:lnTo>
                <a:lnTo>
                  <a:pt x="6376" y="16766"/>
                </a:lnTo>
                <a:lnTo>
                  <a:pt x="6424" y="16596"/>
                </a:lnTo>
                <a:lnTo>
                  <a:pt x="6449" y="16596"/>
                </a:lnTo>
                <a:lnTo>
                  <a:pt x="6522" y="16571"/>
                </a:lnTo>
                <a:close/>
                <a:moveTo>
                  <a:pt x="7884" y="16693"/>
                </a:moveTo>
                <a:lnTo>
                  <a:pt x="7957" y="16717"/>
                </a:lnTo>
                <a:lnTo>
                  <a:pt x="7787" y="16985"/>
                </a:lnTo>
                <a:lnTo>
                  <a:pt x="7617" y="17253"/>
                </a:lnTo>
                <a:lnTo>
                  <a:pt x="7592" y="17326"/>
                </a:lnTo>
                <a:lnTo>
                  <a:pt x="7300" y="17326"/>
                </a:lnTo>
                <a:lnTo>
                  <a:pt x="7398" y="17107"/>
                </a:lnTo>
                <a:lnTo>
                  <a:pt x="7519" y="16888"/>
                </a:lnTo>
                <a:lnTo>
                  <a:pt x="7617" y="16717"/>
                </a:lnTo>
                <a:lnTo>
                  <a:pt x="7884" y="16693"/>
                </a:lnTo>
                <a:close/>
                <a:moveTo>
                  <a:pt x="8225" y="16717"/>
                </a:moveTo>
                <a:lnTo>
                  <a:pt x="8736" y="16742"/>
                </a:lnTo>
                <a:lnTo>
                  <a:pt x="8541" y="17034"/>
                </a:lnTo>
                <a:lnTo>
                  <a:pt x="8371" y="17326"/>
                </a:lnTo>
                <a:lnTo>
                  <a:pt x="7909" y="17326"/>
                </a:lnTo>
                <a:lnTo>
                  <a:pt x="7933" y="17277"/>
                </a:lnTo>
                <a:lnTo>
                  <a:pt x="8225" y="16717"/>
                </a:lnTo>
                <a:close/>
                <a:moveTo>
                  <a:pt x="9223" y="16742"/>
                </a:moveTo>
                <a:lnTo>
                  <a:pt x="8979" y="17350"/>
                </a:lnTo>
                <a:lnTo>
                  <a:pt x="8663" y="17350"/>
                </a:lnTo>
                <a:lnTo>
                  <a:pt x="8979" y="16742"/>
                </a:lnTo>
                <a:close/>
                <a:moveTo>
                  <a:pt x="9928" y="16742"/>
                </a:moveTo>
                <a:lnTo>
                  <a:pt x="9661" y="17253"/>
                </a:lnTo>
                <a:lnTo>
                  <a:pt x="9612" y="17350"/>
                </a:lnTo>
                <a:lnTo>
                  <a:pt x="9320" y="17350"/>
                </a:lnTo>
                <a:lnTo>
                  <a:pt x="9563" y="16742"/>
                </a:lnTo>
                <a:close/>
                <a:moveTo>
                  <a:pt x="10147" y="16839"/>
                </a:moveTo>
                <a:lnTo>
                  <a:pt x="10220" y="16961"/>
                </a:lnTo>
                <a:lnTo>
                  <a:pt x="10245" y="17107"/>
                </a:lnTo>
                <a:lnTo>
                  <a:pt x="10220" y="17228"/>
                </a:lnTo>
                <a:lnTo>
                  <a:pt x="10147" y="17350"/>
                </a:lnTo>
                <a:lnTo>
                  <a:pt x="9928" y="17350"/>
                </a:lnTo>
                <a:lnTo>
                  <a:pt x="9953" y="17277"/>
                </a:lnTo>
                <a:lnTo>
                  <a:pt x="10050" y="17082"/>
                </a:lnTo>
                <a:lnTo>
                  <a:pt x="10147" y="16839"/>
                </a:lnTo>
                <a:close/>
                <a:moveTo>
                  <a:pt x="6862" y="16693"/>
                </a:moveTo>
                <a:lnTo>
                  <a:pt x="7081" y="16717"/>
                </a:lnTo>
                <a:lnTo>
                  <a:pt x="7300" y="16717"/>
                </a:lnTo>
                <a:lnTo>
                  <a:pt x="7106" y="17009"/>
                </a:lnTo>
                <a:lnTo>
                  <a:pt x="6935" y="17326"/>
                </a:lnTo>
                <a:lnTo>
                  <a:pt x="6741" y="17350"/>
                </a:lnTo>
                <a:lnTo>
                  <a:pt x="6570" y="17399"/>
                </a:lnTo>
                <a:lnTo>
                  <a:pt x="6619" y="17204"/>
                </a:lnTo>
                <a:lnTo>
                  <a:pt x="6692" y="17034"/>
                </a:lnTo>
                <a:lnTo>
                  <a:pt x="6862" y="16693"/>
                </a:lnTo>
                <a:close/>
                <a:moveTo>
                  <a:pt x="6473" y="17618"/>
                </a:moveTo>
                <a:lnTo>
                  <a:pt x="6643" y="17691"/>
                </a:lnTo>
                <a:lnTo>
                  <a:pt x="6814" y="17715"/>
                </a:lnTo>
                <a:lnTo>
                  <a:pt x="6789" y="17910"/>
                </a:lnTo>
                <a:lnTo>
                  <a:pt x="6765" y="18080"/>
                </a:lnTo>
                <a:lnTo>
                  <a:pt x="6643" y="17983"/>
                </a:lnTo>
                <a:lnTo>
                  <a:pt x="6546" y="17861"/>
                </a:lnTo>
                <a:lnTo>
                  <a:pt x="6352" y="17642"/>
                </a:lnTo>
                <a:lnTo>
                  <a:pt x="6376" y="17618"/>
                </a:lnTo>
                <a:lnTo>
                  <a:pt x="6424" y="17642"/>
                </a:lnTo>
                <a:lnTo>
                  <a:pt x="6473" y="17618"/>
                </a:lnTo>
                <a:close/>
                <a:moveTo>
                  <a:pt x="7398" y="17739"/>
                </a:moveTo>
                <a:lnTo>
                  <a:pt x="7300" y="18031"/>
                </a:lnTo>
                <a:lnTo>
                  <a:pt x="7252" y="18177"/>
                </a:lnTo>
                <a:lnTo>
                  <a:pt x="7252" y="18299"/>
                </a:lnTo>
                <a:lnTo>
                  <a:pt x="7008" y="18202"/>
                </a:lnTo>
                <a:lnTo>
                  <a:pt x="7154" y="17739"/>
                </a:lnTo>
                <a:close/>
                <a:moveTo>
                  <a:pt x="8833" y="17715"/>
                </a:moveTo>
                <a:lnTo>
                  <a:pt x="8785" y="17837"/>
                </a:lnTo>
                <a:lnTo>
                  <a:pt x="8736" y="17983"/>
                </a:lnTo>
                <a:lnTo>
                  <a:pt x="8712" y="18104"/>
                </a:lnTo>
                <a:lnTo>
                  <a:pt x="8736" y="18153"/>
                </a:lnTo>
                <a:lnTo>
                  <a:pt x="8736" y="18202"/>
                </a:lnTo>
                <a:lnTo>
                  <a:pt x="8809" y="18250"/>
                </a:lnTo>
                <a:lnTo>
                  <a:pt x="8882" y="18250"/>
                </a:lnTo>
                <a:lnTo>
                  <a:pt x="8931" y="18226"/>
                </a:lnTo>
                <a:lnTo>
                  <a:pt x="9004" y="18153"/>
                </a:lnTo>
                <a:lnTo>
                  <a:pt x="9125" y="17958"/>
                </a:lnTo>
                <a:lnTo>
                  <a:pt x="9198" y="17739"/>
                </a:lnTo>
                <a:lnTo>
                  <a:pt x="9393" y="17739"/>
                </a:lnTo>
                <a:lnTo>
                  <a:pt x="9369" y="17861"/>
                </a:lnTo>
                <a:lnTo>
                  <a:pt x="9369" y="18007"/>
                </a:lnTo>
                <a:lnTo>
                  <a:pt x="9125" y="18153"/>
                </a:lnTo>
                <a:lnTo>
                  <a:pt x="8833" y="18275"/>
                </a:lnTo>
                <a:lnTo>
                  <a:pt x="8566" y="18372"/>
                </a:lnTo>
                <a:lnTo>
                  <a:pt x="8249" y="18421"/>
                </a:lnTo>
                <a:lnTo>
                  <a:pt x="8274" y="18275"/>
                </a:lnTo>
                <a:lnTo>
                  <a:pt x="8371" y="17983"/>
                </a:lnTo>
                <a:lnTo>
                  <a:pt x="8468" y="17715"/>
                </a:lnTo>
                <a:close/>
                <a:moveTo>
                  <a:pt x="8176" y="17715"/>
                </a:moveTo>
                <a:lnTo>
                  <a:pt x="8030" y="18056"/>
                </a:lnTo>
                <a:lnTo>
                  <a:pt x="7957" y="18250"/>
                </a:lnTo>
                <a:lnTo>
                  <a:pt x="7933" y="18445"/>
                </a:lnTo>
                <a:lnTo>
                  <a:pt x="7738" y="18421"/>
                </a:lnTo>
                <a:lnTo>
                  <a:pt x="7568" y="18396"/>
                </a:lnTo>
                <a:lnTo>
                  <a:pt x="7568" y="18226"/>
                </a:lnTo>
                <a:lnTo>
                  <a:pt x="7641" y="17983"/>
                </a:lnTo>
                <a:lnTo>
                  <a:pt x="7738" y="17715"/>
                </a:lnTo>
                <a:close/>
                <a:moveTo>
                  <a:pt x="8128" y="2094"/>
                </a:moveTo>
                <a:lnTo>
                  <a:pt x="7714" y="2142"/>
                </a:lnTo>
                <a:lnTo>
                  <a:pt x="7325" y="2191"/>
                </a:lnTo>
                <a:lnTo>
                  <a:pt x="6935" y="2264"/>
                </a:lnTo>
                <a:lnTo>
                  <a:pt x="6546" y="2386"/>
                </a:lnTo>
                <a:lnTo>
                  <a:pt x="6181" y="2507"/>
                </a:lnTo>
                <a:lnTo>
                  <a:pt x="5841" y="2653"/>
                </a:lnTo>
                <a:lnTo>
                  <a:pt x="5500" y="2824"/>
                </a:lnTo>
                <a:lnTo>
                  <a:pt x="5184" y="3018"/>
                </a:lnTo>
                <a:lnTo>
                  <a:pt x="4892" y="3237"/>
                </a:lnTo>
                <a:lnTo>
                  <a:pt x="4551" y="3554"/>
                </a:lnTo>
                <a:lnTo>
                  <a:pt x="4210" y="3918"/>
                </a:lnTo>
                <a:lnTo>
                  <a:pt x="3918" y="4332"/>
                </a:lnTo>
                <a:lnTo>
                  <a:pt x="3626" y="4746"/>
                </a:lnTo>
                <a:lnTo>
                  <a:pt x="3383" y="5159"/>
                </a:lnTo>
                <a:lnTo>
                  <a:pt x="3164" y="5549"/>
                </a:lnTo>
                <a:lnTo>
                  <a:pt x="3018" y="5889"/>
                </a:lnTo>
                <a:lnTo>
                  <a:pt x="2921" y="6157"/>
                </a:lnTo>
                <a:lnTo>
                  <a:pt x="2823" y="6595"/>
                </a:lnTo>
                <a:lnTo>
                  <a:pt x="2775" y="7057"/>
                </a:lnTo>
                <a:lnTo>
                  <a:pt x="2750" y="7495"/>
                </a:lnTo>
                <a:lnTo>
                  <a:pt x="2775" y="7958"/>
                </a:lnTo>
                <a:lnTo>
                  <a:pt x="2823" y="8396"/>
                </a:lnTo>
                <a:lnTo>
                  <a:pt x="2921" y="8834"/>
                </a:lnTo>
                <a:lnTo>
                  <a:pt x="3067" y="9272"/>
                </a:lnTo>
                <a:lnTo>
                  <a:pt x="3237" y="9685"/>
                </a:lnTo>
                <a:lnTo>
                  <a:pt x="3602" y="10367"/>
                </a:lnTo>
                <a:lnTo>
                  <a:pt x="3991" y="11024"/>
                </a:lnTo>
                <a:lnTo>
                  <a:pt x="4843" y="12337"/>
                </a:lnTo>
                <a:lnTo>
                  <a:pt x="5281" y="13019"/>
                </a:lnTo>
                <a:lnTo>
                  <a:pt x="5476" y="13384"/>
                </a:lnTo>
                <a:lnTo>
                  <a:pt x="5646" y="13724"/>
                </a:lnTo>
                <a:lnTo>
                  <a:pt x="5792" y="14089"/>
                </a:lnTo>
                <a:lnTo>
                  <a:pt x="5914" y="14454"/>
                </a:lnTo>
                <a:lnTo>
                  <a:pt x="5987" y="14844"/>
                </a:lnTo>
                <a:lnTo>
                  <a:pt x="5987" y="15282"/>
                </a:lnTo>
                <a:lnTo>
                  <a:pt x="5962" y="15379"/>
                </a:lnTo>
                <a:lnTo>
                  <a:pt x="5962" y="15428"/>
                </a:lnTo>
                <a:lnTo>
                  <a:pt x="5889" y="15525"/>
                </a:lnTo>
                <a:lnTo>
                  <a:pt x="5841" y="15647"/>
                </a:lnTo>
                <a:lnTo>
                  <a:pt x="5816" y="15768"/>
                </a:lnTo>
                <a:lnTo>
                  <a:pt x="5792" y="15914"/>
                </a:lnTo>
                <a:lnTo>
                  <a:pt x="5816" y="16036"/>
                </a:lnTo>
                <a:lnTo>
                  <a:pt x="5841" y="16158"/>
                </a:lnTo>
                <a:lnTo>
                  <a:pt x="5889" y="16279"/>
                </a:lnTo>
                <a:lnTo>
                  <a:pt x="5962" y="16377"/>
                </a:lnTo>
                <a:lnTo>
                  <a:pt x="5865" y="16474"/>
                </a:lnTo>
                <a:lnTo>
                  <a:pt x="5792" y="16620"/>
                </a:lnTo>
                <a:lnTo>
                  <a:pt x="5768" y="16766"/>
                </a:lnTo>
                <a:lnTo>
                  <a:pt x="5768" y="16912"/>
                </a:lnTo>
                <a:lnTo>
                  <a:pt x="5768" y="17058"/>
                </a:lnTo>
                <a:lnTo>
                  <a:pt x="5816" y="17204"/>
                </a:lnTo>
                <a:lnTo>
                  <a:pt x="5889" y="17350"/>
                </a:lnTo>
                <a:lnTo>
                  <a:pt x="5987" y="17472"/>
                </a:lnTo>
                <a:lnTo>
                  <a:pt x="5962" y="17496"/>
                </a:lnTo>
                <a:lnTo>
                  <a:pt x="5914" y="17618"/>
                </a:lnTo>
                <a:lnTo>
                  <a:pt x="5914" y="17715"/>
                </a:lnTo>
                <a:lnTo>
                  <a:pt x="5938" y="17837"/>
                </a:lnTo>
                <a:lnTo>
                  <a:pt x="5987" y="17934"/>
                </a:lnTo>
                <a:lnTo>
                  <a:pt x="6133" y="18129"/>
                </a:lnTo>
                <a:lnTo>
                  <a:pt x="6303" y="18299"/>
                </a:lnTo>
                <a:lnTo>
                  <a:pt x="6424" y="18421"/>
                </a:lnTo>
                <a:lnTo>
                  <a:pt x="6570" y="18518"/>
                </a:lnTo>
                <a:lnTo>
                  <a:pt x="6862" y="18688"/>
                </a:lnTo>
                <a:lnTo>
                  <a:pt x="7179" y="18810"/>
                </a:lnTo>
                <a:lnTo>
                  <a:pt x="7495" y="18859"/>
                </a:lnTo>
                <a:lnTo>
                  <a:pt x="7738" y="18883"/>
                </a:lnTo>
                <a:lnTo>
                  <a:pt x="7982" y="18883"/>
                </a:lnTo>
                <a:lnTo>
                  <a:pt x="8030" y="18956"/>
                </a:lnTo>
                <a:lnTo>
                  <a:pt x="8079" y="18980"/>
                </a:lnTo>
                <a:lnTo>
                  <a:pt x="8128" y="18980"/>
                </a:lnTo>
                <a:lnTo>
                  <a:pt x="8176" y="18956"/>
                </a:lnTo>
                <a:lnTo>
                  <a:pt x="8201" y="18907"/>
                </a:lnTo>
                <a:lnTo>
                  <a:pt x="8201" y="18883"/>
                </a:lnTo>
                <a:lnTo>
                  <a:pt x="8493" y="18834"/>
                </a:lnTo>
                <a:lnTo>
                  <a:pt x="8785" y="18761"/>
                </a:lnTo>
                <a:lnTo>
                  <a:pt x="9052" y="18664"/>
                </a:lnTo>
                <a:lnTo>
                  <a:pt x="9320" y="18542"/>
                </a:lnTo>
                <a:lnTo>
                  <a:pt x="9563" y="18396"/>
                </a:lnTo>
                <a:lnTo>
                  <a:pt x="9807" y="18226"/>
                </a:lnTo>
                <a:lnTo>
                  <a:pt x="10050" y="18056"/>
                </a:lnTo>
                <a:lnTo>
                  <a:pt x="10269" y="17837"/>
                </a:lnTo>
                <a:lnTo>
                  <a:pt x="10318" y="17764"/>
                </a:lnTo>
                <a:lnTo>
                  <a:pt x="10342" y="17691"/>
                </a:lnTo>
                <a:lnTo>
                  <a:pt x="10464" y="17593"/>
                </a:lnTo>
                <a:lnTo>
                  <a:pt x="10537" y="17447"/>
                </a:lnTo>
                <a:lnTo>
                  <a:pt x="10585" y="17301"/>
                </a:lnTo>
                <a:lnTo>
                  <a:pt x="10634" y="17107"/>
                </a:lnTo>
                <a:lnTo>
                  <a:pt x="10634" y="16936"/>
                </a:lnTo>
                <a:lnTo>
                  <a:pt x="10585" y="16742"/>
                </a:lnTo>
                <a:lnTo>
                  <a:pt x="10512" y="16596"/>
                </a:lnTo>
                <a:lnTo>
                  <a:pt x="10391" y="16474"/>
                </a:lnTo>
                <a:lnTo>
                  <a:pt x="10488" y="16255"/>
                </a:lnTo>
                <a:lnTo>
                  <a:pt x="10537" y="16036"/>
                </a:lnTo>
                <a:lnTo>
                  <a:pt x="10537" y="15817"/>
                </a:lnTo>
                <a:lnTo>
                  <a:pt x="10488" y="15574"/>
                </a:lnTo>
                <a:lnTo>
                  <a:pt x="10415" y="15476"/>
                </a:lnTo>
                <a:lnTo>
                  <a:pt x="10342" y="15379"/>
                </a:lnTo>
                <a:lnTo>
                  <a:pt x="10342" y="15306"/>
                </a:lnTo>
                <a:lnTo>
                  <a:pt x="10415" y="14965"/>
                </a:lnTo>
                <a:lnTo>
                  <a:pt x="10464" y="14625"/>
                </a:lnTo>
                <a:lnTo>
                  <a:pt x="10512" y="14284"/>
                </a:lnTo>
                <a:lnTo>
                  <a:pt x="10585" y="13943"/>
                </a:lnTo>
                <a:lnTo>
                  <a:pt x="10658" y="13700"/>
                </a:lnTo>
                <a:lnTo>
                  <a:pt x="10756" y="13457"/>
                </a:lnTo>
                <a:lnTo>
                  <a:pt x="10999" y="12994"/>
                </a:lnTo>
                <a:lnTo>
                  <a:pt x="11023" y="12970"/>
                </a:lnTo>
                <a:lnTo>
                  <a:pt x="11023" y="12946"/>
                </a:lnTo>
                <a:lnTo>
                  <a:pt x="11340" y="12459"/>
                </a:lnTo>
                <a:lnTo>
                  <a:pt x="11632" y="11972"/>
                </a:lnTo>
                <a:lnTo>
                  <a:pt x="12191" y="11194"/>
                </a:lnTo>
                <a:lnTo>
                  <a:pt x="12483" y="10780"/>
                </a:lnTo>
                <a:lnTo>
                  <a:pt x="12751" y="10367"/>
                </a:lnTo>
                <a:lnTo>
                  <a:pt x="12994" y="9953"/>
                </a:lnTo>
                <a:lnTo>
                  <a:pt x="13213" y="9515"/>
                </a:lnTo>
                <a:lnTo>
                  <a:pt x="13384" y="9053"/>
                </a:lnTo>
                <a:lnTo>
                  <a:pt x="13457" y="8809"/>
                </a:lnTo>
                <a:lnTo>
                  <a:pt x="13505" y="8590"/>
                </a:lnTo>
                <a:lnTo>
                  <a:pt x="13554" y="8152"/>
                </a:lnTo>
                <a:lnTo>
                  <a:pt x="13554" y="7714"/>
                </a:lnTo>
                <a:lnTo>
                  <a:pt x="13505" y="7276"/>
                </a:lnTo>
                <a:lnTo>
                  <a:pt x="13432" y="6838"/>
                </a:lnTo>
                <a:lnTo>
                  <a:pt x="13335" y="6400"/>
                </a:lnTo>
                <a:lnTo>
                  <a:pt x="13213" y="5962"/>
                </a:lnTo>
                <a:lnTo>
                  <a:pt x="12946" y="5135"/>
                </a:lnTo>
                <a:lnTo>
                  <a:pt x="12800" y="4770"/>
                </a:lnTo>
                <a:lnTo>
                  <a:pt x="12605" y="4429"/>
                </a:lnTo>
                <a:lnTo>
                  <a:pt x="12386" y="4113"/>
                </a:lnTo>
                <a:lnTo>
                  <a:pt x="12143" y="3797"/>
                </a:lnTo>
                <a:lnTo>
                  <a:pt x="12143" y="3773"/>
                </a:lnTo>
                <a:lnTo>
                  <a:pt x="12094" y="3675"/>
                </a:lnTo>
                <a:lnTo>
                  <a:pt x="12021" y="3602"/>
                </a:lnTo>
                <a:lnTo>
                  <a:pt x="11948" y="3554"/>
                </a:lnTo>
                <a:lnTo>
                  <a:pt x="11851" y="3505"/>
                </a:lnTo>
                <a:lnTo>
                  <a:pt x="11607" y="3286"/>
                </a:lnTo>
                <a:lnTo>
                  <a:pt x="11340" y="3091"/>
                </a:lnTo>
                <a:lnTo>
                  <a:pt x="11072" y="2897"/>
                </a:lnTo>
                <a:lnTo>
                  <a:pt x="10804" y="2726"/>
                </a:lnTo>
                <a:lnTo>
                  <a:pt x="10464" y="2556"/>
                </a:lnTo>
                <a:lnTo>
                  <a:pt x="10099" y="2386"/>
                </a:lnTo>
                <a:lnTo>
                  <a:pt x="9709" y="2264"/>
                </a:lnTo>
                <a:lnTo>
                  <a:pt x="9320" y="2191"/>
                </a:lnTo>
                <a:lnTo>
                  <a:pt x="8931" y="2142"/>
                </a:lnTo>
                <a:lnTo>
                  <a:pt x="8517" y="2094"/>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37578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69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41E3BF-4194-4AEC-AE0B-9FE634FD6E9D}"/>
              </a:ext>
            </a:extLst>
          </p:cNvPr>
          <p:cNvGraphicFramePr>
            <a:graphicFrameLocks noChangeAspect="1"/>
          </p:cNvGraphicFramePr>
          <p:nvPr>
            <p:custDataLst>
              <p:tags r:id="rId1"/>
            </p:custDataLst>
            <p:extLst>
              <p:ext uri="{D42A27DB-BD31-4B8C-83A1-F6EECF244321}">
                <p14:modId xmlns:p14="http://schemas.microsoft.com/office/powerpoint/2010/main" val="3230649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2" name="Object 1" hidden="1">
                        <a:extLst>
                          <a:ext uri="{FF2B5EF4-FFF2-40B4-BE49-F238E27FC236}">
                            <a16:creationId xmlns:a16="http://schemas.microsoft.com/office/drawing/2014/main" id="{CB41E3BF-4194-4AEC-AE0B-9FE634FD6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94" name="Google Shape;694;p13"/>
          <p:cNvSpPr txBox="1">
            <a:spLocks noGrp="1"/>
          </p:cNvSpPr>
          <p:nvPr>
            <p:ph type="ctrTitle"/>
          </p:nvPr>
        </p:nvSpPr>
        <p:spPr>
          <a:xfrm>
            <a:off x="0" y="2436684"/>
            <a:ext cx="12192000" cy="1984631"/>
          </a:xfrm>
          <a:prstGeom prst="rect">
            <a:avLst/>
          </a:prstGeom>
        </p:spPr>
        <p:txBody>
          <a:bodyPr spcFirstLastPara="1" wrap="square" lIns="0" tIns="0" rIns="0" bIns="0" anchor="ctr" anchorCtr="0">
            <a:noAutofit/>
          </a:bodyPr>
          <a:lstStyle/>
          <a:p>
            <a:pPr algn="ctr"/>
            <a:r>
              <a:rPr lang="da-DK" sz="4800" b="1">
                <a:latin typeface="Amatic SC" panose="00000500000000000000" pitchFamily="2" charset="-79"/>
                <a:cs typeface="Amatic SC" panose="00000500000000000000" pitchFamily="2" charset="-79"/>
              </a:rPr>
              <a:t>Resultater fra første evalueringsrul</a:t>
            </a:r>
            <a:br>
              <a:rPr lang="da-DK" sz="4800" b="1">
                <a:latin typeface="Amatic SC" panose="00000500000000000000" pitchFamily="2" charset="-79"/>
                <a:cs typeface="Amatic SC" panose="00000500000000000000" pitchFamily="2" charset="-79"/>
              </a:rPr>
            </a:br>
            <a:r>
              <a:rPr lang="da-DK" sz="2800" b="1">
                <a:latin typeface="Amatic SC" panose="00000500000000000000" pitchFamily="2" charset="-79"/>
                <a:cs typeface="Amatic SC" panose="00000500000000000000" pitchFamily="2" charset="-79"/>
              </a:rPr>
              <a:t>evalueringen af den mangfoldige folkeskole</a:t>
            </a:r>
            <a:endParaRPr lang="da-DK" sz="8000">
              <a:latin typeface="Amatic SC" panose="00000500000000000000" pitchFamily="2" charset="-79"/>
              <a:cs typeface="Amatic SC" panose="00000500000000000000" pitchFamily="2" charset="-79"/>
            </a:endParaRPr>
          </a:p>
        </p:txBody>
      </p:sp>
      <p:sp>
        <p:nvSpPr>
          <p:cNvPr id="5" name="Freeform 5">
            <a:extLst>
              <a:ext uri="{FF2B5EF4-FFF2-40B4-BE49-F238E27FC236}">
                <a16:creationId xmlns:a16="http://schemas.microsoft.com/office/drawing/2014/main" id="{6700E6DD-2609-4241-8E3B-D501AA8DCC47}"/>
              </a:ext>
            </a:extLst>
          </p:cNvPr>
          <p:cNvSpPr>
            <a:spLocks noEditPoints="1"/>
          </p:cNvSpPr>
          <p:nvPr/>
        </p:nvSpPr>
        <p:spPr bwMode="auto">
          <a:xfrm>
            <a:off x="549872" y="6128309"/>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spTree>
    <p:extLst>
      <p:ext uri="{BB962C8B-B14F-4D97-AF65-F5344CB8AC3E}">
        <p14:creationId xmlns:p14="http://schemas.microsoft.com/office/powerpoint/2010/main" val="22250463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0785695" y="6428274"/>
            <a:ext cx="626400" cy="108000"/>
          </a:xfrm>
        </p:spPr>
        <p:txBody>
          <a:bodyPr/>
          <a:lstStyle/>
          <a:p>
            <a:fld id="{23AA811B-2EBD-4900-905E-5BE206449611}" type="slidenum">
              <a:rPr lang="da-DK" smtClean="0"/>
              <a:pPr/>
              <a:t>14</a:t>
            </a:fld>
            <a:endParaRPr lang="da-DK"/>
          </a:p>
        </p:txBody>
      </p:sp>
      <p:sp>
        <p:nvSpPr>
          <p:cNvPr id="25" name="Google Shape;846;p29">
            <a:extLst>
              <a:ext uri="{FF2B5EF4-FFF2-40B4-BE49-F238E27FC236}">
                <a16:creationId xmlns:a16="http://schemas.microsoft.com/office/drawing/2014/main" id="{EDA2C9DA-AA0E-4900-AD2F-E52580846E8D}"/>
              </a:ext>
            </a:extLst>
          </p:cNvPr>
          <p:cNvSpPr/>
          <p:nvPr/>
        </p:nvSpPr>
        <p:spPr>
          <a:xfrm>
            <a:off x="779906" y="1525569"/>
            <a:ext cx="10632187" cy="851643"/>
          </a:xfrm>
          <a:prstGeom prst="homePlate">
            <a:avLst>
              <a:gd name="adj" fmla="val 50000"/>
            </a:avLst>
          </a:prstGeom>
          <a:solidFill>
            <a:schemeClr val="accent2"/>
          </a:solidFill>
          <a:ln>
            <a:noFill/>
          </a:ln>
        </p:spPr>
        <p:txBody>
          <a:bodyPr spcFirstLastPara="1" wrap="square" lIns="720000" tIns="91425" rIns="91425" bIns="91425" anchor="ctr" anchorCtr="0">
            <a:noAutofit/>
          </a:bodyPr>
          <a:lstStyle/>
          <a:p>
            <a:pPr marL="0" lvl="0" indent="0">
              <a:spcBef>
                <a:spcPts val="0"/>
              </a:spcBef>
              <a:spcAft>
                <a:spcPts val="0"/>
              </a:spcAft>
              <a:buNone/>
            </a:pPr>
            <a:r>
              <a:rPr lang="da-DK" sz="2800" b="1" u="sng">
                <a:solidFill>
                  <a:schemeClr val="bg1"/>
                </a:solidFill>
                <a:latin typeface="Amatic SC"/>
                <a:ea typeface="Amatic SC"/>
                <a:cs typeface="Amatic SC"/>
                <a:sym typeface="Amatic SC"/>
                <a:hlinkClick r:id="rId6" action="ppaction://hlinksldjump">
                  <a:extLst>
                    <a:ext uri="{A12FA001-AC4F-418D-AE19-62706E023703}">
                      <ahyp:hlinkClr xmlns:ahyp="http://schemas.microsoft.com/office/drawing/2018/hyperlinkcolor" val="tx"/>
                    </a:ext>
                  </a:extLst>
                </a:hlinkClick>
              </a:rPr>
              <a:t>Deltagelsesmuligheder for alle elever –</a:t>
            </a:r>
            <a:r>
              <a:rPr lang="da-DK" sz="2800" b="1" u="sng">
                <a:solidFill>
                  <a:schemeClr val="bg1"/>
                </a:solidFill>
                <a:latin typeface="Amatic SC"/>
                <a:ea typeface="Amatic SC"/>
                <a:cs typeface="Amatic SC"/>
                <a:sym typeface="Amatic SC"/>
              </a:rPr>
              <a:t> eleverne fortæller</a:t>
            </a:r>
          </a:p>
        </p:txBody>
      </p:sp>
      <p:sp>
        <p:nvSpPr>
          <p:cNvPr id="2" name="Rectangle 1">
            <a:extLst>
              <a:ext uri="{FF2B5EF4-FFF2-40B4-BE49-F238E27FC236}">
                <a16:creationId xmlns:a16="http://schemas.microsoft.com/office/drawing/2014/main" id="{0F3589F5-3D84-40EF-A891-6B4345990046}"/>
              </a:ext>
            </a:extLst>
          </p:cNvPr>
          <p:cNvSpPr/>
          <p:nvPr/>
        </p:nvSpPr>
        <p:spPr>
          <a:xfrm>
            <a:off x="-640180" y="1862903"/>
            <a:ext cx="11833200" cy="1947762"/>
          </a:xfrm>
          <a:prstGeom prst="rect">
            <a:avLst/>
          </a:prstGeom>
          <a:noFill/>
          <a:ln w="381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 name="Google Shape;846;p29">
            <a:extLst>
              <a:ext uri="{FF2B5EF4-FFF2-40B4-BE49-F238E27FC236}">
                <a16:creationId xmlns:a16="http://schemas.microsoft.com/office/drawing/2014/main" id="{1189B5A7-1FC4-09E0-4FF6-10A4AAEE165E}"/>
              </a:ext>
            </a:extLst>
          </p:cNvPr>
          <p:cNvSpPr/>
          <p:nvPr/>
        </p:nvSpPr>
        <p:spPr>
          <a:xfrm>
            <a:off x="779906" y="2592783"/>
            <a:ext cx="10632188" cy="852581"/>
          </a:xfrm>
          <a:prstGeom prst="homePlate">
            <a:avLst>
              <a:gd name="adj" fmla="val 50000"/>
            </a:avLst>
          </a:prstGeom>
          <a:solidFill>
            <a:schemeClr val="accent6"/>
          </a:solidFill>
          <a:ln>
            <a:noFill/>
          </a:ln>
        </p:spPr>
        <p:txBody>
          <a:bodyPr spcFirstLastPara="1" wrap="square" lIns="720000" tIns="91425" rIns="91425" bIns="91425" anchor="ctr" anchorCtr="0">
            <a:noAutofit/>
          </a:bodyPr>
          <a:lstStyle/>
          <a:p>
            <a:r>
              <a:rPr lang="da-DK" sz="2800" b="1">
                <a:solidFill>
                  <a:schemeClr val="bg2"/>
                </a:solidFill>
                <a:latin typeface="Amatic SC" panose="00000500000000000000" pitchFamily="2" charset="-79"/>
                <a:cs typeface="Amatic SC" panose="00000500000000000000" pitchFamily="2" charset="-79"/>
                <a:hlinkClick r:id="rId7" action="ppaction://hlinksldjump">
                  <a:extLst>
                    <a:ext uri="{A12FA001-AC4F-418D-AE19-62706E023703}">
                      <ahyp:hlinkClr xmlns:ahyp="http://schemas.microsoft.com/office/drawing/2018/hyperlinkcolor" val="tx"/>
                    </a:ext>
                  </a:extLst>
                </a:hlinkClick>
              </a:rPr>
              <a:t>Aktionslæringsforløb styrker deltagelsesmuligheder, når det foregår systematisk</a:t>
            </a:r>
            <a:endParaRPr lang="da-DK" sz="2799" b="1">
              <a:solidFill>
                <a:schemeClr val="bg2"/>
              </a:solidFill>
              <a:latin typeface="Amatic SC" panose="00000500000000000000" pitchFamily="2" charset="-79"/>
              <a:ea typeface="Amatic SC"/>
              <a:cs typeface="Amatic SC" panose="00000500000000000000" pitchFamily="2" charset="-79"/>
              <a:sym typeface="Amatic SC"/>
            </a:endParaRPr>
          </a:p>
        </p:txBody>
      </p:sp>
      <p:sp>
        <p:nvSpPr>
          <p:cNvPr id="8" name="Google Shape;846;p29">
            <a:extLst>
              <a:ext uri="{FF2B5EF4-FFF2-40B4-BE49-F238E27FC236}">
                <a16:creationId xmlns:a16="http://schemas.microsoft.com/office/drawing/2014/main" id="{F9F1B1CB-24E2-1492-7292-569B4698D3AF}"/>
              </a:ext>
            </a:extLst>
          </p:cNvPr>
          <p:cNvSpPr/>
          <p:nvPr/>
        </p:nvSpPr>
        <p:spPr>
          <a:xfrm>
            <a:off x="779906" y="3666567"/>
            <a:ext cx="10632188" cy="851643"/>
          </a:xfrm>
          <a:prstGeom prst="homePlate">
            <a:avLst>
              <a:gd name="adj" fmla="val 50000"/>
            </a:avLst>
          </a:prstGeom>
          <a:solidFill>
            <a:schemeClr val="accent4"/>
          </a:solidFill>
          <a:ln>
            <a:noFill/>
          </a:ln>
        </p:spPr>
        <p:txBody>
          <a:bodyPr spcFirstLastPara="1" wrap="square" lIns="720000" tIns="91425" rIns="91425" bIns="91425" anchor="ctr" anchorCtr="0">
            <a:noAutofit/>
          </a:bodyPr>
          <a:lstStyle/>
          <a:p>
            <a:pPr marL="0" lvl="0" indent="0">
              <a:spcBef>
                <a:spcPts val="0"/>
              </a:spcBef>
              <a:spcAft>
                <a:spcPts val="0"/>
              </a:spcAft>
              <a:buNone/>
            </a:pPr>
            <a:r>
              <a:rPr lang="da-DK" sz="2800" b="1">
                <a:solidFill>
                  <a:schemeClr val="bg2"/>
                </a:solidFill>
                <a:latin typeface="Amatic SC"/>
                <a:ea typeface="Amatic SC"/>
                <a:cs typeface="Amatic SC"/>
                <a:sym typeface="Amatic SC"/>
                <a:hlinkClick r:id="rId8" action="ppaction://hlinksldjump">
                  <a:extLst>
                    <a:ext uri="{A12FA001-AC4F-418D-AE19-62706E023703}">
                      <ahyp:hlinkClr xmlns:ahyp="http://schemas.microsoft.com/office/drawing/2018/hyperlinkcolor" val="tx"/>
                    </a:ext>
                  </a:extLst>
                </a:hlinkClick>
              </a:rPr>
              <a:t>Teamsamarbejde er løftestang for udvikling af praksis, når teamet har et fælles børnesyn</a:t>
            </a:r>
            <a:endParaRPr lang="da-DK" sz="2800" b="1">
              <a:solidFill>
                <a:schemeClr val="bg2"/>
              </a:solidFill>
              <a:latin typeface="Amatic SC"/>
              <a:ea typeface="Amatic SC"/>
              <a:cs typeface="Amatic SC"/>
              <a:sym typeface="Amatic SC"/>
            </a:endParaRPr>
          </a:p>
        </p:txBody>
      </p:sp>
      <p:sp>
        <p:nvSpPr>
          <p:cNvPr id="11" name="Google Shape;846;p29">
            <a:extLst>
              <a:ext uri="{FF2B5EF4-FFF2-40B4-BE49-F238E27FC236}">
                <a16:creationId xmlns:a16="http://schemas.microsoft.com/office/drawing/2014/main" id="{E1FC35E7-C360-C38F-564A-79307400A9E3}"/>
              </a:ext>
            </a:extLst>
          </p:cNvPr>
          <p:cNvSpPr/>
          <p:nvPr/>
        </p:nvSpPr>
        <p:spPr>
          <a:xfrm>
            <a:off x="778006" y="4739413"/>
            <a:ext cx="10574622" cy="851643"/>
          </a:xfrm>
          <a:prstGeom prst="homePlate">
            <a:avLst>
              <a:gd name="adj" fmla="val 50000"/>
            </a:avLst>
          </a:prstGeom>
          <a:solidFill>
            <a:schemeClr val="accent3"/>
          </a:solidFill>
          <a:ln>
            <a:noFill/>
          </a:ln>
        </p:spPr>
        <p:txBody>
          <a:bodyPr spcFirstLastPara="1" wrap="square" lIns="720000" tIns="91425" rIns="91425" bIns="91425" anchor="ctr" anchorCtr="0">
            <a:noAutofit/>
          </a:bodyPr>
          <a:lstStyle/>
          <a:p>
            <a:pPr marL="0" lvl="0" indent="0">
              <a:spcBef>
                <a:spcPts val="0"/>
              </a:spcBef>
              <a:spcAft>
                <a:spcPts val="0"/>
              </a:spcAft>
              <a:buNone/>
            </a:pPr>
            <a:r>
              <a:rPr lang="da-DK" sz="2800" b="1">
                <a:solidFill>
                  <a:schemeClr val="bg2"/>
                </a:solidFill>
                <a:latin typeface="Amatic SC"/>
                <a:ea typeface="Amatic SC"/>
                <a:cs typeface="Amatic SC"/>
                <a:sym typeface="Amatic SC"/>
                <a:hlinkClick r:id="rId9" action="ppaction://hlinksldjump">
                  <a:extLst>
                    <a:ext uri="{A12FA001-AC4F-418D-AE19-62706E023703}">
                      <ahyp:hlinkClr xmlns:ahyp="http://schemas.microsoft.com/office/drawing/2018/hyperlinkcolor" val="tx"/>
                    </a:ext>
                  </a:extLst>
                </a:hlinkClick>
              </a:rPr>
              <a:t>ledelsen udmønter rolle forskelligt, men bør være tæt på udviklingsproces </a:t>
            </a:r>
            <a:endParaRPr lang="da-DK" sz="2800" b="1">
              <a:solidFill>
                <a:schemeClr val="bg2"/>
              </a:solidFill>
              <a:latin typeface="Amatic SC"/>
              <a:ea typeface="Amatic SC"/>
              <a:cs typeface="Amatic SC"/>
              <a:sym typeface="Amatic SC"/>
            </a:endParaRPr>
          </a:p>
        </p:txBody>
      </p:sp>
      <p:sp>
        <p:nvSpPr>
          <p:cNvPr id="12" name="TextBox 11">
            <a:extLst>
              <a:ext uri="{FF2B5EF4-FFF2-40B4-BE49-F238E27FC236}">
                <a16:creationId xmlns:a16="http://schemas.microsoft.com/office/drawing/2014/main" id="{5712C3C3-22D8-AD22-6D55-6066FE110B19}"/>
              </a:ext>
            </a:extLst>
          </p:cNvPr>
          <p:cNvSpPr txBox="1"/>
          <p:nvPr/>
        </p:nvSpPr>
        <p:spPr>
          <a:xfrm>
            <a:off x="1055276" y="1705168"/>
            <a:ext cx="385170" cy="492443"/>
          </a:xfrm>
          <a:prstGeom prst="rect">
            <a:avLst/>
          </a:prstGeom>
          <a:solidFill>
            <a:schemeClr val="accent2"/>
          </a:solidFill>
        </p:spPr>
        <p:txBody>
          <a:bodyPr wrap="square" lIns="0" tIns="0" rIns="0" bIns="0" rtlCol="0">
            <a:spAutoFit/>
          </a:bodyPr>
          <a:lstStyle/>
          <a:p>
            <a:r>
              <a:rPr lang="da-DK" sz="3200">
                <a:solidFill>
                  <a:schemeClr val="bg2"/>
                </a:solidFill>
                <a:latin typeface="Quicksand" panose="020B0604020202020204"/>
                <a:cs typeface="Amatic SC" panose="00000500000000000000" pitchFamily="2" charset="-79"/>
              </a:rPr>
              <a:t>1</a:t>
            </a:r>
          </a:p>
        </p:txBody>
      </p:sp>
      <p:sp>
        <p:nvSpPr>
          <p:cNvPr id="14" name="TextBox 13">
            <a:extLst>
              <a:ext uri="{FF2B5EF4-FFF2-40B4-BE49-F238E27FC236}">
                <a16:creationId xmlns:a16="http://schemas.microsoft.com/office/drawing/2014/main" id="{F7829095-90DB-0351-C4E1-55F9DE365365}"/>
              </a:ext>
            </a:extLst>
          </p:cNvPr>
          <p:cNvSpPr txBox="1"/>
          <p:nvPr/>
        </p:nvSpPr>
        <p:spPr>
          <a:xfrm>
            <a:off x="1055276" y="2772851"/>
            <a:ext cx="432961" cy="492443"/>
          </a:xfrm>
          <a:prstGeom prst="rect">
            <a:avLst/>
          </a:prstGeom>
          <a:noFill/>
        </p:spPr>
        <p:txBody>
          <a:bodyPr wrap="square" lIns="0" tIns="0" rIns="0" bIns="0" rtlCol="0">
            <a:spAutoFit/>
          </a:bodyPr>
          <a:lstStyle/>
          <a:p>
            <a:r>
              <a:rPr lang="da-DK" sz="3200">
                <a:solidFill>
                  <a:schemeClr val="bg2"/>
                </a:solidFill>
                <a:latin typeface="Quicksand" panose="020B0604020202020204"/>
                <a:cs typeface="Amatic SC" panose="00000500000000000000" pitchFamily="2" charset="-79"/>
              </a:rPr>
              <a:t>2</a:t>
            </a:r>
          </a:p>
        </p:txBody>
      </p:sp>
      <p:sp>
        <p:nvSpPr>
          <p:cNvPr id="16" name="TextBox 15">
            <a:extLst>
              <a:ext uri="{FF2B5EF4-FFF2-40B4-BE49-F238E27FC236}">
                <a16:creationId xmlns:a16="http://schemas.microsoft.com/office/drawing/2014/main" id="{C3B89022-554A-72EE-0E34-120D7A6E85EC}"/>
              </a:ext>
            </a:extLst>
          </p:cNvPr>
          <p:cNvSpPr txBox="1"/>
          <p:nvPr/>
        </p:nvSpPr>
        <p:spPr>
          <a:xfrm>
            <a:off x="1055276" y="4919012"/>
            <a:ext cx="470100" cy="492443"/>
          </a:xfrm>
          <a:prstGeom prst="rect">
            <a:avLst/>
          </a:prstGeom>
          <a:noFill/>
        </p:spPr>
        <p:txBody>
          <a:bodyPr wrap="square" lIns="0" tIns="0" rIns="0" bIns="0" rtlCol="0">
            <a:spAutoFit/>
          </a:bodyPr>
          <a:lstStyle/>
          <a:p>
            <a:r>
              <a:rPr lang="da-DK" sz="3200">
                <a:solidFill>
                  <a:schemeClr val="bg2"/>
                </a:solidFill>
                <a:latin typeface="Quicksand" panose="020B0604020202020204"/>
                <a:cs typeface="Amatic SC" panose="00000500000000000000" pitchFamily="2" charset="-79"/>
              </a:rPr>
              <a:t>4</a:t>
            </a:r>
          </a:p>
        </p:txBody>
      </p:sp>
      <p:sp>
        <p:nvSpPr>
          <p:cNvPr id="19" name="TextBox 18">
            <a:extLst>
              <a:ext uri="{FF2B5EF4-FFF2-40B4-BE49-F238E27FC236}">
                <a16:creationId xmlns:a16="http://schemas.microsoft.com/office/drawing/2014/main" id="{5490FFEE-96E0-8A01-B685-F0B6826893BA}"/>
              </a:ext>
            </a:extLst>
          </p:cNvPr>
          <p:cNvSpPr txBox="1"/>
          <p:nvPr/>
        </p:nvSpPr>
        <p:spPr>
          <a:xfrm>
            <a:off x="1055276" y="3846166"/>
            <a:ext cx="432960" cy="492443"/>
          </a:xfrm>
          <a:prstGeom prst="rect">
            <a:avLst/>
          </a:prstGeom>
          <a:noFill/>
        </p:spPr>
        <p:txBody>
          <a:bodyPr wrap="square" lIns="0" tIns="0" rIns="0" bIns="0" rtlCol="0">
            <a:spAutoFit/>
          </a:bodyPr>
          <a:lstStyle/>
          <a:p>
            <a:r>
              <a:rPr lang="da-DK" sz="3200">
                <a:solidFill>
                  <a:schemeClr val="bg2"/>
                </a:solidFill>
                <a:latin typeface="Quicksand" panose="020B0604020202020204"/>
                <a:cs typeface="Amatic SC" panose="00000500000000000000" pitchFamily="2" charset="-79"/>
              </a:rPr>
              <a:t>3</a:t>
            </a:r>
          </a:p>
        </p:txBody>
      </p:sp>
      <p:sp>
        <p:nvSpPr>
          <p:cNvPr id="18" name="TextBox 17">
            <a:extLst>
              <a:ext uri="{FF2B5EF4-FFF2-40B4-BE49-F238E27FC236}">
                <a16:creationId xmlns:a16="http://schemas.microsoft.com/office/drawing/2014/main" id="{DBD7EAB2-AB75-C764-75BB-C3960A7A13CD}"/>
              </a:ext>
            </a:extLst>
          </p:cNvPr>
          <p:cNvSpPr txBox="1"/>
          <p:nvPr/>
        </p:nvSpPr>
        <p:spPr>
          <a:xfrm>
            <a:off x="1582615" y="435435"/>
            <a:ext cx="9228406" cy="707886"/>
          </a:xfrm>
          <a:prstGeom prst="rect">
            <a:avLst/>
          </a:prstGeom>
          <a:noFill/>
        </p:spPr>
        <p:txBody>
          <a:bodyPr wrap="square">
            <a:spAutoFit/>
          </a:bodyPr>
          <a:lstStyle/>
          <a:p>
            <a:pPr marL="0" lvl="0" indent="0" algn="ctr">
              <a:spcBef>
                <a:spcPts val="0"/>
              </a:spcBef>
              <a:spcAft>
                <a:spcPts val="0"/>
              </a:spcAft>
              <a:buNone/>
            </a:pPr>
            <a:r>
              <a:rPr lang="da-DK" sz="4000" b="1">
                <a:latin typeface="Amatic SC"/>
                <a:ea typeface="Amatic SC"/>
                <a:cs typeface="Amatic SC"/>
                <a:sym typeface="Amatic SC"/>
              </a:rPr>
              <a:t>På de kommende slides finder i fire centrale resultater</a:t>
            </a:r>
          </a:p>
        </p:txBody>
      </p:sp>
    </p:spTree>
    <p:extLst>
      <p:ext uri="{BB962C8B-B14F-4D97-AF65-F5344CB8AC3E}">
        <p14:creationId xmlns:p14="http://schemas.microsoft.com/office/powerpoint/2010/main" val="5800587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Shape 69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41E3BF-4194-4AEC-AE0B-9FE634FD6E9D}"/>
              </a:ext>
            </a:extLst>
          </p:cNvPr>
          <p:cNvGraphicFramePr>
            <a:graphicFrameLocks noChangeAspect="1"/>
          </p:cNvGraphicFramePr>
          <p:nvPr>
            <p:custDataLst>
              <p:tags r:id="rId1"/>
            </p:custDataLst>
            <p:extLst>
              <p:ext uri="{D42A27DB-BD31-4B8C-83A1-F6EECF244321}">
                <p14:modId xmlns:p14="http://schemas.microsoft.com/office/powerpoint/2010/main" val="4271403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2" name="Object 1" hidden="1">
                        <a:extLst>
                          <a:ext uri="{FF2B5EF4-FFF2-40B4-BE49-F238E27FC236}">
                            <a16:creationId xmlns:a16="http://schemas.microsoft.com/office/drawing/2014/main" id="{CB41E3BF-4194-4AEC-AE0B-9FE634FD6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94" name="Google Shape;694;p13"/>
          <p:cNvSpPr txBox="1">
            <a:spLocks noGrp="1"/>
          </p:cNvSpPr>
          <p:nvPr>
            <p:ph type="ctrTitle"/>
          </p:nvPr>
        </p:nvSpPr>
        <p:spPr>
          <a:xfrm>
            <a:off x="0" y="2589083"/>
            <a:ext cx="12192000" cy="1984631"/>
          </a:xfrm>
          <a:prstGeom prst="rect">
            <a:avLst/>
          </a:prstGeom>
        </p:spPr>
        <p:txBody>
          <a:bodyPr spcFirstLastPara="1" wrap="square" lIns="0" tIns="0" rIns="0" bIns="0" anchor="ctr" anchorCtr="0">
            <a:noAutofit/>
          </a:bodyPr>
          <a:lstStyle/>
          <a:p>
            <a:pPr algn="ctr"/>
            <a:r>
              <a:rPr lang="da-DK" sz="4800" b="1">
                <a:latin typeface="Amatic SC" panose="00000500000000000000" pitchFamily="2" charset="-79"/>
                <a:cs typeface="Amatic SC" panose="00000500000000000000" pitchFamily="2" charset="-79"/>
              </a:rPr>
              <a:t>Deltagelsesmuligheder for alle elever</a:t>
            </a:r>
            <a:br>
              <a:rPr lang="da-DK" sz="4800" b="1">
                <a:latin typeface="Amatic SC" panose="00000500000000000000" pitchFamily="2" charset="-79"/>
                <a:cs typeface="Amatic SC" panose="00000500000000000000" pitchFamily="2" charset="-79"/>
              </a:rPr>
            </a:br>
            <a:r>
              <a:rPr lang="da-DK" sz="4800" b="1">
                <a:latin typeface="Amatic SC" panose="00000500000000000000" pitchFamily="2" charset="-79"/>
                <a:cs typeface="Amatic SC" panose="00000500000000000000" pitchFamily="2" charset="-79"/>
              </a:rPr>
              <a:t>- </a:t>
            </a:r>
            <a:r>
              <a:rPr lang="da-DK" sz="4000" b="1">
                <a:latin typeface="Amatic SC" panose="00000500000000000000" pitchFamily="2" charset="-79"/>
                <a:cs typeface="Amatic SC" panose="00000500000000000000" pitchFamily="2" charset="-79"/>
              </a:rPr>
              <a:t>eleverne fortæller</a:t>
            </a:r>
            <a:endParaRPr lang="da-DK" sz="8000">
              <a:latin typeface="Amatic SC" panose="00000500000000000000" pitchFamily="2" charset="-79"/>
              <a:cs typeface="Amatic SC" panose="00000500000000000000" pitchFamily="2" charset="-79"/>
            </a:endParaRPr>
          </a:p>
        </p:txBody>
      </p:sp>
    </p:spTree>
    <p:extLst>
      <p:ext uri="{BB962C8B-B14F-4D97-AF65-F5344CB8AC3E}">
        <p14:creationId xmlns:p14="http://schemas.microsoft.com/office/powerpoint/2010/main" val="35238160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16</a:t>
            </a:fld>
            <a:endParaRPr lang="da-DK"/>
          </a:p>
        </p:txBody>
      </p:sp>
      <p:sp>
        <p:nvSpPr>
          <p:cNvPr id="25" name="Google Shape;846;p29">
            <a:extLst>
              <a:ext uri="{FF2B5EF4-FFF2-40B4-BE49-F238E27FC236}">
                <a16:creationId xmlns:a16="http://schemas.microsoft.com/office/drawing/2014/main" id="{EDA2C9DA-AA0E-4900-AD2F-E52580846E8D}"/>
              </a:ext>
            </a:extLst>
          </p:cNvPr>
          <p:cNvSpPr/>
          <p:nvPr/>
        </p:nvSpPr>
        <p:spPr>
          <a:xfrm>
            <a:off x="-2" y="347862"/>
            <a:ext cx="12192001" cy="856486"/>
          </a:xfrm>
          <a:prstGeom prst="rect">
            <a:avLst/>
          </a:prstGeom>
          <a:solidFill>
            <a:schemeClr val="accent2"/>
          </a:solidFill>
          <a:ln>
            <a:noFill/>
          </a:ln>
        </p:spPr>
        <p:txBody>
          <a:bodyPr spcFirstLastPara="1" wrap="square" lIns="396000" tIns="91425" rIns="91425" bIns="91425" anchor="ctr" anchorCtr="0">
            <a:noAutofit/>
          </a:bodyPr>
          <a:lstStyle/>
          <a:p>
            <a:pPr marL="0" lvl="0" indent="0" algn="ctr">
              <a:spcBef>
                <a:spcPts val="0"/>
              </a:spcBef>
              <a:spcAft>
                <a:spcPts val="0"/>
              </a:spcAft>
              <a:buNone/>
            </a:pPr>
            <a:r>
              <a:rPr lang="da-DK" sz="3200" b="1">
                <a:solidFill>
                  <a:schemeClr val="bg1"/>
                </a:solidFill>
                <a:latin typeface="Amatic SC" panose="00000500000000000000" pitchFamily="2" charset="-79"/>
                <a:cs typeface="Amatic SC" panose="00000500000000000000" pitchFamily="2" charset="-79"/>
              </a:rPr>
              <a:t>Deltagelsesmuligheder for alle elever – eleverne fortæller</a:t>
            </a:r>
            <a:endParaRPr lang="da-DK" sz="3200" b="1">
              <a:solidFill>
                <a:schemeClr val="bg1"/>
              </a:solidFill>
              <a:latin typeface="Amatic SC"/>
              <a:ea typeface="Amatic SC"/>
              <a:cs typeface="Amatic SC"/>
              <a:sym typeface="Amatic SC"/>
            </a:endParaRPr>
          </a:p>
        </p:txBody>
      </p:sp>
      <p:sp>
        <p:nvSpPr>
          <p:cNvPr id="7" name="TextBox 6">
            <a:extLst>
              <a:ext uri="{FF2B5EF4-FFF2-40B4-BE49-F238E27FC236}">
                <a16:creationId xmlns:a16="http://schemas.microsoft.com/office/drawing/2014/main" id="{28785CFB-DAB6-297E-38E9-56CFFA13E224}"/>
              </a:ext>
            </a:extLst>
          </p:cNvPr>
          <p:cNvSpPr txBox="1"/>
          <p:nvPr/>
        </p:nvSpPr>
        <p:spPr>
          <a:xfrm>
            <a:off x="2647947" y="1698274"/>
            <a:ext cx="6896102" cy="553998"/>
          </a:xfrm>
          <a:prstGeom prst="rect">
            <a:avLst/>
          </a:prstGeom>
          <a:noFill/>
        </p:spPr>
        <p:txBody>
          <a:bodyPr wrap="square">
            <a:spAutoFit/>
          </a:bodyPr>
          <a:lstStyle/>
          <a:p>
            <a:pPr algn="ctr"/>
            <a:r>
              <a:rPr lang="da-DK" sz="3000" b="1">
                <a:latin typeface="Amatic SC" panose="00000500000000000000" pitchFamily="2" charset="-79"/>
                <a:cs typeface="Amatic SC" panose="00000500000000000000" pitchFamily="2" charset="-79"/>
              </a:rPr>
              <a:t>Ifølge eleverne er der deltagelsesmuligheder for alle, når…</a:t>
            </a:r>
          </a:p>
        </p:txBody>
      </p:sp>
      <p:grpSp>
        <p:nvGrpSpPr>
          <p:cNvPr id="9" name="Group 8">
            <a:extLst>
              <a:ext uri="{FF2B5EF4-FFF2-40B4-BE49-F238E27FC236}">
                <a16:creationId xmlns:a16="http://schemas.microsoft.com/office/drawing/2014/main" id="{601093A5-0244-5E13-3F69-FD16C3F7EB73}"/>
              </a:ext>
            </a:extLst>
          </p:cNvPr>
          <p:cNvGrpSpPr/>
          <p:nvPr/>
        </p:nvGrpSpPr>
        <p:grpSpPr>
          <a:xfrm>
            <a:off x="1314867" y="2397793"/>
            <a:ext cx="9584514" cy="684000"/>
            <a:chOff x="553811" y="1629898"/>
            <a:chExt cx="11084378" cy="808502"/>
          </a:xfrm>
        </p:grpSpPr>
        <p:sp>
          <p:nvSpPr>
            <p:cNvPr id="11" name="TextBox 10">
              <a:extLst>
                <a:ext uri="{FF2B5EF4-FFF2-40B4-BE49-F238E27FC236}">
                  <a16:creationId xmlns:a16="http://schemas.microsoft.com/office/drawing/2014/main" id="{77793B88-B6B2-9567-5BAB-34647DE852D0}"/>
                </a:ext>
              </a:extLst>
            </p:cNvPr>
            <p:cNvSpPr txBox="1">
              <a:spLocks/>
            </p:cNvSpPr>
            <p:nvPr/>
          </p:nvSpPr>
          <p:spPr>
            <a:xfrm>
              <a:off x="553811" y="1629898"/>
              <a:ext cx="11084378" cy="808502"/>
            </a:xfrm>
            <a:custGeom>
              <a:avLst/>
              <a:gdLst>
                <a:gd name="connsiteX0" fmla="*/ 0 w 11084378"/>
                <a:gd name="connsiteY0" fmla="*/ 0 h 808502"/>
                <a:gd name="connsiteX1" fmla="*/ 914461 w 11084378"/>
                <a:gd name="connsiteY1" fmla="*/ 0 h 808502"/>
                <a:gd name="connsiteX2" fmla="*/ 1718079 w 11084378"/>
                <a:gd name="connsiteY2" fmla="*/ 0 h 808502"/>
                <a:gd name="connsiteX3" fmla="*/ 2410852 w 11084378"/>
                <a:gd name="connsiteY3" fmla="*/ 0 h 808502"/>
                <a:gd name="connsiteX4" fmla="*/ 2992782 w 11084378"/>
                <a:gd name="connsiteY4" fmla="*/ 0 h 808502"/>
                <a:gd name="connsiteX5" fmla="*/ 3796399 w 11084378"/>
                <a:gd name="connsiteY5" fmla="*/ 0 h 808502"/>
                <a:gd name="connsiteX6" fmla="*/ 4267486 w 11084378"/>
                <a:gd name="connsiteY6" fmla="*/ 0 h 808502"/>
                <a:gd name="connsiteX7" fmla="*/ 5071103 w 11084378"/>
                <a:gd name="connsiteY7" fmla="*/ 0 h 808502"/>
                <a:gd name="connsiteX8" fmla="*/ 5542189 w 11084378"/>
                <a:gd name="connsiteY8" fmla="*/ 0 h 808502"/>
                <a:gd name="connsiteX9" fmla="*/ 6013275 w 11084378"/>
                <a:gd name="connsiteY9" fmla="*/ 0 h 808502"/>
                <a:gd name="connsiteX10" fmla="*/ 6927736 w 11084378"/>
                <a:gd name="connsiteY10" fmla="*/ 0 h 808502"/>
                <a:gd name="connsiteX11" fmla="*/ 7620510 w 11084378"/>
                <a:gd name="connsiteY11" fmla="*/ 0 h 808502"/>
                <a:gd name="connsiteX12" fmla="*/ 8534971 w 11084378"/>
                <a:gd name="connsiteY12" fmla="*/ 0 h 808502"/>
                <a:gd name="connsiteX13" fmla="*/ 9227745 w 11084378"/>
                <a:gd name="connsiteY13" fmla="*/ 0 h 808502"/>
                <a:gd name="connsiteX14" fmla="*/ 9698831 w 11084378"/>
                <a:gd name="connsiteY14" fmla="*/ 0 h 808502"/>
                <a:gd name="connsiteX15" fmla="*/ 10391604 w 11084378"/>
                <a:gd name="connsiteY15" fmla="*/ 0 h 808502"/>
                <a:gd name="connsiteX16" fmla="*/ 11084378 w 11084378"/>
                <a:gd name="connsiteY16" fmla="*/ 0 h 808502"/>
                <a:gd name="connsiteX17" fmla="*/ 11084378 w 11084378"/>
                <a:gd name="connsiteY17" fmla="*/ 396166 h 808502"/>
                <a:gd name="connsiteX18" fmla="*/ 11084378 w 11084378"/>
                <a:gd name="connsiteY18" fmla="*/ 808502 h 808502"/>
                <a:gd name="connsiteX19" fmla="*/ 10280761 w 11084378"/>
                <a:gd name="connsiteY19" fmla="*/ 808502 h 808502"/>
                <a:gd name="connsiteX20" fmla="*/ 9477143 w 11084378"/>
                <a:gd name="connsiteY20" fmla="*/ 808502 h 808502"/>
                <a:gd name="connsiteX21" fmla="*/ 8562682 w 11084378"/>
                <a:gd name="connsiteY21" fmla="*/ 808502 h 808502"/>
                <a:gd name="connsiteX22" fmla="*/ 7980752 w 11084378"/>
                <a:gd name="connsiteY22" fmla="*/ 808502 h 808502"/>
                <a:gd name="connsiteX23" fmla="*/ 7177135 w 11084378"/>
                <a:gd name="connsiteY23" fmla="*/ 808502 h 808502"/>
                <a:gd name="connsiteX24" fmla="*/ 6816892 w 11084378"/>
                <a:gd name="connsiteY24" fmla="*/ 808502 h 808502"/>
                <a:gd name="connsiteX25" fmla="*/ 6013275 w 11084378"/>
                <a:gd name="connsiteY25" fmla="*/ 808502 h 808502"/>
                <a:gd name="connsiteX26" fmla="*/ 5320501 w 11084378"/>
                <a:gd name="connsiteY26" fmla="*/ 808502 h 808502"/>
                <a:gd name="connsiteX27" fmla="*/ 4738572 w 11084378"/>
                <a:gd name="connsiteY27" fmla="*/ 808502 h 808502"/>
                <a:gd name="connsiteX28" fmla="*/ 4267486 w 11084378"/>
                <a:gd name="connsiteY28" fmla="*/ 808502 h 808502"/>
                <a:gd name="connsiteX29" fmla="*/ 3574712 w 11084378"/>
                <a:gd name="connsiteY29" fmla="*/ 808502 h 808502"/>
                <a:gd name="connsiteX30" fmla="*/ 3103626 w 11084378"/>
                <a:gd name="connsiteY30" fmla="*/ 808502 h 808502"/>
                <a:gd name="connsiteX31" fmla="*/ 2189165 w 11084378"/>
                <a:gd name="connsiteY31" fmla="*/ 808502 h 808502"/>
                <a:gd name="connsiteX32" fmla="*/ 1385547 w 11084378"/>
                <a:gd name="connsiteY32" fmla="*/ 808502 h 808502"/>
                <a:gd name="connsiteX33" fmla="*/ 803617 w 11084378"/>
                <a:gd name="connsiteY33" fmla="*/ 808502 h 808502"/>
                <a:gd name="connsiteX34" fmla="*/ 0 w 11084378"/>
                <a:gd name="connsiteY34" fmla="*/ 808502 h 808502"/>
                <a:gd name="connsiteX35" fmla="*/ 0 w 11084378"/>
                <a:gd name="connsiteY35" fmla="*/ 428506 h 808502"/>
                <a:gd name="connsiteX36" fmla="*/ 0 w 11084378"/>
                <a:gd name="connsiteY36" fmla="*/ 0 h 80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084378" h="808502" extrusionOk="0">
                  <a:moveTo>
                    <a:pt x="0" y="0"/>
                  </a:moveTo>
                  <a:cubicBezTo>
                    <a:pt x="232030" y="26219"/>
                    <a:pt x="525479" y="-16688"/>
                    <a:pt x="914461" y="0"/>
                  </a:cubicBezTo>
                  <a:cubicBezTo>
                    <a:pt x="1303443" y="16688"/>
                    <a:pt x="1529988" y="26367"/>
                    <a:pt x="1718079" y="0"/>
                  </a:cubicBezTo>
                  <a:cubicBezTo>
                    <a:pt x="1906170" y="-26367"/>
                    <a:pt x="2144247" y="-3544"/>
                    <a:pt x="2410852" y="0"/>
                  </a:cubicBezTo>
                  <a:cubicBezTo>
                    <a:pt x="2677457" y="3544"/>
                    <a:pt x="2812632" y="-23632"/>
                    <a:pt x="2992782" y="0"/>
                  </a:cubicBezTo>
                  <a:cubicBezTo>
                    <a:pt x="3172932" y="23632"/>
                    <a:pt x="3402250" y="36790"/>
                    <a:pt x="3796399" y="0"/>
                  </a:cubicBezTo>
                  <a:cubicBezTo>
                    <a:pt x="4190548" y="-36790"/>
                    <a:pt x="4120592" y="16517"/>
                    <a:pt x="4267486" y="0"/>
                  </a:cubicBezTo>
                  <a:cubicBezTo>
                    <a:pt x="4414380" y="-16517"/>
                    <a:pt x="4794384" y="-40173"/>
                    <a:pt x="5071103" y="0"/>
                  </a:cubicBezTo>
                  <a:cubicBezTo>
                    <a:pt x="5347822" y="40173"/>
                    <a:pt x="5348459" y="21303"/>
                    <a:pt x="5542189" y="0"/>
                  </a:cubicBezTo>
                  <a:cubicBezTo>
                    <a:pt x="5735919" y="-21303"/>
                    <a:pt x="5836385" y="-7746"/>
                    <a:pt x="6013275" y="0"/>
                  </a:cubicBezTo>
                  <a:cubicBezTo>
                    <a:pt x="6190165" y="7746"/>
                    <a:pt x="6652492" y="397"/>
                    <a:pt x="6927736" y="0"/>
                  </a:cubicBezTo>
                  <a:cubicBezTo>
                    <a:pt x="7202980" y="-397"/>
                    <a:pt x="7363016" y="-10291"/>
                    <a:pt x="7620510" y="0"/>
                  </a:cubicBezTo>
                  <a:cubicBezTo>
                    <a:pt x="7878004" y="10291"/>
                    <a:pt x="8225202" y="-43589"/>
                    <a:pt x="8534971" y="0"/>
                  </a:cubicBezTo>
                  <a:cubicBezTo>
                    <a:pt x="8844740" y="43589"/>
                    <a:pt x="9049010" y="-27275"/>
                    <a:pt x="9227745" y="0"/>
                  </a:cubicBezTo>
                  <a:cubicBezTo>
                    <a:pt x="9406480" y="27275"/>
                    <a:pt x="9509709" y="7953"/>
                    <a:pt x="9698831" y="0"/>
                  </a:cubicBezTo>
                  <a:cubicBezTo>
                    <a:pt x="9887953" y="-7953"/>
                    <a:pt x="10046000" y="12946"/>
                    <a:pt x="10391604" y="0"/>
                  </a:cubicBezTo>
                  <a:cubicBezTo>
                    <a:pt x="10737208" y="-12946"/>
                    <a:pt x="10912451" y="-11184"/>
                    <a:pt x="11084378" y="0"/>
                  </a:cubicBezTo>
                  <a:cubicBezTo>
                    <a:pt x="11076452" y="104126"/>
                    <a:pt x="11067388" y="230127"/>
                    <a:pt x="11084378" y="396166"/>
                  </a:cubicBezTo>
                  <a:cubicBezTo>
                    <a:pt x="11101368" y="562205"/>
                    <a:pt x="11071050" y="665719"/>
                    <a:pt x="11084378" y="808502"/>
                  </a:cubicBezTo>
                  <a:cubicBezTo>
                    <a:pt x="10818139" y="844195"/>
                    <a:pt x="10647897" y="778613"/>
                    <a:pt x="10280761" y="808502"/>
                  </a:cubicBezTo>
                  <a:cubicBezTo>
                    <a:pt x="9913625" y="838391"/>
                    <a:pt x="9719756" y="840516"/>
                    <a:pt x="9477143" y="808502"/>
                  </a:cubicBezTo>
                  <a:cubicBezTo>
                    <a:pt x="9234530" y="776488"/>
                    <a:pt x="8992709" y="803027"/>
                    <a:pt x="8562682" y="808502"/>
                  </a:cubicBezTo>
                  <a:cubicBezTo>
                    <a:pt x="8132655" y="813977"/>
                    <a:pt x="8157471" y="834492"/>
                    <a:pt x="7980752" y="808502"/>
                  </a:cubicBezTo>
                  <a:cubicBezTo>
                    <a:pt x="7804033" y="782513"/>
                    <a:pt x="7520686" y="822103"/>
                    <a:pt x="7177135" y="808502"/>
                  </a:cubicBezTo>
                  <a:cubicBezTo>
                    <a:pt x="6833584" y="794901"/>
                    <a:pt x="6968353" y="816911"/>
                    <a:pt x="6816892" y="808502"/>
                  </a:cubicBezTo>
                  <a:cubicBezTo>
                    <a:pt x="6665431" y="800093"/>
                    <a:pt x="6337466" y="799340"/>
                    <a:pt x="6013275" y="808502"/>
                  </a:cubicBezTo>
                  <a:cubicBezTo>
                    <a:pt x="5689084" y="817664"/>
                    <a:pt x="5619683" y="815343"/>
                    <a:pt x="5320501" y="808502"/>
                  </a:cubicBezTo>
                  <a:cubicBezTo>
                    <a:pt x="5021319" y="801661"/>
                    <a:pt x="5029173" y="831098"/>
                    <a:pt x="4738572" y="808502"/>
                  </a:cubicBezTo>
                  <a:cubicBezTo>
                    <a:pt x="4447971" y="785906"/>
                    <a:pt x="4388707" y="830412"/>
                    <a:pt x="4267486" y="808502"/>
                  </a:cubicBezTo>
                  <a:cubicBezTo>
                    <a:pt x="4146265" y="786592"/>
                    <a:pt x="3796360" y="836512"/>
                    <a:pt x="3574712" y="808502"/>
                  </a:cubicBezTo>
                  <a:cubicBezTo>
                    <a:pt x="3353064" y="780492"/>
                    <a:pt x="3264956" y="802666"/>
                    <a:pt x="3103626" y="808502"/>
                  </a:cubicBezTo>
                  <a:cubicBezTo>
                    <a:pt x="2942296" y="814338"/>
                    <a:pt x="2383507" y="796735"/>
                    <a:pt x="2189165" y="808502"/>
                  </a:cubicBezTo>
                  <a:cubicBezTo>
                    <a:pt x="1994823" y="820269"/>
                    <a:pt x="1587248" y="813112"/>
                    <a:pt x="1385547" y="808502"/>
                  </a:cubicBezTo>
                  <a:cubicBezTo>
                    <a:pt x="1183846" y="803892"/>
                    <a:pt x="1040972" y="827426"/>
                    <a:pt x="803617" y="808502"/>
                  </a:cubicBezTo>
                  <a:cubicBezTo>
                    <a:pt x="566262" y="789579"/>
                    <a:pt x="305177" y="771809"/>
                    <a:pt x="0" y="808502"/>
                  </a:cubicBezTo>
                  <a:cubicBezTo>
                    <a:pt x="-315" y="660470"/>
                    <a:pt x="249" y="612846"/>
                    <a:pt x="0" y="428506"/>
                  </a:cubicBezTo>
                  <a:cubicBezTo>
                    <a:pt x="-249" y="244166"/>
                    <a:pt x="14802" y="108269"/>
                    <a:pt x="0" y="0"/>
                  </a:cubicBezTo>
                  <a:close/>
                </a:path>
              </a:pathLst>
            </a:custGeom>
            <a:noFill/>
            <a:ln w="28575">
              <a:solidFill>
                <a:schemeClr val="accent2"/>
              </a:solidFill>
              <a:extLst>
                <a:ext uri="{C807C97D-BFC1-408E-A445-0C87EB9F89A2}">
                  <ask:lineSketchStyleProps xmlns:ask="http://schemas.microsoft.com/office/drawing/2018/sketchyshapes" sd="1077043750">
                    <a:prstGeom prst="rect">
                      <a:avLst/>
                    </a:prstGeom>
                    <ask:type>
                      <ask:lineSketchFreehand/>
                    </ask:type>
                  </ask:lineSketchStyleProps>
                </a:ext>
              </a:extLst>
            </a:ln>
          </p:spPr>
          <p:style>
            <a:lnRef idx="2">
              <a:schemeClr val="accent5"/>
            </a:lnRef>
            <a:fillRef idx="1">
              <a:schemeClr val="lt1"/>
            </a:fillRef>
            <a:effectRef idx="0">
              <a:schemeClr val="accent5"/>
            </a:effectRef>
            <a:fontRef idx="minor">
              <a:schemeClr val="dk1"/>
            </a:fontRef>
          </p:style>
          <p:txBody>
            <a:bodyPr wrap="square" lIns="0" tIns="0" rIns="0" bIns="0" rtlCol="0" anchor="ctr">
              <a:noAutofit/>
            </a:bodyPr>
            <a:lstStyle/>
            <a:p>
              <a:pPr algn="ctr"/>
              <a:r>
                <a:rPr lang="da-DK" sz="1600">
                  <a:latin typeface="Quicksand" panose="020B0604020202020204"/>
                  <a:cs typeface="Amatic SC" panose="00000500000000000000" pitchFamily="2" charset="-79"/>
                </a:rPr>
                <a:t>… undervisningen er </a:t>
              </a:r>
              <a:r>
                <a:rPr lang="da-DK" sz="1600" b="1">
                  <a:latin typeface="Quicksand" panose="020B0604020202020204"/>
                  <a:cs typeface="Amatic SC" panose="00000500000000000000" pitchFamily="2" charset="-79"/>
                </a:rPr>
                <a:t>varierende</a:t>
              </a:r>
              <a:r>
                <a:rPr lang="da-DK" sz="1600">
                  <a:latin typeface="Quicksand" panose="020B0604020202020204"/>
                  <a:cs typeface="Amatic SC" panose="00000500000000000000" pitchFamily="2" charset="-79"/>
                </a:rPr>
                <a:t> - både hvad angår indhold, rammer og aktiviteter</a:t>
              </a:r>
              <a:endParaRPr lang="da-DK" sz="1600" b="1">
                <a:solidFill>
                  <a:schemeClr val="tx1"/>
                </a:solidFill>
                <a:latin typeface="Quicksand" panose="020B0604020202020204"/>
                <a:cs typeface="Amatic SC" panose="00000500000000000000" pitchFamily="2" charset="-79"/>
              </a:endParaRPr>
            </a:p>
          </p:txBody>
        </p:sp>
        <p:sp>
          <p:nvSpPr>
            <p:cNvPr id="13" name="TextBox 12">
              <a:extLst>
                <a:ext uri="{FF2B5EF4-FFF2-40B4-BE49-F238E27FC236}">
                  <a16:creationId xmlns:a16="http://schemas.microsoft.com/office/drawing/2014/main" id="{23E0C259-8F03-B3D8-C97A-AF1DE30F68CB}"/>
                </a:ext>
              </a:extLst>
            </p:cNvPr>
            <p:cNvSpPr txBox="1"/>
            <p:nvPr/>
          </p:nvSpPr>
          <p:spPr>
            <a:xfrm>
              <a:off x="553811" y="1815870"/>
              <a:ext cx="878305" cy="436558"/>
            </a:xfrm>
            <a:prstGeom prst="rect">
              <a:avLst/>
            </a:prstGeom>
            <a:noFill/>
            <a:ln>
              <a:noFill/>
            </a:ln>
          </p:spPr>
          <p:txBody>
            <a:bodyPr wrap="square" lIns="0" tIns="0" rIns="0" bIns="0" rtlCol="0">
              <a:spAutoFit/>
            </a:bodyPr>
            <a:lstStyle/>
            <a:p>
              <a:pPr algn="ctr"/>
              <a:r>
                <a:rPr lang="da-DK" sz="2400" b="1">
                  <a:latin typeface="Quicksand" panose="020B0604020202020204"/>
                  <a:cs typeface="Amatic SC" panose="00000500000000000000" pitchFamily="2" charset="-79"/>
                </a:rPr>
                <a:t>1</a:t>
              </a:r>
              <a:endParaRPr lang="da-DK" sz="2000" b="1">
                <a:latin typeface="Quicksand" panose="020B0604020202020204"/>
                <a:cs typeface="Amatic SC" panose="00000500000000000000" pitchFamily="2" charset="-79"/>
              </a:endParaRPr>
            </a:p>
          </p:txBody>
        </p:sp>
      </p:grpSp>
      <p:grpSp>
        <p:nvGrpSpPr>
          <p:cNvPr id="14" name="Group 13">
            <a:extLst>
              <a:ext uri="{FF2B5EF4-FFF2-40B4-BE49-F238E27FC236}">
                <a16:creationId xmlns:a16="http://schemas.microsoft.com/office/drawing/2014/main" id="{A0FEC638-6C2A-7030-55F2-D320AD588C92}"/>
              </a:ext>
            </a:extLst>
          </p:cNvPr>
          <p:cNvGrpSpPr/>
          <p:nvPr/>
        </p:nvGrpSpPr>
        <p:grpSpPr>
          <a:xfrm>
            <a:off x="1314867" y="3317576"/>
            <a:ext cx="9584514" cy="684000"/>
            <a:chOff x="553811" y="1629898"/>
            <a:chExt cx="11084378" cy="808502"/>
          </a:xfrm>
        </p:grpSpPr>
        <p:sp>
          <p:nvSpPr>
            <p:cNvPr id="15" name="TextBox 14">
              <a:extLst>
                <a:ext uri="{FF2B5EF4-FFF2-40B4-BE49-F238E27FC236}">
                  <a16:creationId xmlns:a16="http://schemas.microsoft.com/office/drawing/2014/main" id="{C9B8B65E-0CA6-8DE4-6008-91ABB5FDB0AE}"/>
                </a:ext>
              </a:extLst>
            </p:cNvPr>
            <p:cNvSpPr txBox="1">
              <a:spLocks/>
            </p:cNvSpPr>
            <p:nvPr/>
          </p:nvSpPr>
          <p:spPr>
            <a:xfrm>
              <a:off x="553811" y="1629898"/>
              <a:ext cx="11084378" cy="808502"/>
            </a:xfrm>
            <a:custGeom>
              <a:avLst/>
              <a:gdLst>
                <a:gd name="connsiteX0" fmla="*/ 0 w 11084378"/>
                <a:gd name="connsiteY0" fmla="*/ 0 h 808502"/>
                <a:gd name="connsiteX1" fmla="*/ 914461 w 11084378"/>
                <a:gd name="connsiteY1" fmla="*/ 0 h 808502"/>
                <a:gd name="connsiteX2" fmla="*/ 1718079 w 11084378"/>
                <a:gd name="connsiteY2" fmla="*/ 0 h 808502"/>
                <a:gd name="connsiteX3" fmla="*/ 2410852 w 11084378"/>
                <a:gd name="connsiteY3" fmla="*/ 0 h 808502"/>
                <a:gd name="connsiteX4" fmla="*/ 2992782 w 11084378"/>
                <a:gd name="connsiteY4" fmla="*/ 0 h 808502"/>
                <a:gd name="connsiteX5" fmla="*/ 3796399 w 11084378"/>
                <a:gd name="connsiteY5" fmla="*/ 0 h 808502"/>
                <a:gd name="connsiteX6" fmla="*/ 4267486 w 11084378"/>
                <a:gd name="connsiteY6" fmla="*/ 0 h 808502"/>
                <a:gd name="connsiteX7" fmla="*/ 5071103 w 11084378"/>
                <a:gd name="connsiteY7" fmla="*/ 0 h 808502"/>
                <a:gd name="connsiteX8" fmla="*/ 5542189 w 11084378"/>
                <a:gd name="connsiteY8" fmla="*/ 0 h 808502"/>
                <a:gd name="connsiteX9" fmla="*/ 6013275 w 11084378"/>
                <a:gd name="connsiteY9" fmla="*/ 0 h 808502"/>
                <a:gd name="connsiteX10" fmla="*/ 6927736 w 11084378"/>
                <a:gd name="connsiteY10" fmla="*/ 0 h 808502"/>
                <a:gd name="connsiteX11" fmla="*/ 7620510 w 11084378"/>
                <a:gd name="connsiteY11" fmla="*/ 0 h 808502"/>
                <a:gd name="connsiteX12" fmla="*/ 8534971 w 11084378"/>
                <a:gd name="connsiteY12" fmla="*/ 0 h 808502"/>
                <a:gd name="connsiteX13" fmla="*/ 9227745 w 11084378"/>
                <a:gd name="connsiteY13" fmla="*/ 0 h 808502"/>
                <a:gd name="connsiteX14" fmla="*/ 9698831 w 11084378"/>
                <a:gd name="connsiteY14" fmla="*/ 0 h 808502"/>
                <a:gd name="connsiteX15" fmla="*/ 10391604 w 11084378"/>
                <a:gd name="connsiteY15" fmla="*/ 0 h 808502"/>
                <a:gd name="connsiteX16" fmla="*/ 11084378 w 11084378"/>
                <a:gd name="connsiteY16" fmla="*/ 0 h 808502"/>
                <a:gd name="connsiteX17" fmla="*/ 11084378 w 11084378"/>
                <a:gd name="connsiteY17" fmla="*/ 396166 h 808502"/>
                <a:gd name="connsiteX18" fmla="*/ 11084378 w 11084378"/>
                <a:gd name="connsiteY18" fmla="*/ 808502 h 808502"/>
                <a:gd name="connsiteX19" fmla="*/ 10280761 w 11084378"/>
                <a:gd name="connsiteY19" fmla="*/ 808502 h 808502"/>
                <a:gd name="connsiteX20" fmla="*/ 9477143 w 11084378"/>
                <a:gd name="connsiteY20" fmla="*/ 808502 h 808502"/>
                <a:gd name="connsiteX21" fmla="*/ 8562682 w 11084378"/>
                <a:gd name="connsiteY21" fmla="*/ 808502 h 808502"/>
                <a:gd name="connsiteX22" fmla="*/ 7980752 w 11084378"/>
                <a:gd name="connsiteY22" fmla="*/ 808502 h 808502"/>
                <a:gd name="connsiteX23" fmla="*/ 7177135 w 11084378"/>
                <a:gd name="connsiteY23" fmla="*/ 808502 h 808502"/>
                <a:gd name="connsiteX24" fmla="*/ 6816892 w 11084378"/>
                <a:gd name="connsiteY24" fmla="*/ 808502 h 808502"/>
                <a:gd name="connsiteX25" fmla="*/ 6013275 w 11084378"/>
                <a:gd name="connsiteY25" fmla="*/ 808502 h 808502"/>
                <a:gd name="connsiteX26" fmla="*/ 5320501 w 11084378"/>
                <a:gd name="connsiteY26" fmla="*/ 808502 h 808502"/>
                <a:gd name="connsiteX27" fmla="*/ 4738572 w 11084378"/>
                <a:gd name="connsiteY27" fmla="*/ 808502 h 808502"/>
                <a:gd name="connsiteX28" fmla="*/ 4267486 w 11084378"/>
                <a:gd name="connsiteY28" fmla="*/ 808502 h 808502"/>
                <a:gd name="connsiteX29" fmla="*/ 3574712 w 11084378"/>
                <a:gd name="connsiteY29" fmla="*/ 808502 h 808502"/>
                <a:gd name="connsiteX30" fmla="*/ 3103626 w 11084378"/>
                <a:gd name="connsiteY30" fmla="*/ 808502 h 808502"/>
                <a:gd name="connsiteX31" fmla="*/ 2189165 w 11084378"/>
                <a:gd name="connsiteY31" fmla="*/ 808502 h 808502"/>
                <a:gd name="connsiteX32" fmla="*/ 1385547 w 11084378"/>
                <a:gd name="connsiteY32" fmla="*/ 808502 h 808502"/>
                <a:gd name="connsiteX33" fmla="*/ 803617 w 11084378"/>
                <a:gd name="connsiteY33" fmla="*/ 808502 h 808502"/>
                <a:gd name="connsiteX34" fmla="*/ 0 w 11084378"/>
                <a:gd name="connsiteY34" fmla="*/ 808502 h 808502"/>
                <a:gd name="connsiteX35" fmla="*/ 0 w 11084378"/>
                <a:gd name="connsiteY35" fmla="*/ 428506 h 808502"/>
                <a:gd name="connsiteX36" fmla="*/ 0 w 11084378"/>
                <a:gd name="connsiteY36" fmla="*/ 0 h 80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084378" h="808502" extrusionOk="0">
                  <a:moveTo>
                    <a:pt x="0" y="0"/>
                  </a:moveTo>
                  <a:cubicBezTo>
                    <a:pt x="232030" y="26219"/>
                    <a:pt x="525479" y="-16688"/>
                    <a:pt x="914461" y="0"/>
                  </a:cubicBezTo>
                  <a:cubicBezTo>
                    <a:pt x="1303443" y="16688"/>
                    <a:pt x="1529988" y="26367"/>
                    <a:pt x="1718079" y="0"/>
                  </a:cubicBezTo>
                  <a:cubicBezTo>
                    <a:pt x="1906170" y="-26367"/>
                    <a:pt x="2144247" y="-3544"/>
                    <a:pt x="2410852" y="0"/>
                  </a:cubicBezTo>
                  <a:cubicBezTo>
                    <a:pt x="2677457" y="3544"/>
                    <a:pt x="2812632" y="-23632"/>
                    <a:pt x="2992782" y="0"/>
                  </a:cubicBezTo>
                  <a:cubicBezTo>
                    <a:pt x="3172932" y="23632"/>
                    <a:pt x="3402250" y="36790"/>
                    <a:pt x="3796399" y="0"/>
                  </a:cubicBezTo>
                  <a:cubicBezTo>
                    <a:pt x="4190548" y="-36790"/>
                    <a:pt x="4120592" y="16517"/>
                    <a:pt x="4267486" y="0"/>
                  </a:cubicBezTo>
                  <a:cubicBezTo>
                    <a:pt x="4414380" y="-16517"/>
                    <a:pt x="4794384" y="-40173"/>
                    <a:pt x="5071103" y="0"/>
                  </a:cubicBezTo>
                  <a:cubicBezTo>
                    <a:pt x="5347822" y="40173"/>
                    <a:pt x="5348459" y="21303"/>
                    <a:pt x="5542189" y="0"/>
                  </a:cubicBezTo>
                  <a:cubicBezTo>
                    <a:pt x="5735919" y="-21303"/>
                    <a:pt x="5836385" y="-7746"/>
                    <a:pt x="6013275" y="0"/>
                  </a:cubicBezTo>
                  <a:cubicBezTo>
                    <a:pt x="6190165" y="7746"/>
                    <a:pt x="6652492" y="397"/>
                    <a:pt x="6927736" y="0"/>
                  </a:cubicBezTo>
                  <a:cubicBezTo>
                    <a:pt x="7202980" y="-397"/>
                    <a:pt x="7363016" y="-10291"/>
                    <a:pt x="7620510" y="0"/>
                  </a:cubicBezTo>
                  <a:cubicBezTo>
                    <a:pt x="7878004" y="10291"/>
                    <a:pt x="8225202" y="-43589"/>
                    <a:pt x="8534971" y="0"/>
                  </a:cubicBezTo>
                  <a:cubicBezTo>
                    <a:pt x="8844740" y="43589"/>
                    <a:pt x="9049010" y="-27275"/>
                    <a:pt x="9227745" y="0"/>
                  </a:cubicBezTo>
                  <a:cubicBezTo>
                    <a:pt x="9406480" y="27275"/>
                    <a:pt x="9509709" y="7953"/>
                    <a:pt x="9698831" y="0"/>
                  </a:cubicBezTo>
                  <a:cubicBezTo>
                    <a:pt x="9887953" y="-7953"/>
                    <a:pt x="10046000" y="12946"/>
                    <a:pt x="10391604" y="0"/>
                  </a:cubicBezTo>
                  <a:cubicBezTo>
                    <a:pt x="10737208" y="-12946"/>
                    <a:pt x="10912451" y="-11184"/>
                    <a:pt x="11084378" y="0"/>
                  </a:cubicBezTo>
                  <a:cubicBezTo>
                    <a:pt x="11076452" y="104126"/>
                    <a:pt x="11067388" y="230127"/>
                    <a:pt x="11084378" y="396166"/>
                  </a:cubicBezTo>
                  <a:cubicBezTo>
                    <a:pt x="11101368" y="562205"/>
                    <a:pt x="11071050" y="665719"/>
                    <a:pt x="11084378" y="808502"/>
                  </a:cubicBezTo>
                  <a:cubicBezTo>
                    <a:pt x="10818139" y="844195"/>
                    <a:pt x="10647897" y="778613"/>
                    <a:pt x="10280761" y="808502"/>
                  </a:cubicBezTo>
                  <a:cubicBezTo>
                    <a:pt x="9913625" y="838391"/>
                    <a:pt x="9719756" y="840516"/>
                    <a:pt x="9477143" y="808502"/>
                  </a:cubicBezTo>
                  <a:cubicBezTo>
                    <a:pt x="9234530" y="776488"/>
                    <a:pt x="8992709" y="803027"/>
                    <a:pt x="8562682" y="808502"/>
                  </a:cubicBezTo>
                  <a:cubicBezTo>
                    <a:pt x="8132655" y="813977"/>
                    <a:pt x="8157471" y="834492"/>
                    <a:pt x="7980752" y="808502"/>
                  </a:cubicBezTo>
                  <a:cubicBezTo>
                    <a:pt x="7804033" y="782513"/>
                    <a:pt x="7520686" y="822103"/>
                    <a:pt x="7177135" y="808502"/>
                  </a:cubicBezTo>
                  <a:cubicBezTo>
                    <a:pt x="6833584" y="794901"/>
                    <a:pt x="6968353" y="816911"/>
                    <a:pt x="6816892" y="808502"/>
                  </a:cubicBezTo>
                  <a:cubicBezTo>
                    <a:pt x="6665431" y="800093"/>
                    <a:pt x="6337466" y="799340"/>
                    <a:pt x="6013275" y="808502"/>
                  </a:cubicBezTo>
                  <a:cubicBezTo>
                    <a:pt x="5689084" y="817664"/>
                    <a:pt x="5619683" y="815343"/>
                    <a:pt x="5320501" y="808502"/>
                  </a:cubicBezTo>
                  <a:cubicBezTo>
                    <a:pt x="5021319" y="801661"/>
                    <a:pt x="5029173" y="831098"/>
                    <a:pt x="4738572" y="808502"/>
                  </a:cubicBezTo>
                  <a:cubicBezTo>
                    <a:pt x="4447971" y="785906"/>
                    <a:pt x="4388707" y="830412"/>
                    <a:pt x="4267486" y="808502"/>
                  </a:cubicBezTo>
                  <a:cubicBezTo>
                    <a:pt x="4146265" y="786592"/>
                    <a:pt x="3796360" y="836512"/>
                    <a:pt x="3574712" y="808502"/>
                  </a:cubicBezTo>
                  <a:cubicBezTo>
                    <a:pt x="3353064" y="780492"/>
                    <a:pt x="3264956" y="802666"/>
                    <a:pt x="3103626" y="808502"/>
                  </a:cubicBezTo>
                  <a:cubicBezTo>
                    <a:pt x="2942296" y="814338"/>
                    <a:pt x="2383507" y="796735"/>
                    <a:pt x="2189165" y="808502"/>
                  </a:cubicBezTo>
                  <a:cubicBezTo>
                    <a:pt x="1994823" y="820269"/>
                    <a:pt x="1587248" y="813112"/>
                    <a:pt x="1385547" y="808502"/>
                  </a:cubicBezTo>
                  <a:cubicBezTo>
                    <a:pt x="1183846" y="803892"/>
                    <a:pt x="1040972" y="827426"/>
                    <a:pt x="803617" y="808502"/>
                  </a:cubicBezTo>
                  <a:cubicBezTo>
                    <a:pt x="566262" y="789579"/>
                    <a:pt x="305177" y="771809"/>
                    <a:pt x="0" y="808502"/>
                  </a:cubicBezTo>
                  <a:cubicBezTo>
                    <a:pt x="-315" y="660470"/>
                    <a:pt x="249" y="612846"/>
                    <a:pt x="0" y="428506"/>
                  </a:cubicBezTo>
                  <a:cubicBezTo>
                    <a:pt x="-249" y="244166"/>
                    <a:pt x="14802" y="108269"/>
                    <a:pt x="0" y="0"/>
                  </a:cubicBezTo>
                  <a:close/>
                </a:path>
              </a:pathLst>
            </a:custGeom>
            <a:noFill/>
            <a:ln w="28575">
              <a:solidFill>
                <a:schemeClr val="accent2"/>
              </a:solidFill>
              <a:extLst>
                <a:ext uri="{C807C97D-BFC1-408E-A445-0C87EB9F89A2}">
                  <ask:lineSketchStyleProps xmlns:ask="http://schemas.microsoft.com/office/drawing/2018/sketchyshapes" sd="1077043750">
                    <a:prstGeom prst="rect">
                      <a:avLst/>
                    </a:prstGeom>
                    <ask:type>
                      <ask:lineSketchFreehand/>
                    </ask:type>
                  </ask:lineSketchStyleProps>
                </a:ext>
              </a:extLst>
            </a:ln>
          </p:spPr>
          <p:style>
            <a:lnRef idx="2">
              <a:schemeClr val="accent5"/>
            </a:lnRef>
            <a:fillRef idx="1">
              <a:schemeClr val="lt1"/>
            </a:fillRef>
            <a:effectRef idx="0">
              <a:schemeClr val="accent5"/>
            </a:effectRef>
            <a:fontRef idx="minor">
              <a:schemeClr val="dk1"/>
            </a:fontRef>
          </p:style>
          <p:txBody>
            <a:bodyPr wrap="square" lIns="0" tIns="0" rIns="0" bIns="0" rtlCol="0" anchor="ctr">
              <a:noAutofit/>
            </a:bodyPr>
            <a:lstStyle/>
            <a:p>
              <a:pPr algn="ctr"/>
              <a:r>
                <a:rPr lang="da-DK" sz="1600">
                  <a:latin typeface="Quicksand" panose="020B0604020202020204"/>
                  <a:cs typeface="Amatic SC" panose="00000500000000000000" pitchFamily="2" charset="-79"/>
                </a:rPr>
                <a:t>… undervisningen er </a:t>
              </a:r>
              <a:r>
                <a:rPr lang="da-DK" sz="1600" b="1">
                  <a:latin typeface="Quicksand" panose="020B0604020202020204"/>
                  <a:cs typeface="Amatic SC" panose="00000500000000000000" pitchFamily="2" charset="-79"/>
                </a:rPr>
                <a:t>differentieret</a:t>
              </a:r>
              <a:r>
                <a:rPr lang="da-DK" sz="1600">
                  <a:latin typeface="Quicksand" panose="020B0604020202020204"/>
                  <a:cs typeface="Amatic SC" panose="00000500000000000000" pitchFamily="2" charset="-79"/>
                </a:rPr>
                <a:t> – fx i form af undervisningsmaterialer, opgaver og tempo</a:t>
              </a:r>
              <a:endParaRPr lang="da-DK" sz="1600" b="1">
                <a:solidFill>
                  <a:schemeClr val="tx1"/>
                </a:solidFill>
                <a:latin typeface="Quicksand" panose="020B0604020202020204"/>
                <a:cs typeface="Amatic SC" panose="00000500000000000000" pitchFamily="2" charset="-79"/>
              </a:endParaRPr>
            </a:p>
          </p:txBody>
        </p:sp>
        <p:sp>
          <p:nvSpPr>
            <p:cNvPr id="16" name="TextBox 15">
              <a:extLst>
                <a:ext uri="{FF2B5EF4-FFF2-40B4-BE49-F238E27FC236}">
                  <a16:creationId xmlns:a16="http://schemas.microsoft.com/office/drawing/2014/main" id="{77314B0F-30E8-5EE1-E614-42F11AAFB3DA}"/>
                </a:ext>
              </a:extLst>
            </p:cNvPr>
            <p:cNvSpPr txBox="1"/>
            <p:nvPr/>
          </p:nvSpPr>
          <p:spPr>
            <a:xfrm>
              <a:off x="553811" y="1811298"/>
              <a:ext cx="878305" cy="436558"/>
            </a:xfrm>
            <a:prstGeom prst="rect">
              <a:avLst/>
            </a:prstGeom>
            <a:noFill/>
            <a:ln>
              <a:noFill/>
            </a:ln>
          </p:spPr>
          <p:txBody>
            <a:bodyPr wrap="square" lIns="0" tIns="0" rIns="0" bIns="0" rtlCol="0">
              <a:spAutoFit/>
            </a:bodyPr>
            <a:lstStyle/>
            <a:p>
              <a:pPr algn="ctr"/>
              <a:r>
                <a:rPr lang="da-DK" sz="2400" b="1">
                  <a:latin typeface="Quicksand" panose="020B0604020202020204"/>
                  <a:cs typeface="Amatic SC" panose="00000500000000000000" pitchFamily="2" charset="-79"/>
                </a:rPr>
                <a:t>2</a:t>
              </a:r>
              <a:endParaRPr lang="da-DK" sz="2000" b="1">
                <a:latin typeface="Quicksand" panose="020B0604020202020204"/>
                <a:cs typeface="Amatic SC" panose="00000500000000000000" pitchFamily="2" charset="-79"/>
              </a:endParaRPr>
            </a:p>
          </p:txBody>
        </p:sp>
      </p:grpSp>
      <p:grpSp>
        <p:nvGrpSpPr>
          <p:cNvPr id="21" name="Group 20">
            <a:extLst>
              <a:ext uri="{FF2B5EF4-FFF2-40B4-BE49-F238E27FC236}">
                <a16:creationId xmlns:a16="http://schemas.microsoft.com/office/drawing/2014/main" id="{6ECED587-760E-74FC-73FC-B0F86AAAB89D}"/>
              </a:ext>
            </a:extLst>
          </p:cNvPr>
          <p:cNvGrpSpPr/>
          <p:nvPr/>
        </p:nvGrpSpPr>
        <p:grpSpPr>
          <a:xfrm>
            <a:off x="1314867" y="4237359"/>
            <a:ext cx="9584514" cy="684000"/>
            <a:chOff x="553811" y="1629898"/>
            <a:chExt cx="11084378" cy="808502"/>
          </a:xfrm>
        </p:grpSpPr>
        <p:sp>
          <p:nvSpPr>
            <p:cNvPr id="22" name="TextBox 21">
              <a:extLst>
                <a:ext uri="{FF2B5EF4-FFF2-40B4-BE49-F238E27FC236}">
                  <a16:creationId xmlns:a16="http://schemas.microsoft.com/office/drawing/2014/main" id="{3F8F10FF-8AD4-EAA5-0173-4AF4EF2406FE}"/>
                </a:ext>
              </a:extLst>
            </p:cNvPr>
            <p:cNvSpPr txBox="1">
              <a:spLocks/>
            </p:cNvSpPr>
            <p:nvPr/>
          </p:nvSpPr>
          <p:spPr>
            <a:xfrm>
              <a:off x="553811" y="1629898"/>
              <a:ext cx="11084378" cy="808502"/>
            </a:xfrm>
            <a:custGeom>
              <a:avLst/>
              <a:gdLst>
                <a:gd name="connsiteX0" fmla="*/ 0 w 11084378"/>
                <a:gd name="connsiteY0" fmla="*/ 0 h 808502"/>
                <a:gd name="connsiteX1" fmla="*/ 914461 w 11084378"/>
                <a:gd name="connsiteY1" fmla="*/ 0 h 808502"/>
                <a:gd name="connsiteX2" fmla="*/ 1718079 w 11084378"/>
                <a:gd name="connsiteY2" fmla="*/ 0 h 808502"/>
                <a:gd name="connsiteX3" fmla="*/ 2410852 w 11084378"/>
                <a:gd name="connsiteY3" fmla="*/ 0 h 808502"/>
                <a:gd name="connsiteX4" fmla="*/ 2992782 w 11084378"/>
                <a:gd name="connsiteY4" fmla="*/ 0 h 808502"/>
                <a:gd name="connsiteX5" fmla="*/ 3796399 w 11084378"/>
                <a:gd name="connsiteY5" fmla="*/ 0 h 808502"/>
                <a:gd name="connsiteX6" fmla="*/ 4267486 w 11084378"/>
                <a:gd name="connsiteY6" fmla="*/ 0 h 808502"/>
                <a:gd name="connsiteX7" fmla="*/ 5071103 w 11084378"/>
                <a:gd name="connsiteY7" fmla="*/ 0 h 808502"/>
                <a:gd name="connsiteX8" fmla="*/ 5542189 w 11084378"/>
                <a:gd name="connsiteY8" fmla="*/ 0 h 808502"/>
                <a:gd name="connsiteX9" fmla="*/ 6013275 w 11084378"/>
                <a:gd name="connsiteY9" fmla="*/ 0 h 808502"/>
                <a:gd name="connsiteX10" fmla="*/ 6927736 w 11084378"/>
                <a:gd name="connsiteY10" fmla="*/ 0 h 808502"/>
                <a:gd name="connsiteX11" fmla="*/ 7620510 w 11084378"/>
                <a:gd name="connsiteY11" fmla="*/ 0 h 808502"/>
                <a:gd name="connsiteX12" fmla="*/ 8534971 w 11084378"/>
                <a:gd name="connsiteY12" fmla="*/ 0 h 808502"/>
                <a:gd name="connsiteX13" fmla="*/ 9227745 w 11084378"/>
                <a:gd name="connsiteY13" fmla="*/ 0 h 808502"/>
                <a:gd name="connsiteX14" fmla="*/ 9698831 w 11084378"/>
                <a:gd name="connsiteY14" fmla="*/ 0 h 808502"/>
                <a:gd name="connsiteX15" fmla="*/ 10391604 w 11084378"/>
                <a:gd name="connsiteY15" fmla="*/ 0 h 808502"/>
                <a:gd name="connsiteX16" fmla="*/ 11084378 w 11084378"/>
                <a:gd name="connsiteY16" fmla="*/ 0 h 808502"/>
                <a:gd name="connsiteX17" fmla="*/ 11084378 w 11084378"/>
                <a:gd name="connsiteY17" fmla="*/ 396166 h 808502"/>
                <a:gd name="connsiteX18" fmla="*/ 11084378 w 11084378"/>
                <a:gd name="connsiteY18" fmla="*/ 808502 h 808502"/>
                <a:gd name="connsiteX19" fmla="*/ 10280761 w 11084378"/>
                <a:gd name="connsiteY19" fmla="*/ 808502 h 808502"/>
                <a:gd name="connsiteX20" fmla="*/ 9477143 w 11084378"/>
                <a:gd name="connsiteY20" fmla="*/ 808502 h 808502"/>
                <a:gd name="connsiteX21" fmla="*/ 8562682 w 11084378"/>
                <a:gd name="connsiteY21" fmla="*/ 808502 h 808502"/>
                <a:gd name="connsiteX22" fmla="*/ 7980752 w 11084378"/>
                <a:gd name="connsiteY22" fmla="*/ 808502 h 808502"/>
                <a:gd name="connsiteX23" fmla="*/ 7177135 w 11084378"/>
                <a:gd name="connsiteY23" fmla="*/ 808502 h 808502"/>
                <a:gd name="connsiteX24" fmla="*/ 6816892 w 11084378"/>
                <a:gd name="connsiteY24" fmla="*/ 808502 h 808502"/>
                <a:gd name="connsiteX25" fmla="*/ 6013275 w 11084378"/>
                <a:gd name="connsiteY25" fmla="*/ 808502 h 808502"/>
                <a:gd name="connsiteX26" fmla="*/ 5320501 w 11084378"/>
                <a:gd name="connsiteY26" fmla="*/ 808502 h 808502"/>
                <a:gd name="connsiteX27" fmla="*/ 4738572 w 11084378"/>
                <a:gd name="connsiteY27" fmla="*/ 808502 h 808502"/>
                <a:gd name="connsiteX28" fmla="*/ 4267486 w 11084378"/>
                <a:gd name="connsiteY28" fmla="*/ 808502 h 808502"/>
                <a:gd name="connsiteX29" fmla="*/ 3574712 w 11084378"/>
                <a:gd name="connsiteY29" fmla="*/ 808502 h 808502"/>
                <a:gd name="connsiteX30" fmla="*/ 3103626 w 11084378"/>
                <a:gd name="connsiteY30" fmla="*/ 808502 h 808502"/>
                <a:gd name="connsiteX31" fmla="*/ 2189165 w 11084378"/>
                <a:gd name="connsiteY31" fmla="*/ 808502 h 808502"/>
                <a:gd name="connsiteX32" fmla="*/ 1385547 w 11084378"/>
                <a:gd name="connsiteY32" fmla="*/ 808502 h 808502"/>
                <a:gd name="connsiteX33" fmla="*/ 803617 w 11084378"/>
                <a:gd name="connsiteY33" fmla="*/ 808502 h 808502"/>
                <a:gd name="connsiteX34" fmla="*/ 0 w 11084378"/>
                <a:gd name="connsiteY34" fmla="*/ 808502 h 808502"/>
                <a:gd name="connsiteX35" fmla="*/ 0 w 11084378"/>
                <a:gd name="connsiteY35" fmla="*/ 428506 h 808502"/>
                <a:gd name="connsiteX36" fmla="*/ 0 w 11084378"/>
                <a:gd name="connsiteY36" fmla="*/ 0 h 80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084378" h="808502" extrusionOk="0">
                  <a:moveTo>
                    <a:pt x="0" y="0"/>
                  </a:moveTo>
                  <a:cubicBezTo>
                    <a:pt x="232030" y="26219"/>
                    <a:pt x="525479" y="-16688"/>
                    <a:pt x="914461" y="0"/>
                  </a:cubicBezTo>
                  <a:cubicBezTo>
                    <a:pt x="1303443" y="16688"/>
                    <a:pt x="1529988" y="26367"/>
                    <a:pt x="1718079" y="0"/>
                  </a:cubicBezTo>
                  <a:cubicBezTo>
                    <a:pt x="1906170" y="-26367"/>
                    <a:pt x="2144247" y="-3544"/>
                    <a:pt x="2410852" y="0"/>
                  </a:cubicBezTo>
                  <a:cubicBezTo>
                    <a:pt x="2677457" y="3544"/>
                    <a:pt x="2812632" y="-23632"/>
                    <a:pt x="2992782" y="0"/>
                  </a:cubicBezTo>
                  <a:cubicBezTo>
                    <a:pt x="3172932" y="23632"/>
                    <a:pt x="3402250" y="36790"/>
                    <a:pt x="3796399" y="0"/>
                  </a:cubicBezTo>
                  <a:cubicBezTo>
                    <a:pt x="4190548" y="-36790"/>
                    <a:pt x="4120592" y="16517"/>
                    <a:pt x="4267486" y="0"/>
                  </a:cubicBezTo>
                  <a:cubicBezTo>
                    <a:pt x="4414380" y="-16517"/>
                    <a:pt x="4794384" y="-40173"/>
                    <a:pt x="5071103" y="0"/>
                  </a:cubicBezTo>
                  <a:cubicBezTo>
                    <a:pt x="5347822" y="40173"/>
                    <a:pt x="5348459" y="21303"/>
                    <a:pt x="5542189" y="0"/>
                  </a:cubicBezTo>
                  <a:cubicBezTo>
                    <a:pt x="5735919" y="-21303"/>
                    <a:pt x="5836385" y="-7746"/>
                    <a:pt x="6013275" y="0"/>
                  </a:cubicBezTo>
                  <a:cubicBezTo>
                    <a:pt x="6190165" y="7746"/>
                    <a:pt x="6652492" y="397"/>
                    <a:pt x="6927736" y="0"/>
                  </a:cubicBezTo>
                  <a:cubicBezTo>
                    <a:pt x="7202980" y="-397"/>
                    <a:pt x="7363016" y="-10291"/>
                    <a:pt x="7620510" y="0"/>
                  </a:cubicBezTo>
                  <a:cubicBezTo>
                    <a:pt x="7878004" y="10291"/>
                    <a:pt x="8225202" y="-43589"/>
                    <a:pt x="8534971" y="0"/>
                  </a:cubicBezTo>
                  <a:cubicBezTo>
                    <a:pt x="8844740" y="43589"/>
                    <a:pt x="9049010" y="-27275"/>
                    <a:pt x="9227745" y="0"/>
                  </a:cubicBezTo>
                  <a:cubicBezTo>
                    <a:pt x="9406480" y="27275"/>
                    <a:pt x="9509709" y="7953"/>
                    <a:pt x="9698831" y="0"/>
                  </a:cubicBezTo>
                  <a:cubicBezTo>
                    <a:pt x="9887953" y="-7953"/>
                    <a:pt x="10046000" y="12946"/>
                    <a:pt x="10391604" y="0"/>
                  </a:cubicBezTo>
                  <a:cubicBezTo>
                    <a:pt x="10737208" y="-12946"/>
                    <a:pt x="10912451" y="-11184"/>
                    <a:pt x="11084378" y="0"/>
                  </a:cubicBezTo>
                  <a:cubicBezTo>
                    <a:pt x="11076452" y="104126"/>
                    <a:pt x="11067388" y="230127"/>
                    <a:pt x="11084378" y="396166"/>
                  </a:cubicBezTo>
                  <a:cubicBezTo>
                    <a:pt x="11101368" y="562205"/>
                    <a:pt x="11071050" y="665719"/>
                    <a:pt x="11084378" y="808502"/>
                  </a:cubicBezTo>
                  <a:cubicBezTo>
                    <a:pt x="10818139" y="844195"/>
                    <a:pt x="10647897" y="778613"/>
                    <a:pt x="10280761" y="808502"/>
                  </a:cubicBezTo>
                  <a:cubicBezTo>
                    <a:pt x="9913625" y="838391"/>
                    <a:pt x="9719756" y="840516"/>
                    <a:pt x="9477143" y="808502"/>
                  </a:cubicBezTo>
                  <a:cubicBezTo>
                    <a:pt x="9234530" y="776488"/>
                    <a:pt x="8992709" y="803027"/>
                    <a:pt x="8562682" y="808502"/>
                  </a:cubicBezTo>
                  <a:cubicBezTo>
                    <a:pt x="8132655" y="813977"/>
                    <a:pt x="8157471" y="834492"/>
                    <a:pt x="7980752" y="808502"/>
                  </a:cubicBezTo>
                  <a:cubicBezTo>
                    <a:pt x="7804033" y="782513"/>
                    <a:pt x="7520686" y="822103"/>
                    <a:pt x="7177135" y="808502"/>
                  </a:cubicBezTo>
                  <a:cubicBezTo>
                    <a:pt x="6833584" y="794901"/>
                    <a:pt x="6968353" y="816911"/>
                    <a:pt x="6816892" y="808502"/>
                  </a:cubicBezTo>
                  <a:cubicBezTo>
                    <a:pt x="6665431" y="800093"/>
                    <a:pt x="6337466" y="799340"/>
                    <a:pt x="6013275" y="808502"/>
                  </a:cubicBezTo>
                  <a:cubicBezTo>
                    <a:pt x="5689084" y="817664"/>
                    <a:pt x="5619683" y="815343"/>
                    <a:pt x="5320501" y="808502"/>
                  </a:cubicBezTo>
                  <a:cubicBezTo>
                    <a:pt x="5021319" y="801661"/>
                    <a:pt x="5029173" y="831098"/>
                    <a:pt x="4738572" y="808502"/>
                  </a:cubicBezTo>
                  <a:cubicBezTo>
                    <a:pt x="4447971" y="785906"/>
                    <a:pt x="4388707" y="830412"/>
                    <a:pt x="4267486" y="808502"/>
                  </a:cubicBezTo>
                  <a:cubicBezTo>
                    <a:pt x="4146265" y="786592"/>
                    <a:pt x="3796360" y="836512"/>
                    <a:pt x="3574712" y="808502"/>
                  </a:cubicBezTo>
                  <a:cubicBezTo>
                    <a:pt x="3353064" y="780492"/>
                    <a:pt x="3264956" y="802666"/>
                    <a:pt x="3103626" y="808502"/>
                  </a:cubicBezTo>
                  <a:cubicBezTo>
                    <a:pt x="2942296" y="814338"/>
                    <a:pt x="2383507" y="796735"/>
                    <a:pt x="2189165" y="808502"/>
                  </a:cubicBezTo>
                  <a:cubicBezTo>
                    <a:pt x="1994823" y="820269"/>
                    <a:pt x="1587248" y="813112"/>
                    <a:pt x="1385547" y="808502"/>
                  </a:cubicBezTo>
                  <a:cubicBezTo>
                    <a:pt x="1183846" y="803892"/>
                    <a:pt x="1040972" y="827426"/>
                    <a:pt x="803617" y="808502"/>
                  </a:cubicBezTo>
                  <a:cubicBezTo>
                    <a:pt x="566262" y="789579"/>
                    <a:pt x="305177" y="771809"/>
                    <a:pt x="0" y="808502"/>
                  </a:cubicBezTo>
                  <a:cubicBezTo>
                    <a:pt x="-315" y="660470"/>
                    <a:pt x="249" y="612846"/>
                    <a:pt x="0" y="428506"/>
                  </a:cubicBezTo>
                  <a:cubicBezTo>
                    <a:pt x="-249" y="244166"/>
                    <a:pt x="14802" y="108269"/>
                    <a:pt x="0" y="0"/>
                  </a:cubicBezTo>
                  <a:close/>
                </a:path>
              </a:pathLst>
            </a:custGeom>
            <a:noFill/>
            <a:ln w="28575">
              <a:solidFill>
                <a:schemeClr val="accent2"/>
              </a:solidFill>
              <a:extLst>
                <a:ext uri="{C807C97D-BFC1-408E-A445-0C87EB9F89A2}">
                  <ask:lineSketchStyleProps xmlns:ask="http://schemas.microsoft.com/office/drawing/2018/sketchyshapes" sd="1077043750">
                    <a:prstGeom prst="rect">
                      <a:avLst/>
                    </a:prstGeom>
                    <ask:type>
                      <ask:lineSketchFreehand/>
                    </ask:type>
                  </ask:lineSketchStyleProps>
                </a:ext>
              </a:extLst>
            </a:ln>
          </p:spPr>
          <p:style>
            <a:lnRef idx="2">
              <a:schemeClr val="accent5"/>
            </a:lnRef>
            <a:fillRef idx="1">
              <a:schemeClr val="lt1"/>
            </a:fillRef>
            <a:effectRef idx="0">
              <a:schemeClr val="accent5"/>
            </a:effectRef>
            <a:fontRef idx="minor">
              <a:schemeClr val="dk1"/>
            </a:fontRef>
          </p:style>
          <p:txBody>
            <a:bodyPr wrap="square" lIns="0" tIns="0" rIns="0" bIns="0" rtlCol="0" anchor="ctr">
              <a:noAutofit/>
            </a:bodyPr>
            <a:lstStyle/>
            <a:p>
              <a:pPr algn="ctr"/>
              <a:r>
                <a:rPr lang="da-DK" sz="1600">
                  <a:latin typeface="Quicksand" panose="020B0604020202020204"/>
                  <a:cs typeface="Amatic SC" panose="00000500000000000000" pitchFamily="2" charset="-79"/>
                </a:rPr>
                <a:t>… eleverne aktivt </a:t>
              </a:r>
              <a:r>
                <a:rPr lang="da-DK" sz="1600" b="1">
                  <a:latin typeface="Quicksand" panose="020B0604020202020204"/>
                  <a:cs typeface="Amatic SC" panose="00000500000000000000" pitchFamily="2" charset="-79"/>
                </a:rPr>
                <a:t>inddrages</a:t>
              </a:r>
              <a:r>
                <a:rPr lang="da-DK" sz="1600">
                  <a:latin typeface="Quicksand" panose="020B0604020202020204"/>
                  <a:cs typeface="Amatic SC" panose="00000500000000000000" pitchFamily="2" charset="-79"/>
                </a:rPr>
                <a:t> </a:t>
              </a:r>
              <a:r>
                <a:rPr lang="da-DK" sz="1600" b="1">
                  <a:latin typeface="Quicksand" panose="020B0604020202020204"/>
                  <a:cs typeface="Amatic SC" panose="00000500000000000000" pitchFamily="2" charset="-79"/>
                </a:rPr>
                <a:t>og har medbestemmelse </a:t>
              </a:r>
              <a:r>
                <a:rPr lang="da-DK" sz="1600">
                  <a:latin typeface="Quicksand" panose="020B0604020202020204"/>
                  <a:cs typeface="Amatic SC" panose="00000500000000000000" pitchFamily="2" charset="-79"/>
                </a:rPr>
                <a:t>på fagligt og socialt indhold </a:t>
              </a:r>
              <a:endParaRPr lang="da-DK" sz="1600" b="1">
                <a:solidFill>
                  <a:schemeClr val="tx1"/>
                </a:solidFill>
                <a:latin typeface="Quicksand" panose="020B0604020202020204"/>
                <a:cs typeface="Amatic SC" panose="00000500000000000000" pitchFamily="2" charset="-79"/>
              </a:endParaRPr>
            </a:p>
          </p:txBody>
        </p:sp>
        <p:sp>
          <p:nvSpPr>
            <p:cNvPr id="23" name="TextBox 22">
              <a:extLst>
                <a:ext uri="{FF2B5EF4-FFF2-40B4-BE49-F238E27FC236}">
                  <a16:creationId xmlns:a16="http://schemas.microsoft.com/office/drawing/2014/main" id="{7503DAF7-E5EB-FC71-902B-34473E1EF0F1}"/>
                </a:ext>
              </a:extLst>
            </p:cNvPr>
            <p:cNvSpPr txBox="1"/>
            <p:nvPr/>
          </p:nvSpPr>
          <p:spPr>
            <a:xfrm>
              <a:off x="553811" y="1815870"/>
              <a:ext cx="878305" cy="436558"/>
            </a:xfrm>
            <a:prstGeom prst="rect">
              <a:avLst/>
            </a:prstGeom>
            <a:noFill/>
            <a:ln>
              <a:noFill/>
            </a:ln>
          </p:spPr>
          <p:txBody>
            <a:bodyPr wrap="square" lIns="0" tIns="0" rIns="0" bIns="0" rtlCol="0">
              <a:spAutoFit/>
            </a:bodyPr>
            <a:lstStyle/>
            <a:p>
              <a:pPr algn="ctr"/>
              <a:r>
                <a:rPr lang="da-DK" sz="2400" b="1">
                  <a:latin typeface="Quicksand" panose="020B0604020202020204"/>
                  <a:cs typeface="Amatic SC" panose="00000500000000000000" pitchFamily="2" charset="-79"/>
                </a:rPr>
                <a:t>3</a:t>
              </a:r>
            </a:p>
          </p:txBody>
        </p:sp>
      </p:grpSp>
      <p:grpSp>
        <p:nvGrpSpPr>
          <p:cNvPr id="24" name="Group 23">
            <a:extLst>
              <a:ext uri="{FF2B5EF4-FFF2-40B4-BE49-F238E27FC236}">
                <a16:creationId xmlns:a16="http://schemas.microsoft.com/office/drawing/2014/main" id="{C283C5DE-28A0-7AA6-0594-B5CD1F316B74}"/>
              </a:ext>
            </a:extLst>
          </p:cNvPr>
          <p:cNvGrpSpPr/>
          <p:nvPr/>
        </p:nvGrpSpPr>
        <p:grpSpPr>
          <a:xfrm>
            <a:off x="1314867" y="5158519"/>
            <a:ext cx="9584514" cy="684000"/>
            <a:chOff x="553811" y="1629898"/>
            <a:chExt cx="11084378" cy="808502"/>
          </a:xfrm>
        </p:grpSpPr>
        <p:sp>
          <p:nvSpPr>
            <p:cNvPr id="26" name="TextBox 25">
              <a:extLst>
                <a:ext uri="{FF2B5EF4-FFF2-40B4-BE49-F238E27FC236}">
                  <a16:creationId xmlns:a16="http://schemas.microsoft.com/office/drawing/2014/main" id="{C8CAC243-B9A4-A45A-EAA3-BF23E538C128}"/>
                </a:ext>
              </a:extLst>
            </p:cNvPr>
            <p:cNvSpPr txBox="1">
              <a:spLocks/>
            </p:cNvSpPr>
            <p:nvPr/>
          </p:nvSpPr>
          <p:spPr>
            <a:xfrm>
              <a:off x="553811" y="1629898"/>
              <a:ext cx="11084378" cy="808502"/>
            </a:xfrm>
            <a:custGeom>
              <a:avLst/>
              <a:gdLst>
                <a:gd name="connsiteX0" fmla="*/ 0 w 11084378"/>
                <a:gd name="connsiteY0" fmla="*/ 0 h 808502"/>
                <a:gd name="connsiteX1" fmla="*/ 914461 w 11084378"/>
                <a:gd name="connsiteY1" fmla="*/ 0 h 808502"/>
                <a:gd name="connsiteX2" fmla="*/ 1718079 w 11084378"/>
                <a:gd name="connsiteY2" fmla="*/ 0 h 808502"/>
                <a:gd name="connsiteX3" fmla="*/ 2410852 w 11084378"/>
                <a:gd name="connsiteY3" fmla="*/ 0 h 808502"/>
                <a:gd name="connsiteX4" fmla="*/ 2992782 w 11084378"/>
                <a:gd name="connsiteY4" fmla="*/ 0 h 808502"/>
                <a:gd name="connsiteX5" fmla="*/ 3796399 w 11084378"/>
                <a:gd name="connsiteY5" fmla="*/ 0 h 808502"/>
                <a:gd name="connsiteX6" fmla="*/ 4267486 w 11084378"/>
                <a:gd name="connsiteY6" fmla="*/ 0 h 808502"/>
                <a:gd name="connsiteX7" fmla="*/ 5071103 w 11084378"/>
                <a:gd name="connsiteY7" fmla="*/ 0 h 808502"/>
                <a:gd name="connsiteX8" fmla="*/ 5542189 w 11084378"/>
                <a:gd name="connsiteY8" fmla="*/ 0 h 808502"/>
                <a:gd name="connsiteX9" fmla="*/ 6013275 w 11084378"/>
                <a:gd name="connsiteY9" fmla="*/ 0 h 808502"/>
                <a:gd name="connsiteX10" fmla="*/ 6927736 w 11084378"/>
                <a:gd name="connsiteY10" fmla="*/ 0 h 808502"/>
                <a:gd name="connsiteX11" fmla="*/ 7620510 w 11084378"/>
                <a:gd name="connsiteY11" fmla="*/ 0 h 808502"/>
                <a:gd name="connsiteX12" fmla="*/ 8534971 w 11084378"/>
                <a:gd name="connsiteY12" fmla="*/ 0 h 808502"/>
                <a:gd name="connsiteX13" fmla="*/ 9227745 w 11084378"/>
                <a:gd name="connsiteY13" fmla="*/ 0 h 808502"/>
                <a:gd name="connsiteX14" fmla="*/ 9698831 w 11084378"/>
                <a:gd name="connsiteY14" fmla="*/ 0 h 808502"/>
                <a:gd name="connsiteX15" fmla="*/ 10391604 w 11084378"/>
                <a:gd name="connsiteY15" fmla="*/ 0 h 808502"/>
                <a:gd name="connsiteX16" fmla="*/ 11084378 w 11084378"/>
                <a:gd name="connsiteY16" fmla="*/ 0 h 808502"/>
                <a:gd name="connsiteX17" fmla="*/ 11084378 w 11084378"/>
                <a:gd name="connsiteY17" fmla="*/ 396166 h 808502"/>
                <a:gd name="connsiteX18" fmla="*/ 11084378 w 11084378"/>
                <a:gd name="connsiteY18" fmla="*/ 808502 h 808502"/>
                <a:gd name="connsiteX19" fmla="*/ 10280761 w 11084378"/>
                <a:gd name="connsiteY19" fmla="*/ 808502 h 808502"/>
                <a:gd name="connsiteX20" fmla="*/ 9477143 w 11084378"/>
                <a:gd name="connsiteY20" fmla="*/ 808502 h 808502"/>
                <a:gd name="connsiteX21" fmla="*/ 8562682 w 11084378"/>
                <a:gd name="connsiteY21" fmla="*/ 808502 h 808502"/>
                <a:gd name="connsiteX22" fmla="*/ 7980752 w 11084378"/>
                <a:gd name="connsiteY22" fmla="*/ 808502 h 808502"/>
                <a:gd name="connsiteX23" fmla="*/ 7177135 w 11084378"/>
                <a:gd name="connsiteY23" fmla="*/ 808502 h 808502"/>
                <a:gd name="connsiteX24" fmla="*/ 6816892 w 11084378"/>
                <a:gd name="connsiteY24" fmla="*/ 808502 h 808502"/>
                <a:gd name="connsiteX25" fmla="*/ 6013275 w 11084378"/>
                <a:gd name="connsiteY25" fmla="*/ 808502 h 808502"/>
                <a:gd name="connsiteX26" fmla="*/ 5320501 w 11084378"/>
                <a:gd name="connsiteY26" fmla="*/ 808502 h 808502"/>
                <a:gd name="connsiteX27" fmla="*/ 4738572 w 11084378"/>
                <a:gd name="connsiteY27" fmla="*/ 808502 h 808502"/>
                <a:gd name="connsiteX28" fmla="*/ 4267486 w 11084378"/>
                <a:gd name="connsiteY28" fmla="*/ 808502 h 808502"/>
                <a:gd name="connsiteX29" fmla="*/ 3574712 w 11084378"/>
                <a:gd name="connsiteY29" fmla="*/ 808502 h 808502"/>
                <a:gd name="connsiteX30" fmla="*/ 3103626 w 11084378"/>
                <a:gd name="connsiteY30" fmla="*/ 808502 h 808502"/>
                <a:gd name="connsiteX31" fmla="*/ 2189165 w 11084378"/>
                <a:gd name="connsiteY31" fmla="*/ 808502 h 808502"/>
                <a:gd name="connsiteX32" fmla="*/ 1385547 w 11084378"/>
                <a:gd name="connsiteY32" fmla="*/ 808502 h 808502"/>
                <a:gd name="connsiteX33" fmla="*/ 803617 w 11084378"/>
                <a:gd name="connsiteY33" fmla="*/ 808502 h 808502"/>
                <a:gd name="connsiteX34" fmla="*/ 0 w 11084378"/>
                <a:gd name="connsiteY34" fmla="*/ 808502 h 808502"/>
                <a:gd name="connsiteX35" fmla="*/ 0 w 11084378"/>
                <a:gd name="connsiteY35" fmla="*/ 428506 h 808502"/>
                <a:gd name="connsiteX36" fmla="*/ 0 w 11084378"/>
                <a:gd name="connsiteY36" fmla="*/ 0 h 80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084378" h="808502" extrusionOk="0">
                  <a:moveTo>
                    <a:pt x="0" y="0"/>
                  </a:moveTo>
                  <a:cubicBezTo>
                    <a:pt x="232030" y="26219"/>
                    <a:pt x="525479" y="-16688"/>
                    <a:pt x="914461" y="0"/>
                  </a:cubicBezTo>
                  <a:cubicBezTo>
                    <a:pt x="1303443" y="16688"/>
                    <a:pt x="1529988" y="26367"/>
                    <a:pt x="1718079" y="0"/>
                  </a:cubicBezTo>
                  <a:cubicBezTo>
                    <a:pt x="1906170" y="-26367"/>
                    <a:pt x="2144247" y="-3544"/>
                    <a:pt x="2410852" y="0"/>
                  </a:cubicBezTo>
                  <a:cubicBezTo>
                    <a:pt x="2677457" y="3544"/>
                    <a:pt x="2812632" y="-23632"/>
                    <a:pt x="2992782" y="0"/>
                  </a:cubicBezTo>
                  <a:cubicBezTo>
                    <a:pt x="3172932" y="23632"/>
                    <a:pt x="3402250" y="36790"/>
                    <a:pt x="3796399" y="0"/>
                  </a:cubicBezTo>
                  <a:cubicBezTo>
                    <a:pt x="4190548" y="-36790"/>
                    <a:pt x="4120592" y="16517"/>
                    <a:pt x="4267486" y="0"/>
                  </a:cubicBezTo>
                  <a:cubicBezTo>
                    <a:pt x="4414380" y="-16517"/>
                    <a:pt x="4794384" y="-40173"/>
                    <a:pt x="5071103" y="0"/>
                  </a:cubicBezTo>
                  <a:cubicBezTo>
                    <a:pt x="5347822" y="40173"/>
                    <a:pt x="5348459" y="21303"/>
                    <a:pt x="5542189" y="0"/>
                  </a:cubicBezTo>
                  <a:cubicBezTo>
                    <a:pt x="5735919" y="-21303"/>
                    <a:pt x="5836385" y="-7746"/>
                    <a:pt x="6013275" y="0"/>
                  </a:cubicBezTo>
                  <a:cubicBezTo>
                    <a:pt x="6190165" y="7746"/>
                    <a:pt x="6652492" y="397"/>
                    <a:pt x="6927736" y="0"/>
                  </a:cubicBezTo>
                  <a:cubicBezTo>
                    <a:pt x="7202980" y="-397"/>
                    <a:pt x="7363016" y="-10291"/>
                    <a:pt x="7620510" y="0"/>
                  </a:cubicBezTo>
                  <a:cubicBezTo>
                    <a:pt x="7878004" y="10291"/>
                    <a:pt x="8225202" y="-43589"/>
                    <a:pt x="8534971" y="0"/>
                  </a:cubicBezTo>
                  <a:cubicBezTo>
                    <a:pt x="8844740" y="43589"/>
                    <a:pt x="9049010" y="-27275"/>
                    <a:pt x="9227745" y="0"/>
                  </a:cubicBezTo>
                  <a:cubicBezTo>
                    <a:pt x="9406480" y="27275"/>
                    <a:pt x="9509709" y="7953"/>
                    <a:pt x="9698831" y="0"/>
                  </a:cubicBezTo>
                  <a:cubicBezTo>
                    <a:pt x="9887953" y="-7953"/>
                    <a:pt x="10046000" y="12946"/>
                    <a:pt x="10391604" y="0"/>
                  </a:cubicBezTo>
                  <a:cubicBezTo>
                    <a:pt x="10737208" y="-12946"/>
                    <a:pt x="10912451" y="-11184"/>
                    <a:pt x="11084378" y="0"/>
                  </a:cubicBezTo>
                  <a:cubicBezTo>
                    <a:pt x="11076452" y="104126"/>
                    <a:pt x="11067388" y="230127"/>
                    <a:pt x="11084378" y="396166"/>
                  </a:cubicBezTo>
                  <a:cubicBezTo>
                    <a:pt x="11101368" y="562205"/>
                    <a:pt x="11071050" y="665719"/>
                    <a:pt x="11084378" y="808502"/>
                  </a:cubicBezTo>
                  <a:cubicBezTo>
                    <a:pt x="10818139" y="844195"/>
                    <a:pt x="10647897" y="778613"/>
                    <a:pt x="10280761" y="808502"/>
                  </a:cubicBezTo>
                  <a:cubicBezTo>
                    <a:pt x="9913625" y="838391"/>
                    <a:pt x="9719756" y="840516"/>
                    <a:pt x="9477143" y="808502"/>
                  </a:cubicBezTo>
                  <a:cubicBezTo>
                    <a:pt x="9234530" y="776488"/>
                    <a:pt x="8992709" y="803027"/>
                    <a:pt x="8562682" y="808502"/>
                  </a:cubicBezTo>
                  <a:cubicBezTo>
                    <a:pt x="8132655" y="813977"/>
                    <a:pt x="8157471" y="834492"/>
                    <a:pt x="7980752" y="808502"/>
                  </a:cubicBezTo>
                  <a:cubicBezTo>
                    <a:pt x="7804033" y="782513"/>
                    <a:pt x="7520686" y="822103"/>
                    <a:pt x="7177135" y="808502"/>
                  </a:cubicBezTo>
                  <a:cubicBezTo>
                    <a:pt x="6833584" y="794901"/>
                    <a:pt x="6968353" y="816911"/>
                    <a:pt x="6816892" y="808502"/>
                  </a:cubicBezTo>
                  <a:cubicBezTo>
                    <a:pt x="6665431" y="800093"/>
                    <a:pt x="6337466" y="799340"/>
                    <a:pt x="6013275" y="808502"/>
                  </a:cubicBezTo>
                  <a:cubicBezTo>
                    <a:pt x="5689084" y="817664"/>
                    <a:pt x="5619683" y="815343"/>
                    <a:pt x="5320501" y="808502"/>
                  </a:cubicBezTo>
                  <a:cubicBezTo>
                    <a:pt x="5021319" y="801661"/>
                    <a:pt x="5029173" y="831098"/>
                    <a:pt x="4738572" y="808502"/>
                  </a:cubicBezTo>
                  <a:cubicBezTo>
                    <a:pt x="4447971" y="785906"/>
                    <a:pt x="4388707" y="830412"/>
                    <a:pt x="4267486" y="808502"/>
                  </a:cubicBezTo>
                  <a:cubicBezTo>
                    <a:pt x="4146265" y="786592"/>
                    <a:pt x="3796360" y="836512"/>
                    <a:pt x="3574712" y="808502"/>
                  </a:cubicBezTo>
                  <a:cubicBezTo>
                    <a:pt x="3353064" y="780492"/>
                    <a:pt x="3264956" y="802666"/>
                    <a:pt x="3103626" y="808502"/>
                  </a:cubicBezTo>
                  <a:cubicBezTo>
                    <a:pt x="2942296" y="814338"/>
                    <a:pt x="2383507" y="796735"/>
                    <a:pt x="2189165" y="808502"/>
                  </a:cubicBezTo>
                  <a:cubicBezTo>
                    <a:pt x="1994823" y="820269"/>
                    <a:pt x="1587248" y="813112"/>
                    <a:pt x="1385547" y="808502"/>
                  </a:cubicBezTo>
                  <a:cubicBezTo>
                    <a:pt x="1183846" y="803892"/>
                    <a:pt x="1040972" y="827426"/>
                    <a:pt x="803617" y="808502"/>
                  </a:cubicBezTo>
                  <a:cubicBezTo>
                    <a:pt x="566262" y="789579"/>
                    <a:pt x="305177" y="771809"/>
                    <a:pt x="0" y="808502"/>
                  </a:cubicBezTo>
                  <a:cubicBezTo>
                    <a:pt x="-315" y="660470"/>
                    <a:pt x="249" y="612846"/>
                    <a:pt x="0" y="428506"/>
                  </a:cubicBezTo>
                  <a:cubicBezTo>
                    <a:pt x="-249" y="244166"/>
                    <a:pt x="14802" y="108269"/>
                    <a:pt x="0" y="0"/>
                  </a:cubicBezTo>
                  <a:close/>
                </a:path>
              </a:pathLst>
            </a:custGeom>
            <a:noFill/>
            <a:ln w="28575">
              <a:solidFill>
                <a:schemeClr val="accent2"/>
              </a:solidFill>
              <a:extLst>
                <a:ext uri="{C807C97D-BFC1-408E-A445-0C87EB9F89A2}">
                  <ask:lineSketchStyleProps xmlns:ask="http://schemas.microsoft.com/office/drawing/2018/sketchyshapes" sd="1077043750">
                    <a:prstGeom prst="rect">
                      <a:avLst/>
                    </a:prstGeom>
                    <ask:type>
                      <ask:lineSketchFreehand/>
                    </ask:type>
                  </ask:lineSketchStyleProps>
                </a:ext>
              </a:extLst>
            </a:ln>
          </p:spPr>
          <p:style>
            <a:lnRef idx="2">
              <a:schemeClr val="accent5"/>
            </a:lnRef>
            <a:fillRef idx="1">
              <a:schemeClr val="lt1"/>
            </a:fillRef>
            <a:effectRef idx="0">
              <a:schemeClr val="accent5"/>
            </a:effectRef>
            <a:fontRef idx="minor">
              <a:schemeClr val="dk1"/>
            </a:fontRef>
          </p:style>
          <p:txBody>
            <a:bodyPr wrap="square" lIns="0" tIns="0" rIns="0" bIns="0" rtlCol="0" anchor="ctr">
              <a:noAutofit/>
            </a:bodyPr>
            <a:lstStyle/>
            <a:p>
              <a:pPr algn="ctr"/>
              <a:r>
                <a:rPr lang="da-DK" sz="1600">
                  <a:latin typeface="Quicksand" panose="020B0604020202020204"/>
                  <a:cs typeface="Amatic SC" panose="00000500000000000000" pitchFamily="2" charset="-79"/>
                </a:rPr>
                <a:t>… eleverne oplever at være </a:t>
              </a:r>
              <a:r>
                <a:rPr lang="da-DK" sz="1600" b="1">
                  <a:latin typeface="Quicksand" panose="020B0604020202020204"/>
                  <a:cs typeface="Amatic SC" panose="00000500000000000000" pitchFamily="2" charset="-79"/>
                </a:rPr>
                <a:t>en del af et fællesskab </a:t>
              </a:r>
              <a:r>
                <a:rPr lang="da-DK" sz="1600">
                  <a:latin typeface="Quicksand" panose="020B0604020202020204"/>
                  <a:cs typeface="Amatic SC" panose="00000500000000000000" pitchFamily="2" charset="-79"/>
                </a:rPr>
                <a:t>med forståelse fra klassekammerater og lærere</a:t>
              </a:r>
              <a:endParaRPr lang="da-DK" sz="1600" b="1">
                <a:solidFill>
                  <a:schemeClr val="tx1"/>
                </a:solidFill>
                <a:latin typeface="Quicksand" panose="020B0604020202020204"/>
                <a:cs typeface="Amatic SC" panose="00000500000000000000" pitchFamily="2" charset="-79"/>
              </a:endParaRPr>
            </a:p>
          </p:txBody>
        </p:sp>
        <p:sp>
          <p:nvSpPr>
            <p:cNvPr id="27" name="TextBox 26">
              <a:extLst>
                <a:ext uri="{FF2B5EF4-FFF2-40B4-BE49-F238E27FC236}">
                  <a16:creationId xmlns:a16="http://schemas.microsoft.com/office/drawing/2014/main" id="{B95C5169-F374-C038-F304-F57DA8EF37B7}"/>
                </a:ext>
              </a:extLst>
            </p:cNvPr>
            <p:cNvSpPr txBox="1"/>
            <p:nvPr/>
          </p:nvSpPr>
          <p:spPr>
            <a:xfrm>
              <a:off x="553811" y="1815870"/>
              <a:ext cx="878305" cy="436558"/>
            </a:xfrm>
            <a:prstGeom prst="rect">
              <a:avLst/>
            </a:prstGeom>
            <a:noFill/>
            <a:ln>
              <a:noFill/>
            </a:ln>
          </p:spPr>
          <p:txBody>
            <a:bodyPr wrap="square" lIns="0" tIns="0" rIns="0" bIns="0" rtlCol="0">
              <a:spAutoFit/>
            </a:bodyPr>
            <a:lstStyle/>
            <a:p>
              <a:pPr algn="ctr"/>
              <a:r>
                <a:rPr lang="da-DK" sz="2400" b="1">
                  <a:latin typeface="Quicksand" panose="020B0604020202020204"/>
                  <a:cs typeface="Amatic SC" panose="00000500000000000000" pitchFamily="2" charset="-79"/>
                </a:rPr>
                <a:t>4</a:t>
              </a:r>
            </a:p>
          </p:txBody>
        </p:sp>
      </p:grpSp>
    </p:spTree>
    <p:extLst>
      <p:ext uri="{BB962C8B-B14F-4D97-AF65-F5344CB8AC3E}">
        <p14:creationId xmlns:p14="http://schemas.microsoft.com/office/powerpoint/2010/main" val="34098527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a:noFill/>
          <a:ln>
            <a:noFill/>
          </a:ln>
        </p:spPr>
        <p:txBody>
          <a:bodyPr/>
          <a:lstStyle/>
          <a:p>
            <a:fld id="{23AA811B-2EBD-4900-905E-5BE206449611}" type="slidenum">
              <a:rPr lang="da-DK" smtClean="0">
                <a:solidFill>
                  <a:schemeClr val="accent2"/>
                </a:solidFill>
              </a:rPr>
              <a:pPr/>
              <a:t>17</a:t>
            </a:fld>
            <a:endParaRPr lang="da-DK">
              <a:solidFill>
                <a:schemeClr val="accent2"/>
              </a:solidFill>
            </a:endParaRPr>
          </a:p>
        </p:txBody>
      </p:sp>
      <p:sp>
        <p:nvSpPr>
          <p:cNvPr id="10" name="Google Shape;846;p29">
            <a:extLst>
              <a:ext uri="{FF2B5EF4-FFF2-40B4-BE49-F238E27FC236}">
                <a16:creationId xmlns:a16="http://schemas.microsoft.com/office/drawing/2014/main" id="{25F9A4E7-2EB0-5254-1D0C-E517BFB235BA}"/>
              </a:ext>
            </a:extLst>
          </p:cNvPr>
          <p:cNvSpPr/>
          <p:nvPr/>
        </p:nvSpPr>
        <p:spPr>
          <a:xfrm>
            <a:off x="0" y="344302"/>
            <a:ext cx="12192001" cy="856486"/>
          </a:xfrm>
          <a:prstGeom prst="rect">
            <a:avLst/>
          </a:prstGeom>
          <a:solidFill>
            <a:schemeClr val="accent2"/>
          </a:solidFill>
          <a:ln>
            <a:noFill/>
          </a:ln>
        </p:spPr>
        <p:txBody>
          <a:bodyPr spcFirstLastPara="1" wrap="square" lIns="396000" tIns="91425" rIns="91425" bIns="91425" anchor="ctr" anchorCtr="0">
            <a:noAutofit/>
          </a:bodyPr>
          <a:lstStyle/>
          <a:p>
            <a:pPr marL="0" lvl="0" indent="0" algn="ctr">
              <a:spcBef>
                <a:spcPts val="0"/>
              </a:spcBef>
              <a:spcAft>
                <a:spcPts val="0"/>
              </a:spcAft>
              <a:buNone/>
            </a:pPr>
            <a:r>
              <a:rPr lang="da-DK" sz="3200" b="0" i="0" u="none" strike="noStrike">
                <a:solidFill>
                  <a:srgbClr val="FFFFFF"/>
                </a:solidFill>
                <a:effectLst/>
                <a:latin typeface="Amatic SC" panose="00000500000000000000" pitchFamily="2" charset="-79"/>
              </a:rPr>
              <a:t>1. Elevernes oplevelse af </a:t>
            </a:r>
            <a:r>
              <a:rPr lang="da-DK" sz="3200" b="1" i="0" u="none" strike="noStrike">
                <a:solidFill>
                  <a:srgbClr val="FFFFFF"/>
                </a:solidFill>
                <a:effectLst/>
                <a:latin typeface="Amatic SC" panose="00000500000000000000" pitchFamily="2" charset="-79"/>
              </a:rPr>
              <a:t>variation i undervisningen</a:t>
            </a:r>
            <a:endParaRPr lang="da-DK" sz="3200" b="1">
              <a:solidFill>
                <a:schemeClr val="bg1"/>
              </a:solidFill>
              <a:latin typeface="Amatic SC"/>
              <a:ea typeface="Amatic SC"/>
              <a:cs typeface="Amatic SC"/>
              <a:sym typeface="Amatic SC"/>
            </a:endParaRPr>
          </a:p>
        </p:txBody>
      </p:sp>
      <p:sp>
        <p:nvSpPr>
          <p:cNvPr id="6" name="Rectangle 5">
            <a:extLst>
              <a:ext uri="{FF2B5EF4-FFF2-40B4-BE49-F238E27FC236}">
                <a16:creationId xmlns:a16="http://schemas.microsoft.com/office/drawing/2014/main" id="{4E145D63-C706-554C-BEAD-46F441844BA9}"/>
              </a:ext>
            </a:extLst>
          </p:cNvPr>
          <p:cNvSpPr/>
          <p:nvPr/>
        </p:nvSpPr>
        <p:spPr>
          <a:xfrm>
            <a:off x="6319157" y="2221944"/>
            <a:ext cx="4767944" cy="3403959"/>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8" name="TextBox 7">
            <a:extLst>
              <a:ext uri="{FF2B5EF4-FFF2-40B4-BE49-F238E27FC236}">
                <a16:creationId xmlns:a16="http://schemas.microsoft.com/office/drawing/2014/main" id="{BF1B1437-A169-EFF5-39C7-146C7ADE4571}"/>
              </a:ext>
            </a:extLst>
          </p:cNvPr>
          <p:cNvSpPr txBox="1"/>
          <p:nvPr/>
        </p:nvSpPr>
        <p:spPr>
          <a:xfrm>
            <a:off x="6319157" y="1640891"/>
            <a:ext cx="4767944" cy="666246"/>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2400" b="1">
                <a:latin typeface="Amatic SC"/>
                <a:ea typeface="Amatic SC"/>
                <a:cs typeface="Amatic SC"/>
                <a:sym typeface="Amatic SC"/>
              </a:rPr>
              <a:t>Eleverne oplever variation i undervisningen, når…</a:t>
            </a:r>
            <a:endParaRPr lang="da-DK" sz="2400" b="1">
              <a:latin typeface="Amatic SC" panose="00000500000000000000" pitchFamily="2" charset="-79"/>
              <a:cs typeface="Amatic SC" panose="00000500000000000000" pitchFamily="2" charset="-79"/>
            </a:endParaRPr>
          </a:p>
        </p:txBody>
      </p:sp>
      <p:sp>
        <p:nvSpPr>
          <p:cNvPr id="2" name="Rectangle 1">
            <a:extLst>
              <a:ext uri="{FF2B5EF4-FFF2-40B4-BE49-F238E27FC236}">
                <a16:creationId xmlns:a16="http://schemas.microsoft.com/office/drawing/2014/main" id="{6CB42240-6350-3E0A-32C5-C44BE2CACA96}"/>
              </a:ext>
            </a:extLst>
          </p:cNvPr>
          <p:cNvSpPr/>
          <p:nvPr/>
        </p:nvSpPr>
        <p:spPr>
          <a:xfrm>
            <a:off x="959035" y="2221944"/>
            <a:ext cx="4767944" cy="3403959"/>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3" name="TextBox 2">
            <a:extLst>
              <a:ext uri="{FF2B5EF4-FFF2-40B4-BE49-F238E27FC236}">
                <a16:creationId xmlns:a16="http://schemas.microsoft.com/office/drawing/2014/main" id="{C01053F9-7D5A-90AB-C22A-1DD8050C5F7C}"/>
              </a:ext>
            </a:extLst>
          </p:cNvPr>
          <p:cNvSpPr txBox="1"/>
          <p:nvPr/>
        </p:nvSpPr>
        <p:spPr>
          <a:xfrm>
            <a:off x="959035" y="1640891"/>
            <a:ext cx="4767944" cy="666246"/>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2000" b="1">
                <a:latin typeface="Amatic SC"/>
                <a:ea typeface="Amatic SC"/>
                <a:cs typeface="Amatic SC"/>
                <a:sym typeface="Amatic SC"/>
              </a:rPr>
              <a:t>Eleverne oplever begrænset variation i undervisningen</a:t>
            </a:r>
            <a:endParaRPr lang="da-DK" sz="2000" b="1">
              <a:latin typeface="Amatic SC" panose="00000500000000000000" pitchFamily="2" charset="-79"/>
              <a:cs typeface="Amatic SC" panose="00000500000000000000" pitchFamily="2" charset="-79"/>
            </a:endParaRPr>
          </a:p>
        </p:txBody>
      </p:sp>
      <p:sp>
        <p:nvSpPr>
          <p:cNvPr id="9" name="Speech Bubble: Rectangle with Corners Rounded 8">
            <a:extLst>
              <a:ext uri="{FF2B5EF4-FFF2-40B4-BE49-F238E27FC236}">
                <a16:creationId xmlns:a16="http://schemas.microsoft.com/office/drawing/2014/main" id="{E0B65E41-456A-76CF-2244-87A68059C80E}"/>
              </a:ext>
            </a:extLst>
          </p:cNvPr>
          <p:cNvSpPr/>
          <p:nvPr/>
        </p:nvSpPr>
        <p:spPr>
          <a:xfrm>
            <a:off x="1104899" y="2501801"/>
            <a:ext cx="4438650" cy="457299"/>
          </a:xfrm>
          <a:prstGeom prst="wedgeRoundRectCallout">
            <a:avLst>
              <a:gd name="adj1" fmla="val -51917"/>
              <a:gd name="adj2" fmla="val -2703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b="1">
                <a:solidFill>
                  <a:schemeClr val="tx1"/>
                </a:solidFill>
                <a:latin typeface="Quicksand" panose="020B0604020202020204" charset="0"/>
                <a:ea typeface="Verdana"/>
                <a:cs typeface="Quicksand" panose="020B0604020202020204" charset="0"/>
              </a:rPr>
              <a:t>Vi har meget </a:t>
            </a:r>
            <a:r>
              <a:rPr lang="da-DK" sz="1200" b="1" err="1">
                <a:solidFill>
                  <a:schemeClr val="tx1"/>
                </a:solidFill>
                <a:latin typeface="Quicksand" panose="020B0604020202020204" charset="0"/>
                <a:ea typeface="Verdana"/>
                <a:cs typeface="Quicksand" panose="020B0604020202020204" charset="0"/>
              </a:rPr>
              <a:t>tavleundervisning</a:t>
            </a:r>
            <a:r>
              <a:rPr lang="da-DK" sz="1200">
                <a:solidFill>
                  <a:schemeClr val="tx1"/>
                </a:solidFill>
                <a:latin typeface="Quicksand" panose="020B0604020202020204" charset="0"/>
                <a:ea typeface="Verdana"/>
                <a:cs typeface="Quicksand" panose="020B0604020202020204" charset="0"/>
              </a:rPr>
              <a:t> i historie, og vores lærer lader os ikke rigtig lave noget på timen.</a:t>
            </a:r>
          </a:p>
        </p:txBody>
      </p:sp>
      <p:sp>
        <p:nvSpPr>
          <p:cNvPr id="15" name="Speech Bubble: Rectangle with Corners Rounded 14">
            <a:extLst>
              <a:ext uri="{FF2B5EF4-FFF2-40B4-BE49-F238E27FC236}">
                <a16:creationId xmlns:a16="http://schemas.microsoft.com/office/drawing/2014/main" id="{B93EC341-B18E-2C36-70B4-17A111EB7A62}"/>
              </a:ext>
            </a:extLst>
          </p:cNvPr>
          <p:cNvSpPr/>
          <p:nvPr/>
        </p:nvSpPr>
        <p:spPr>
          <a:xfrm>
            <a:off x="6495327" y="2501801"/>
            <a:ext cx="4438650" cy="684517"/>
          </a:xfrm>
          <a:prstGeom prst="wedgeRoundRectCallout">
            <a:avLst>
              <a:gd name="adj1" fmla="val -53543"/>
              <a:gd name="adj2" fmla="val -21616"/>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a:ea typeface="Verdana"/>
                <a:cs typeface="Amatic SC" panose="00000500000000000000" pitchFamily="2" charset="-79"/>
              </a:rPr>
              <a:t>… vi får lov til at lave </a:t>
            </a:r>
            <a:r>
              <a:rPr lang="da-DK" sz="1200" b="1">
                <a:solidFill>
                  <a:schemeClr val="tx1"/>
                </a:solidFill>
                <a:latin typeface="Quicksand" panose="020B0604020202020204"/>
                <a:ea typeface="Verdana"/>
                <a:cs typeface="Amatic SC" panose="00000500000000000000" pitchFamily="2" charset="-79"/>
              </a:rPr>
              <a:t>flere</a:t>
            </a:r>
            <a:r>
              <a:rPr lang="da-DK" sz="1200">
                <a:solidFill>
                  <a:schemeClr val="tx1"/>
                </a:solidFill>
                <a:latin typeface="Quicksand" panose="020B0604020202020204"/>
                <a:ea typeface="Verdana"/>
                <a:cs typeface="Amatic SC" panose="00000500000000000000" pitchFamily="2" charset="-79"/>
              </a:rPr>
              <a:t> </a:t>
            </a:r>
            <a:r>
              <a:rPr lang="da-DK" sz="1200" b="1">
                <a:solidFill>
                  <a:schemeClr val="tx1"/>
                </a:solidFill>
                <a:latin typeface="Quicksand" panose="020B0604020202020204"/>
                <a:ea typeface="Verdana"/>
                <a:cs typeface="Amatic SC" panose="00000500000000000000" pitchFamily="2" charset="-79"/>
              </a:rPr>
              <a:t>forskellige</a:t>
            </a:r>
            <a:r>
              <a:rPr lang="da-DK" sz="1200">
                <a:solidFill>
                  <a:schemeClr val="tx1"/>
                </a:solidFill>
                <a:latin typeface="Quicksand" panose="020B0604020202020204"/>
                <a:ea typeface="Verdana"/>
                <a:cs typeface="Amatic SC" panose="00000500000000000000" pitchFamily="2" charset="-79"/>
              </a:rPr>
              <a:t> </a:t>
            </a:r>
            <a:r>
              <a:rPr lang="da-DK" sz="1200" b="1">
                <a:solidFill>
                  <a:schemeClr val="tx1"/>
                </a:solidFill>
                <a:latin typeface="Quicksand" panose="020B0604020202020204"/>
                <a:ea typeface="Verdana"/>
                <a:cs typeface="Amatic SC" panose="00000500000000000000" pitchFamily="2" charset="-79"/>
              </a:rPr>
              <a:t>opgaver</a:t>
            </a:r>
            <a:r>
              <a:rPr lang="da-DK" sz="1200">
                <a:solidFill>
                  <a:schemeClr val="tx1"/>
                </a:solidFill>
                <a:latin typeface="Quicksand" panose="020B0604020202020204"/>
                <a:ea typeface="Verdana"/>
                <a:cs typeface="Amatic SC" panose="00000500000000000000" pitchFamily="2" charset="-79"/>
              </a:rPr>
              <a:t> i timerne, så undervisning kombineres af sjov og læring.</a:t>
            </a:r>
            <a:endParaRPr lang="da-DK" sz="1200">
              <a:solidFill>
                <a:schemeClr val="tx1"/>
              </a:solidFill>
              <a:latin typeface="Quicksand" panose="020B0604020202020204" charset="0"/>
              <a:ea typeface="Verdana"/>
              <a:cs typeface="Quicksand" panose="020B0604020202020204" charset="0"/>
            </a:endParaRPr>
          </a:p>
        </p:txBody>
      </p:sp>
      <p:sp>
        <p:nvSpPr>
          <p:cNvPr id="16" name="Speech Bubble: Rectangle with Corners Rounded 15">
            <a:extLst>
              <a:ext uri="{FF2B5EF4-FFF2-40B4-BE49-F238E27FC236}">
                <a16:creationId xmlns:a16="http://schemas.microsoft.com/office/drawing/2014/main" id="{D09FF7A0-3A39-87A5-58C2-047B07A95020}"/>
              </a:ext>
            </a:extLst>
          </p:cNvPr>
          <p:cNvSpPr/>
          <p:nvPr/>
        </p:nvSpPr>
        <p:spPr>
          <a:xfrm>
            <a:off x="6495327" y="3328472"/>
            <a:ext cx="4438650" cy="457298"/>
          </a:xfrm>
          <a:prstGeom prst="wedgeRoundRectCallout">
            <a:avLst>
              <a:gd name="adj1" fmla="val 52500"/>
              <a:gd name="adj2" fmla="val -1140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a:ea typeface="Verdana"/>
                <a:cs typeface="Amatic SC" panose="00000500000000000000" pitchFamily="2" charset="-79"/>
              </a:rPr>
              <a:t>… vi får lov til at tage </a:t>
            </a:r>
            <a:r>
              <a:rPr lang="da-DK" sz="1200" b="1">
                <a:solidFill>
                  <a:schemeClr val="tx1"/>
                </a:solidFill>
                <a:latin typeface="Quicksand" panose="020B0604020202020204"/>
                <a:ea typeface="Verdana"/>
                <a:cs typeface="Amatic SC" panose="00000500000000000000" pitchFamily="2" charset="-79"/>
              </a:rPr>
              <a:t>pauser eller lidt bevægelse </a:t>
            </a:r>
            <a:r>
              <a:rPr lang="da-DK" sz="1200">
                <a:solidFill>
                  <a:schemeClr val="tx1"/>
                </a:solidFill>
                <a:latin typeface="Quicksand" panose="020B0604020202020204"/>
                <a:ea typeface="Verdana"/>
                <a:cs typeface="Amatic SC" panose="00000500000000000000" pitchFamily="2" charset="-79"/>
              </a:rPr>
              <a:t>imellem opgaverne på timerne – fx hvis vi lige får lov til at gå udenfor.</a:t>
            </a:r>
            <a:endParaRPr lang="da-DK" sz="1200">
              <a:solidFill>
                <a:schemeClr val="tx1"/>
              </a:solidFill>
              <a:latin typeface="Quicksand" panose="020B0604020202020204" charset="0"/>
              <a:ea typeface="Verdana"/>
              <a:cs typeface="Quicksand" panose="020B0604020202020204" charset="0"/>
            </a:endParaRPr>
          </a:p>
        </p:txBody>
      </p:sp>
      <p:sp>
        <p:nvSpPr>
          <p:cNvPr id="17" name="Speech Bubble: Rectangle with Corners Rounded 16">
            <a:extLst>
              <a:ext uri="{FF2B5EF4-FFF2-40B4-BE49-F238E27FC236}">
                <a16:creationId xmlns:a16="http://schemas.microsoft.com/office/drawing/2014/main" id="{ACFE953C-145D-FA9A-C8D9-5C6D017030E1}"/>
              </a:ext>
            </a:extLst>
          </p:cNvPr>
          <p:cNvSpPr/>
          <p:nvPr/>
        </p:nvSpPr>
        <p:spPr>
          <a:xfrm>
            <a:off x="1104899" y="3099823"/>
            <a:ext cx="4438650" cy="457298"/>
          </a:xfrm>
          <a:prstGeom prst="wedgeRoundRectCallout">
            <a:avLst>
              <a:gd name="adj1" fmla="val 52500"/>
              <a:gd name="adj2" fmla="val -1140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b="1">
                <a:solidFill>
                  <a:schemeClr val="tx1"/>
                </a:solidFill>
                <a:latin typeface="Quicksand" panose="020B0604020202020204" charset="0"/>
                <a:ea typeface="Verdana"/>
                <a:cs typeface="Quicksand" panose="020B0604020202020204" charset="0"/>
              </a:rPr>
              <a:t>Vi har jo mange ting, vi skal nå i undervisningen</a:t>
            </a:r>
            <a:r>
              <a:rPr lang="da-DK" sz="1200">
                <a:solidFill>
                  <a:schemeClr val="tx1"/>
                </a:solidFill>
                <a:latin typeface="Quicksand" panose="020B0604020202020204" charset="0"/>
                <a:ea typeface="Verdana"/>
                <a:cs typeface="Quicksand" panose="020B0604020202020204" charset="0"/>
              </a:rPr>
              <a:t>, så der er ikke så tit tid til, at vi kan lave mange forskellige ting.</a:t>
            </a:r>
            <a:endParaRPr lang="da-DK" sz="1200">
              <a:solidFill>
                <a:schemeClr val="tx1"/>
              </a:solidFill>
              <a:latin typeface="Quicksand" panose="020B0604020202020204"/>
            </a:endParaRPr>
          </a:p>
        </p:txBody>
      </p:sp>
      <p:sp>
        <p:nvSpPr>
          <p:cNvPr id="20" name="Speech Bubble: Rectangle with Corners Rounded 19">
            <a:extLst>
              <a:ext uri="{FF2B5EF4-FFF2-40B4-BE49-F238E27FC236}">
                <a16:creationId xmlns:a16="http://schemas.microsoft.com/office/drawing/2014/main" id="{2DCE4C63-2163-EB3E-6433-C7A477103E5C}"/>
              </a:ext>
            </a:extLst>
          </p:cNvPr>
          <p:cNvSpPr/>
          <p:nvPr/>
        </p:nvSpPr>
        <p:spPr>
          <a:xfrm>
            <a:off x="6495327" y="3927924"/>
            <a:ext cx="4438650" cy="684517"/>
          </a:xfrm>
          <a:prstGeom prst="wedgeRoundRectCallout">
            <a:avLst>
              <a:gd name="adj1" fmla="val -53543"/>
              <a:gd name="adj2" fmla="val -21616"/>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a:ea typeface="Verdana"/>
                <a:cs typeface="Amatic SC" panose="00000500000000000000" pitchFamily="2" charset="-79"/>
              </a:rPr>
              <a:t>… vi har </a:t>
            </a:r>
            <a:r>
              <a:rPr lang="da-DK" sz="1200" b="1">
                <a:solidFill>
                  <a:schemeClr val="tx1"/>
                </a:solidFill>
                <a:latin typeface="Quicksand" panose="020B0604020202020204"/>
                <a:ea typeface="Verdana"/>
                <a:cs typeface="Amatic SC" panose="00000500000000000000" pitchFamily="2" charset="-79"/>
              </a:rPr>
              <a:t>temauge</a:t>
            </a:r>
            <a:r>
              <a:rPr lang="da-DK" sz="1200">
                <a:solidFill>
                  <a:schemeClr val="tx1"/>
                </a:solidFill>
                <a:latin typeface="Quicksand" panose="020B0604020202020204"/>
                <a:ea typeface="Verdana"/>
                <a:cs typeface="Amatic SC" panose="00000500000000000000" pitchFamily="2" charset="-79"/>
              </a:rPr>
              <a:t> </a:t>
            </a:r>
            <a:r>
              <a:rPr lang="da-DK" sz="1200" b="1">
                <a:solidFill>
                  <a:schemeClr val="tx1"/>
                </a:solidFill>
                <a:latin typeface="Quicksand" panose="020B0604020202020204"/>
                <a:ea typeface="Verdana"/>
                <a:cs typeface="Amatic SC" panose="00000500000000000000" pitchFamily="2" charset="-79"/>
              </a:rPr>
              <a:t>eller</a:t>
            </a:r>
            <a:r>
              <a:rPr lang="da-DK" sz="1200">
                <a:solidFill>
                  <a:schemeClr val="tx1"/>
                </a:solidFill>
                <a:latin typeface="Quicksand" panose="020B0604020202020204"/>
                <a:ea typeface="Verdana"/>
                <a:cs typeface="Amatic SC" panose="00000500000000000000" pitchFamily="2" charset="-79"/>
              </a:rPr>
              <a:t> </a:t>
            </a:r>
            <a:r>
              <a:rPr lang="da-DK" sz="1200" b="1">
                <a:solidFill>
                  <a:schemeClr val="tx1"/>
                </a:solidFill>
                <a:latin typeface="Quicksand" panose="020B0604020202020204"/>
                <a:ea typeface="Verdana"/>
                <a:cs typeface="Amatic SC" panose="00000500000000000000" pitchFamily="2" charset="-79"/>
              </a:rPr>
              <a:t>projektuge</a:t>
            </a:r>
            <a:r>
              <a:rPr lang="da-DK" sz="1200">
                <a:solidFill>
                  <a:schemeClr val="tx1"/>
                </a:solidFill>
                <a:latin typeface="Quicksand" panose="020B0604020202020204"/>
                <a:ea typeface="Verdana"/>
                <a:cs typeface="Amatic SC" panose="00000500000000000000" pitchFamily="2" charset="-79"/>
              </a:rPr>
              <a:t>. Lige nu har vi om Grønland, hvor vi lærer en masse om dyr og kultur.</a:t>
            </a:r>
            <a:endParaRPr lang="da-DK" sz="1200">
              <a:solidFill>
                <a:schemeClr val="tx1"/>
              </a:solidFill>
              <a:latin typeface="Quicksand" panose="020B0604020202020204"/>
              <a:ea typeface="Verdana"/>
              <a:cs typeface="Quicksand" panose="020B0604020202020204" charset="0"/>
            </a:endParaRPr>
          </a:p>
        </p:txBody>
      </p:sp>
      <p:sp>
        <p:nvSpPr>
          <p:cNvPr id="21" name="Speech Bubble: Rectangle with Corners Rounded 20">
            <a:extLst>
              <a:ext uri="{FF2B5EF4-FFF2-40B4-BE49-F238E27FC236}">
                <a16:creationId xmlns:a16="http://schemas.microsoft.com/office/drawing/2014/main" id="{742EE4A9-2F56-A3CB-A2C3-AA07FB6AD1DE}"/>
              </a:ext>
            </a:extLst>
          </p:cNvPr>
          <p:cNvSpPr/>
          <p:nvPr/>
        </p:nvSpPr>
        <p:spPr>
          <a:xfrm>
            <a:off x="6483804" y="4754594"/>
            <a:ext cx="4438650" cy="684516"/>
          </a:xfrm>
          <a:prstGeom prst="wedgeRoundRectCallout">
            <a:avLst>
              <a:gd name="adj1" fmla="val 52500"/>
              <a:gd name="adj2" fmla="val -1140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a:ea typeface="Verdana"/>
                <a:cs typeface="Amatic SC" panose="00000500000000000000" pitchFamily="2" charset="-79"/>
              </a:rPr>
              <a:t>… lærerne </a:t>
            </a:r>
            <a:r>
              <a:rPr lang="da-DK" sz="1200" b="1">
                <a:solidFill>
                  <a:schemeClr val="tx1"/>
                </a:solidFill>
                <a:latin typeface="Quicksand" panose="020B0604020202020204"/>
                <a:ea typeface="Verdana"/>
                <a:cs typeface="Amatic SC" panose="00000500000000000000" pitchFamily="2" charset="-79"/>
              </a:rPr>
              <a:t>kombinerer</a:t>
            </a:r>
            <a:r>
              <a:rPr lang="da-DK" sz="1200">
                <a:solidFill>
                  <a:schemeClr val="tx1"/>
                </a:solidFill>
                <a:latin typeface="Quicksand" panose="020B0604020202020204"/>
                <a:ea typeface="Verdana"/>
                <a:cs typeface="Amatic SC" panose="00000500000000000000" pitchFamily="2" charset="-79"/>
              </a:rPr>
              <a:t> </a:t>
            </a:r>
            <a:r>
              <a:rPr lang="da-DK" sz="1200" b="1">
                <a:solidFill>
                  <a:schemeClr val="tx1"/>
                </a:solidFill>
                <a:latin typeface="Quicksand" panose="020B0604020202020204"/>
                <a:ea typeface="Verdana"/>
                <a:cs typeface="Amatic SC" panose="00000500000000000000" pitchFamily="2" charset="-79"/>
              </a:rPr>
              <a:t>vores timer </a:t>
            </a:r>
            <a:r>
              <a:rPr lang="da-DK" sz="1200">
                <a:solidFill>
                  <a:schemeClr val="tx1"/>
                </a:solidFill>
                <a:latin typeface="Quicksand" panose="020B0604020202020204"/>
                <a:ea typeface="Verdana"/>
                <a:cs typeface="Amatic SC" panose="00000500000000000000" pitchFamily="2" charset="-79"/>
              </a:rPr>
              <a:t>med noget sjovt og noget mindre sjovt. Lige nu ser vi en film i billedkunst, og så snakker vi om den bagefter.</a:t>
            </a:r>
            <a:endParaRPr lang="da-DK" sz="1200">
              <a:solidFill>
                <a:schemeClr val="tx1"/>
              </a:solidFill>
              <a:latin typeface="Quicksand" panose="020B0604020202020204"/>
              <a:ea typeface="Verdana"/>
              <a:cs typeface="Quicksand" panose="020B0604020202020204" charset="0"/>
            </a:endParaRPr>
          </a:p>
        </p:txBody>
      </p:sp>
      <p:sp>
        <p:nvSpPr>
          <p:cNvPr id="22" name="Speech Bubble: Rectangle with Corners Rounded 21">
            <a:extLst>
              <a:ext uri="{FF2B5EF4-FFF2-40B4-BE49-F238E27FC236}">
                <a16:creationId xmlns:a16="http://schemas.microsoft.com/office/drawing/2014/main" id="{D2D82BCB-5DC0-7A21-3891-256E3704BBCD}"/>
              </a:ext>
            </a:extLst>
          </p:cNvPr>
          <p:cNvSpPr/>
          <p:nvPr/>
        </p:nvSpPr>
        <p:spPr>
          <a:xfrm>
            <a:off x="1104899" y="3697844"/>
            <a:ext cx="4438650" cy="705094"/>
          </a:xfrm>
          <a:prstGeom prst="wedgeRoundRectCallout">
            <a:avLst>
              <a:gd name="adj1" fmla="val -51917"/>
              <a:gd name="adj2" fmla="val -2703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charset="0"/>
                <a:ea typeface="Verdana"/>
                <a:cs typeface="Quicksand" panose="020B0604020202020204" charset="0"/>
              </a:rPr>
              <a:t>På de samme timer laver vi meget det samme fra gang til gang. Men der er stor forskel mellem timerne og den måde, vi arbejder på. </a:t>
            </a:r>
            <a:r>
              <a:rPr lang="da-DK" sz="1200" b="1">
                <a:solidFill>
                  <a:schemeClr val="tx1"/>
                </a:solidFill>
                <a:latin typeface="Quicksand" panose="020B0604020202020204" charset="0"/>
                <a:ea typeface="Verdana"/>
                <a:cs typeface="Quicksand" panose="020B0604020202020204" charset="0"/>
              </a:rPr>
              <a:t>Det kommer an på, hvilken lærer vi har.</a:t>
            </a:r>
          </a:p>
        </p:txBody>
      </p:sp>
      <p:sp>
        <p:nvSpPr>
          <p:cNvPr id="25" name="Speech Bubble: Rectangle with Corners Rounded 24">
            <a:extLst>
              <a:ext uri="{FF2B5EF4-FFF2-40B4-BE49-F238E27FC236}">
                <a16:creationId xmlns:a16="http://schemas.microsoft.com/office/drawing/2014/main" id="{22AB493F-C0EE-AD86-1FE6-9F4278C730DE}"/>
              </a:ext>
            </a:extLst>
          </p:cNvPr>
          <p:cNvSpPr/>
          <p:nvPr/>
        </p:nvSpPr>
        <p:spPr>
          <a:xfrm>
            <a:off x="1123681" y="4533158"/>
            <a:ext cx="4438650" cy="881989"/>
          </a:xfrm>
          <a:prstGeom prst="wedgeRoundRectCallout">
            <a:avLst>
              <a:gd name="adj1" fmla="val 52500"/>
              <a:gd name="adj2" fmla="val -1140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b="1">
                <a:solidFill>
                  <a:schemeClr val="tx1"/>
                </a:solidFill>
                <a:latin typeface="Quicksand" panose="020B0604020202020204"/>
              </a:rPr>
              <a:t>Vi sidder hele tiden bare og kigger op på en skærm og skal sidde og lytte og række hånden op</a:t>
            </a:r>
            <a:r>
              <a:rPr lang="da-DK" sz="1200">
                <a:solidFill>
                  <a:schemeClr val="tx1"/>
                </a:solidFill>
                <a:latin typeface="Quicksand" panose="020B0604020202020204"/>
              </a:rPr>
              <a:t>. Nogle gange, når man kommer med et input eller et spørgsmål, så siger hun, at vi ikke kan nå flere hænder.</a:t>
            </a:r>
          </a:p>
        </p:txBody>
      </p:sp>
    </p:spTree>
    <p:extLst>
      <p:ext uri="{BB962C8B-B14F-4D97-AF65-F5344CB8AC3E}">
        <p14:creationId xmlns:p14="http://schemas.microsoft.com/office/powerpoint/2010/main" val="23252733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a:noFill/>
          <a:ln>
            <a:noFill/>
          </a:ln>
        </p:spPr>
        <p:txBody>
          <a:bodyPr/>
          <a:lstStyle/>
          <a:p>
            <a:fld id="{23AA811B-2EBD-4900-905E-5BE206449611}" type="slidenum">
              <a:rPr lang="da-DK" smtClean="0">
                <a:solidFill>
                  <a:schemeClr val="accent2"/>
                </a:solidFill>
              </a:rPr>
              <a:pPr/>
              <a:t>18</a:t>
            </a:fld>
            <a:endParaRPr lang="da-DK">
              <a:solidFill>
                <a:schemeClr val="accent2"/>
              </a:solidFill>
            </a:endParaRPr>
          </a:p>
        </p:txBody>
      </p:sp>
      <p:sp>
        <p:nvSpPr>
          <p:cNvPr id="10" name="Google Shape;846;p29">
            <a:extLst>
              <a:ext uri="{FF2B5EF4-FFF2-40B4-BE49-F238E27FC236}">
                <a16:creationId xmlns:a16="http://schemas.microsoft.com/office/drawing/2014/main" id="{25F9A4E7-2EB0-5254-1D0C-E517BFB235BA}"/>
              </a:ext>
            </a:extLst>
          </p:cNvPr>
          <p:cNvSpPr/>
          <p:nvPr/>
        </p:nvSpPr>
        <p:spPr>
          <a:xfrm>
            <a:off x="0" y="345363"/>
            <a:ext cx="12192001" cy="855425"/>
          </a:xfrm>
          <a:prstGeom prst="rect">
            <a:avLst/>
          </a:prstGeom>
          <a:solidFill>
            <a:schemeClr val="accent2"/>
          </a:solidFill>
          <a:ln>
            <a:noFill/>
          </a:ln>
        </p:spPr>
        <p:txBody>
          <a:bodyPr spcFirstLastPara="1" wrap="square" lIns="396000" tIns="91425" rIns="91425" bIns="91425" anchor="ctr" anchorCtr="0">
            <a:noAutofit/>
          </a:bodyPr>
          <a:lstStyle/>
          <a:p>
            <a:pPr marL="0" lvl="0" indent="0" algn="ctr">
              <a:spcBef>
                <a:spcPts val="0"/>
              </a:spcBef>
              <a:spcAft>
                <a:spcPts val="0"/>
              </a:spcAft>
              <a:buNone/>
            </a:pPr>
            <a:r>
              <a:rPr lang="da-DK" sz="3200" b="0" i="0" u="none" strike="noStrike">
                <a:solidFill>
                  <a:srgbClr val="FFFFFF"/>
                </a:solidFill>
                <a:effectLst/>
                <a:latin typeface="Amatic SC" panose="00000500000000000000" pitchFamily="2" charset="-79"/>
              </a:rPr>
              <a:t>2. Elevernes oplevelse af </a:t>
            </a:r>
            <a:r>
              <a:rPr lang="da-DK" sz="3200" b="1" i="0" u="none" strike="noStrike">
                <a:solidFill>
                  <a:srgbClr val="FFFFFF"/>
                </a:solidFill>
                <a:effectLst/>
                <a:latin typeface="Amatic SC" panose="00000500000000000000" pitchFamily="2" charset="-79"/>
              </a:rPr>
              <a:t>forskellighed og differentiering</a:t>
            </a:r>
            <a:endParaRPr lang="da-DK" sz="3200" b="1">
              <a:solidFill>
                <a:schemeClr val="bg1"/>
              </a:solidFill>
              <a:latin typeface="Amatic SC"/>
              <a:ea typeface="Amatic SC"/>
              <a:cs typeface="Amatic SC"/>
              <a:sym typeface="Amatic SC"/>
            </a:endParaRPr>
          </a:p>
        </p:txBody>
      </p:sp>
      <p:sp>
        <p:nvSpPr>
          <p:cNvPr id="6" name="Rectangle 5">
            <a:extLst>
              <a:ext uri="{FF2B5EF4-FFF2-40B4-BE49-F238E27FC236}">
                <a16:creationId xmlns:a16="http://schemas.microsoft.com/office/drawing/2014/main" id="{4E145D63-C706-554C-BEAD-46F441844BA9}"/>
              </a:ext>
            </a:extLst>
          </p:cNvPr>
          <p:cNvSpPr/>
          <p:nvPr/>
        </p:nvSpPr>
        <p:spPr>
          <a:xfrm>
            <a:off x="6319157" y="2221944"/>
            <a:ext cx="4767944" cy="3403959"/>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8" name="TextBox 7">
            <a:extLst>
              <a:ext uri="{FF2B5EF4-FFF2-40B4-BE49-F238E27FC236}">
                <a16:creationId xmlns:a16="http://schemas.microsoft.com/office/drawing/2014/main" id="{BF1B1437-A169-EFF5-39C7-146C7ADE4571}"/>
              </a:ext>
            </a:extLst>
          </p:cNvPr>
          <p:cNvSpPr txBox="1"/>
          <p:nvPr/>
        </p:nvSpPr>
        <p:spPr>
          <a:xfrm>
            <a:off x="6319157" y="1640891"/>
            <a:ext cx="4767944" cy="666246"/>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2000" b="1">
                <a:latin typeface="Amatic SC"/>
                <a:ea typeface="Amatic SC"/>
                <a:cs typeface="Amatic SC"/>
                <a:sym typeface="Amatic SC"/>
              </a:rPr>
              <a:t>Eleverne oplever differentiering i undervisningen, når…</a:t>
            </a:r>
            <a:endParaRPr lang="da-DK" sz="2000" b="1">
              <a:latin typeface="Amatic SC" panose="00000500000000000000" pitchFamily="2" charset="-79"/>
              <a:cs typeface="Amatic SC" panose="00000500000000000000" pitchFamily="2" charset="-79"/>
            </a:endParaRPr>
          </a:p>
        </p:txBody>
      </p:sp>
      <p:sp>
        <p:nvSpPr>
          <p:cNvPr id="2" name="Rectangle 1">
            <a:extLst>
              <a:ext uri="{FF2B5EF4-FFF2-40B4-BE49-F238E27FC236}">
                <a16:creationId xmlns:a16="http://schemas.microsoft.com/office/drawing/2014/main" id="{6CB42240-6350-3E0A-32C5-C44BE2CACA96}"/>
              </a:ext>
            </a:extLst>
          </p:cNvPr>
          <p:cNvSpPr/>
          <p:nvPr/>
        </p:nvSpPr>
        <p:spPr>
          <a:xfrm>
            <a:off x="959035" y="2221944"/>
            <a:ext cx="4767944" cy="3403959"/>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3" name="TextBox 2">
            <a:extLst>
              <a:ext uri="{FF2B5EF4-FFF2-40B4-BE49-F238E27FC236}">
                <a16:creationId xmlns:a16="http://schemas.microsoft.com/office/drawing/2014/main" id="{C01053F9-7D5A-90AB-C22A-1DD8050C5F7C}"/>
              </a:ext>
            </a:extLst>
          </p:cNvPr>
          <p:cNvSpPr txBox="1"/>
          <p:nvPr/>
        </p:nvSpPr>
        <p:spPr>
          <a:xfrm>
            <a:off x="959035" y="1640891"/>
            <a:ext cx="4767944" cy="666246"/>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2000" b="1">
                <a:latin typeface="Amatic SC"/>
                <a:ea typeface="Amatic SC"/>
                <a:cs typeface="Amatic SC"/>
                <a:sym typeface="Amatic SC"/>
              </a:rPr>
              <a:t>Eleverne oplever i nogen grad differentiering</a:t>
            </a:r>
            <a:br>
              <a:rPr lang="da-DK" sz="2000" b="1">
                <a:latin typeface="Amatic SC"/>
                <a:ea typeface="Amatic SC"/>
                <a:cs typeface="Amatic SC"/>
                <a:sym typeface="Amatic SC"/>
              </a:rPr>
            </a:br>
            <a:r>
              <a:rPr lang="da-DK" sz="2000" b="1">
                <a:latin typeface="Amatic SC"/>
                <a:ea typeface="Amatic SC"/>
                <a:cs typeface="Amatic SC"/>
                <a:sym typeface="Amatic SC"/>
              </a:rPr>
              <a:t>i undervisningen</a:t>
            </a:r>
            <a:endParaRPr lang="da-DK" sz="2000" b="1">
              <a:latin typeface="Amatic SC" panose="00000500000000000000" pitchFamily="2" charset="-79"/>
              <a:cs typeface="Amatic SC" panose="00000500000000000000" pitchFamily="2" charset="-79"/>
            </a:endParaRPr>
          </a:p>
        </p:txBody>
      </p:sp>
      <p:sp>
        <p:nvSpPr>
          <p:cNvPr id="11" name="Speech Bubble: Rectangle with Corners Rounded 10">
            <a:extLst>
              <a:ext uri="{FF2B5EF4-FFF2-40B4-BE49-F238E27FC236}">
                <a16:creationId xmlns:a16="http://schemas.microsoft.com/office/drawing/2014/main" id="{10373B4A-B797-4DF6-3E2C-A40BC4801054}"/>
              </a:ext>
            </a:extLst>
          </p:cNvPr>
          <p:cNvSpPr/>
          <p:nvPr/>
        </p:nvSpPr>
        <p:spPr>
          <a:xfrm>
            <a:off x="1104899" y="2501801"/>
            <a:ext cx="4438650" cy="525840"/>
          </a:xfrm>
          <a:prstGeom prst="wedgeRoundRectCallout">
            <a:avLst>
              <a:gd name="adj1" fmla="val -51917"/>
              <a:gd name="adj2" fmla="val -2703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b="1">
                <a:solidFill>
                  <a:schemeClr val="tx1"/>
                </a:solidFill>
                <a:latin typeface="Quicksand" panose="020B0604020202020204" charset="0"/>
                <a:ea typeface="Verdana"/>
                <a:cs typeface="Quicksand" panose="020B0604020202020204" charset="0"/>
              </a:rPr>
              <a:t>Vores lærere er gode til at give os forskellige opgaver. </a:t>
            </a:r>
            <a:r>
              <a:rPr lang="da-DK" sz="1200">
                <a:solidFill>
                  <a:schemeClr val="tx1"/>
                </a:solidFill>
                <a:latin typeface="Quicksand" panose="020B0604020202020204" charset="0"/>
                <a:ea typeface="Verdana"/>
                <a:cs typeface="Quicksand" panose="020B0604020202020204" charset="0"/>
              </a:rPr>
              <a:t>Så står der på tavlen eller på hæftet, hvem der skal hvad.</a:t>
            </a:r>
          </a:p>
        </p:txBody>
      </p:sp>
      <p:sp>
        <p:nvSpPr>
          <p:cNvPr id="12" name="Speech Bubble: Rectangle with Corners Rounded 11">
            <a:extLst>
              <a:ext uri="{FF2B5EF4-FFF2-40B4-BE49-F238E27FC236}">
                <a16:creationId xmlns:a16="http://schemas.microsoft.com/office/drawing/2014/main" id="{35B4FE02-EA99-9FA8-18AC-E884A68A0A48}"/>
              </a:ext>
            </a:extLst>
          </p:cNvPr>
          <p:cNvSpPr/>
          <p:nvPr/>
        </p:nvSpPr>
        <p:spPr>
          <a:xfrm>
            <a:off x="1104899" y="3241142"/>
            <a:ext cx="4438650" cy="598021"/>
          </a:xfrm>
          <a:prstGeom prst="wedgeRoundRectCallout">
            <a:avLst>
              <a:gd name="adj1" fmla="val 52500"/>
              <a:gd name="adj2" fmla="val -1140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charset="0"/>
                <a:ea typeface="Verdana"/>
                <a:cs typeface="Quicksand" panose="020B0604020202020204" charset="0"/>
              </a:rPr>
              <a:t>Når vi har diktat, er det på forskellige niveauer. </a:t>
            </a:r>
            <a:r>
              <a:rPr lang="da-DK" sz="1200" b="1">
                <a:solidFill>
                  <a:schemeClr val="tx1"/>
                </a:solidFill>
                <a:latin typeface="Quicksand" panose="020B0604020202020204" charset="0"/>
                <a:ea typeface="Verdana"/>
                <a:cs typeface="Quicksand" panose="020B0604020202020204" charset="0"/>
              </a:rPr>
              <a:t>Jeg synes faktisk, at det er rart, at man kan blive lagt på det niveau, der passer til en</a:t>
            </a:r>
            <a:r>
              <a:rPr lang="da-DK" sz="1200">
                <a:solidFill>
                  <a:schemeClr val="tx1"/>
                </a:solidFill>
                <a:latin typeface="Quicksand" panose="020B0604020202020204" charset="0"/>
                <a:ea typeface="Verdana"/>
                <a:cs typeface="Quicksand" panose="020B0604020202020204" charset="0"/>
              </a:rPr>
              <a:t>,</a:t>
            </a:r>
            <a:r>
              <a:rPr lang="da-DK" sz="1200" b="1">
                <a:solidFill>
                  <a:schemeClr val="tx1"/>
                </a:solidFill>
                <a:latin typeface="Quicksand" panose="020B0604020202020204" charset="0"/>
                <a:ea typeface="Verdana"/>
                <a:cs typeface="Quicksand" panose="020B0604020202020204" charset="0"/>
              </a:rPr>
              <a:t> </a:t>
            </a:r>
            <a:r>
              <a:rPr lang="da-DK" sz="1200">
                <a:solidFill>
                  <a:schemeClr val="tx1"/>
                </a:solidFill>
                <a:latin typeface="Quicksand" panose="020B0604020202020204" charset="0"/>
                <a:ea typeface="Verdana"/>
                <a:cs typeface="Quicksand" panose="020B0604020202020204" charset="0"/>
              </a:rPr>
              <a:t>så det ikke er for svært eller for nemt.</a:t>
            </a:r>
          </a:p>
        </p:txBody>
      </p:sp>
      <p:sp>
        <p:nvSpPr>
          <p:cNvPr id="15" name="Speech Bubble: Rectangle with Corners Rounded 14">
            <a:extLst>
              <a:ext uri="{FF2B5EF4-FFF2-40B4-BE49-F238E27FC236}">
                <a16:creationId xmlns:a16="http://schemas.microsoft.com/office/drawing/2014/main" id="{53E89B35-F3F6-54FA-46BC-08FF8CE69BAA}"/>
              </a:ext>
            </a:extLst>
          </p:cNvPr>
          <p:cNvSpPr/>
          <p:nvPr/>
        </p:nvSpPr>
        <p:spPr>
          <a:xfrm>
            <a:off x="1104899" y="4002858"/>
            <a:ext cx="4438650" cy="598022"/>
          </a:xfrm>
          <a:prstGeom prst="wedgeRoundRectCallout">
            <a:avLst>
              <a:gd name="adj1" fmla="val -51917"/>
              <a:gd name="adj2" fmla="val -2703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b="1">
                <a:solidFill>
                  <a:schemeClr val="tx1"/>
                </a:solidFill>
                <a:latin typeface="Quicksand" panose="020B0604020202020204"/>
                <a:ea typeface="Verdana"/>
                <a:cs typeface="Amatic SC" panose="00000500000000000000" pitchFamily="2" charset="-79"/>
              </a:rPr>
              <a:t>Nogle gange får nogle af os nogle sværere opgaver, </a:t>
            </a:r>
            <a:r>
              <a:rPr lang="da-DK" sz="1200">
                <a:solidFill>
                  <a:schemeClr val="tx1"/>
                </a:solidFill>
                <a:latin typeface="Quicksand" panose="020B0604020202020204"/>
                <a:ea typeface="Verdana"/>
                <a:cs typeface="Amatic SC" panose="00000500000000000000" pitchFamily="2" charset="-79"/>
              </a:rPr>
              <a:t>mens de andre laver opgaver, der er lidt nemmere.</a:t>
            </a:r>
            <a:endParaRPr lang="da-DK" sz="1200" b="1">
              <a:solidFill>
                <a:schemeClr val="tx1"/>
              </a:solidFill>
              <a:latin typeface="Quicksand" panose="020B0604020202020204" charset="0"/>
              <a:ea typeface="Verdana"/>
              <a:cs typeface="Quicksand" panose="020B0604020202020204" charset="0"/>
            </a:endParaRPr>
          </a:p>
        </p:txBody>
      </p:sp>
      <p:sp>
        <p:nvSpPr>
          <p:cNvPr id="18" name="Speech Bubble: Rectangle with Corners Rounded 17">
            <a:extLst>
              <a:ext uri="{FF2B5EF4-FFF2-40B4-BE49-F238E27FC236}">
                <a16:creationId xmlns:a16="http://schemas.microsoft.com/office/drawing/2014/main" id="{85CE36D0-0037-687B-C777-402499BEA8DD}"/>
              </a:ext>
            </a:extLst>
          </p:cNvPr>
          <p:cNvSpPr/>
          <p:nvPr/>
        </p:nvSpPr>
        <p:spPr>
          <a:xfrm>
            <a:off x="6483258" y="2501802"/>
            <a:ext cx="4438650" cy="544546"/>
          </a:xfrm>
          <a:prstGeom prst="wedgeRoundRectCallout">
            <a:avLst>
              <a:gd name="adj1" fmla="val 52500"/>
              <a:gd name="adj2" fmla="val -1140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a:ea typeface="Verdana"/>
                <a:cs typeface="Amatic SC" panose="00000500000000000000" pitchFamily="2" charset="-79"/>
              </a:rPr>
              <a:t>… </a:t>
            </a:r>
            <a:r>
              <a:rPr lang="da-DK" sz="1200" b="1">
                <a:solidFill>
                  <a:schemeClr val="tx1"/>
                </a:solidFill>
                <a:latin typeface="Quicksand" panose="020B0604020202020204"/>
                <a:ea typeface="Verdana"/>
                <a:cs typeface="Amatic SC" panose="00000500000000000000" pitchFamily="2" charset="-79"/>
              </a:rPr>
              <a:t>alle kan arbejde med nogle opgaver, der passer til dem</a:t>
            </a:r>
            <a:r>
              <a:rPr lang="da-DK" sz="1200">
                <a:solidFill>
                  <a:schemeClr val="tx1"/>
                </a:solidFill>
                <a:latin typeface="Quicksand" panose="020B0604020202020204"/>
                <a:ea typeface="Verdana"/>
                <a:cs typeface="Amatic SC" panose="00000500000000000000" pitchFamily="2" charset="-79"/>
              </a:rPr>
              <a:t>. På den måde er vi alle sammen med bare på forskellige måder.</a:t>
            </a:r>
            <a:endParaRPr lang="da-DK" sz="1200">
              <a:solidFill>
                <a:schemeClr val="tx1"/>
              </a:solidFill>
              <a:latin typeface="Quicksand" panose="020B0604020202020204"/>
              <a:ea typeface="Verdana"/>
              <a:cs typeface="Quicksand" panose="020B0604020202020204" charset="0"/>
            </a:endParaRPr>
          </a:p>
        </p:txBody>
      </p:sp>
      <p:sp>
        <p:nvSpPr>
          <p:cNvPr id="19" name="Speech Bubble: Rectangle with Corners Rounded 18">
            <a:extLst>
              <a:ext uri="{FF2B5EF4-FFF2-40B4-BE49-F238E27FC236}">
                <a16:creationId xmlns:a16="http://schemas.microsoft.com/office/drawing/2014/main" id="{B4374174-D1E3-432D-D039-E6A1F5E2FC08}"/>
              </a:ext>
            </a:extLst>
          </p:cNvPr>
          <p:cNvSpPr/>
          <p:nvPr/>
        </p:nvSpPr>
        <p:spPr>
          <a:xfrm>
            <a:off x="6483258" y="3241013"/>
            <a:ext cx="4438650" cy="544547"/>
          </a:xfrm>
          <a:prstGeom prst="wedgeRoundRectCallout">
            <a:avLst>
              <a:gd name="adj1" fmla="val -51917"/>
              <a:gd name="adj2" fmla="val -2703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a:ea typeface="Verdana"/>
                <a:cs typeface="Amatic SC" panose="00000500000000000000" pitchFamily="2" charset="-79"/>
              </a:rPr>
              <a:t>… nogle af os piger, der arbejder godt sammen, </a:t>
            </a:r>
            <a:r>
              <a:rPr lang="da-DK" sz="1200" b="1">
                <a:solidFill>
                  <a:schemeClr val="tx1"/>
                </a:solidFill>
                <a:latin typeface="Quicksand" panose="020B0604020202020204"/>
                <a:ea typeface="Verdana"/>
                <a:cs typeface="Amatic SC" panose="00000500000000000000" pitchFamily="2" charset="-79"/>
              </a:rPr>
              <a:t>får lov til at sidde alene ude på gangen </a:t>
            </a:r>
            <a:r>
              <a:rPr lang="da-DK" sz="1200">
                <a:solidFill>
                  <a:schemeClr val="tx1"/>
                </a:solidFill>
                <a:latin typeface="Quicksand" panose="020B0604020202020204"/>
                <a:ea typeface="Verdana"/>
                <a:cs typeface="Amatic SC" panose="00000500000000000000" pitchFamily="2" charset="-79"/>
              </a:rPr>
              <a:t>og lave opgaverne.</a:t>
            </a:r>
          </a:p>
        </p:txBody>
      </p:sp>
      <p:sp>
        <p:nvSpPr>
          <p:cNvPr id="20" name="Speech Bubble: Rectangle with Corners Rounded 19">
            <a:extLst>
              <a:ext uri="{FF2B5EF4-FFF2-40B4-BE49-F238E27FC236}">
                <a16:creationId xmlns:a16="http://schemas.microsoft.com/office/drawing/2014/main" id="{6420A33C-BBFE-BAC2-2448-1AE423BE94A2}"/>
              </a:ext>
            </a:extLst>
          </p:cNvPr>
          <p:cNvSpPr/>
          <p:nvPr/>
        </p:nvSpPr>
        <p:spPr>
          <a:xfrm>
            <a:off x="6483258" y="4002859"/>
            <a:ext cx="4438650" cy="544548"/>
          </a:xfrm>
          <a:prstGeom prst="wedgeRoundRectCallout">
            <a:avLst>
              <a:gd name="adj1" fmla="val 52500"/>
              <a:gd name="adj2" fmla="val -1140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a:ea typeface="Verdana"/>
                <a:cs typeface="Amatic SC" panose="00000500000000000000" pitchFamily="2" charset="-79"/>
              </a:rPr>
              <a:t>… nogle af os får lov til at </a:t>
            </a:r>
            <a:r>
              <a:rPr lang="da-DK" sz="1200" b="1">
                <a:solidFill>
                  <a:schemeClr val="tx1"/>
                </a:solidFill>
                <a:latin typeface="Quicksand" panose="020B0604020202020204"/>
                <a:ea typeface="Verdana"/>
                <a:cs typeface="Amatic SC" panose="00000500000000000000" pitchFamily="2" charset="-79"/>
              </a:rPr>
              <a:t>arbejde to og to om opgaverne</a:t>
            </a:r>
            <a:r>
              <a:rPr lang="da-DK" sz="1200">
                <a:solidFill>
                  <a:schemeClr val="tx1"/>
                </a:solidFill>
                <a:latin typeface="Quicksand" panose="020B0604020202020204"/>
                <a:ea typeface="Verdana"/>
                <a:cs typeface="Amatic SC" panose="00000500000000000000" pitchFamily="2" charset="-79"/>
              </a:rPr>
              <a:t>, fordi man har brug for en læseven eller en der kan hjælpe med at forklare opgaverne i timen.</a:t>
            </a:r>
          </a:p>
        </p:txBody>
      </p:sp>
      <p:sp>
        <p:nvSpPr>
          <p:cNvPr id="23" name="Speech Bubble: Rectangle with Corners Rounded 22">
            <a:extLst>
              <a:ext uri="{FF2B5EF4-FFF2-40B4-BE49-F238E27FC236}">
                <a16:creationId xmlns:a16="http://schemas.microsoft.com/office/drawing/2014/main" id="{3740B37D-A55E-CD2E-0ED6-8B72E92C160F}"/>
              </a:ext>
            </a:extLst>
          </p:cNvPr>
          <p:cNvSpPr/>
          <p:nvPr/>
        </p:nvSpPr>
        <p:spPr>
          <a:xfrm>
            <a:off x="6483258" y="4814381"/>
            <a:ext cx="4438650" cy="544548"/>
          </a:xfrm>
          <a:prstGeom prst="wedgeRoundRectCallout">
            <a:avLst>
              <a:gd name="adj1" fmla="val -51917"/>
              <a:gd name="adj2" fmla="val -2703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a:ea typeface="Verdana"/>
                <a:cs typeface="Amatic SC" panose="00000500000000000000" pitchFamily="2" charset="-79"/>
              </a:rPr>
              <a:t>… </a:t>
            </a:r>
            <a:r>
              <a:rPr lang="da-DK" sz="1200" b="1">
                <a:solidFill>
                  <a:schemeClr val="tx1"/>
                </a:solidFill>
                <a:latin typeface="Quicksand" panose="020B0604020202020204"/>
                <a:ea typeface="Verdana"/>
                <a:cs typeface="Amatic SC" panose="00000500000000000000" pitchFamily="2" charset="-79"/>
              </a:rPr>
              <a:t>man får lov til at høre musik i høretelefoner</a:t>
            </a:r>
            <a:r>
              <a:rPr lang="da-DK" sz="1200">
                <a:solidFill>
                  <a:schemeClr val="tx1"/>
                </a:solidFill>
                <a:latin typeface="Quicksand" panose="020B0604020202020204"/>
                <a:ea typeface="Verdana"/>
                <a:cs typeface="Amatic SC" panose="00000500000000000000" pitchFamily="2" charset="-79"/>
              </a:rPr>
              <a:t>, mens man laver opgaver på timerne, hvis man har svært ved at koncentrere sig.</a:t>
            </a:r>
            <a:endParaRPr lang="da-DK" sz="1200">
              <a:solidFill>
                <a:schemeClr val="tx1"/>
              </a:solidFill>
              <a:latin typeface="Quicksand" panose="020B0604020202020204"/>
              <a:ea typeface="Verdana"/>
              <a:cs typeface="Quicksand" panose="020B0604020202020204" charset="0"/>
            </a:endParaRPr>
          </a:p>
        </p:txBody>
      </p:sp>
      <p:sp>
        <p:nvSpPr>
          <p:cNvPr id="24" name="Speech Bubble: Rectangle with Corners Rounded 23">
            <a:extLst>
              <a:ext uri="{FF2B5EF4-FFF2-40B4-BE49-F238E27FC236}">
                <a16:creationId xmlns:a16="http://schemas.microsoft.com/office/drawing/2014/main" id="{FD6525F6-5769-6020-95C9-0F83C6D48209}"/>
              </a:ext>
            </a:extLst>
          </p:cNvPr>
          <p:cNvSpPr/>
          <p:nvPr/>
        </p:nvSpPr>
        <p:spPr>
          <a:xfrm>
            <a:off x="1104899" y="4814381"/>
            <a:ext cx="4438650" cy="598021"/>
          </a:xfrm>
          <a:prstGeom prst="wedgeRoundRectCallout">
            <a:avLst>
              <a:gd name="adj1" fmla="val 52500"/>
              <a:gd name="adj2" fmla="val -1140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charset="0"/>
                <a:ea typeface="Verdana"/>
                <a:cs typeface="Quicksand" panose="020B0604020202020204" charset="0"/>
              </a:rPr>
              <a:t>Nogle fra klassen får lov til at bruge </a:t>
            </a:r>
            <a:r>
              <a:rPr lang="da-DK" sz="1200" b="1">
                <a:solidFill>
                  <a:schemeClr val="tx1"/>
                </a:solidFill>
                <a:latin typeface="Quicksand" panose="020B0604020202020204" charset="0"/>
                <a:ea typeface="Verdana"/>
                <a:cs typeface="Quicksand" panose="020B0604020202020204" charset="0"/>
              </a:rPr>
              <a:t>lidt længere tid på opgaverne </a:t>
            </a:r>
            <a:r>
              <a:rPr lang="da-DK" sz="1200">
                <a:solidFill>
                  <a:schemeClr val="tx1"/>
                </a:solidFill>
                <a:latin typeface="Quicksand" panose="020B0604020202020204" charset="0"/>
                <a:ea typeface="Verdana"/>
                <a:cs typeface="Quicksand" panose="020B0604020202020204" charset="0"/>
              </a:rPr>
              <a:t>end os andre. Så går vi andre ind på computeren og laver flere opgaver, når vi er færdige.</a:t>
            </a:r>
          </a:p>
        </p:txBody>
      </p:sp>
    </p:spTree>
    <p:extLst>
      <p:ext uri="{BB962C8B-B14F-4D97-AF65-F5344CB8AC3E}">
        <p14:creationId xmlns:p14="http://schemas.microsoft.com/office/powerpoint/2010/main" val="5165984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a:noFill/>
          <a:ln>
            <a:noFill/>
          </a:ln>
        </p:spPr>
        <p:txBody>
          <a:bodyPr/>
          <a:lstStyle/>
          <a:p>
            <a:fld id="{23AA811B-2EBD-4900-905E-5BE206449611}" type="slidenum">
              <a:rPr lang="da-DK" smtClean="0">
                <a:solidFill>
                  <a:schemeClr val="accent2"/>
                </a:solidFill>
              </a:rPr>
              <a:pPr/>
              <a:t>19</a:t>
            </a:fld>
            <a:endParaRPr lang="da-DK">
              <a:solidFill>
                <a:schemeClr val="accent2"/>
              </a:solidFill>
            </a:endParaRPr>
          </a:p>
        </p:txBody>
      </p:sp>
      <p:sp>
        <p:nvSpPr>
          <p:cNvPr id="10" name="Google Shape;846;p29">
            <a:extLst>
              <a:ext uri="{FF2B5EF4-FFF2-40B4-BE49-F238E27FC236}">
                <a16:creationId xmlns:a16="http://schemas.microsoft.com/office/drawing/2014/main" id="{25F9A4E7-2EB0-5254-1D0C-E517BFB235BA}"/>
              </a:ext>
            </a:extLst>
          </p:cNvPr>
          <p:cNvSpPr/>
          <p:nvPr/>
        </p:nvSpPr>
        <p:spPr>
          <a:xfrm>
            <a:off x="0" y="346309"/>
            <a:ext cx="12192001" cy="854479"/>
          </a:xfrm>
          <a:prstGeom prst="rect">
            <a:avLst/>
          </a:prstGeom>
          <a:solidFill>
            <a:schemeClr val="accent2"/>
          </a:solidFill>
          <a:ln>
            <a:noFill/>
          </a:ln>
        </p:spPr>
        <p:txBody>
          <a:bodyPr spcFirstLastPara="1" wrap="square" lIns="396000" tIns="91425" rIns="91425" bIns="91425" anchor="ctr" anchorCtr="0">
            <a:noAutofit/>
          </a:bodyPr>
          <a:lstStyle/>
          <a:p>
            <a:pPr marL="0" lvl="0" indent="0" algn="ctr">
              <a:spcBef>
                <a:spcPts val="0"/>
              </a:spcBef>
              <a:spcAft>
                <a:spcPts val="0"/>
              </a:spcAft>
              <a:buNone/>
            </a:pPr>
            <a:r>
              <a:rPr lang="da-DK" sz="3200" b="0" i="0" u="none" strike="noStrike">
                <a:solidFill>
                  <a:srgbClr val="FFFFFF"/>
                </a:solidFill>
                <a:effectLst/>
                <a:latin typeface="Amatic SC" panose="00000500000000000000" pitchFamily="2" charset="-79"/>
              </a:rPr>
              <a:t>3. Elevernes oplevelse af </a:t>
            </a:r>
            <a:r>
              <a:rPr lang="da-DK" sz="3200" b="1" i="0" u="none" strike="noStrike">
                <a:solidFill>
                  <a:srgbClr val="FFFFFF"/>
                </a:solidFill>
                <a:effectLst/>
                <a:latin typeface="Amatic SC" panose="00000500000000000000" pitchFamily="2" charset="-79"/>
              </a:rPr>
              <a:t>medbestemmelse</a:t>
            </a:r>
            <a:endParaRPr lang="da-DK" sz="3200" b="1">
              <a:solidFill>
                <a:schemeClr val="bg1"/>
              </a:solidFill>
              <a:latin typeface="Amatic SC"/>
              <a:ea typeface="Amatic SC"/>
              <a:cs typeface="Amatic SC"/>
              <a:sym typeface="Amatic SC"/>
            </a:endParaRPr>
          </a:p>
        </p:txBody>
      </p:sp>
      <p:sp>
        <p:nvSpPr>
          <p:cNvPr id="6" name="Rectangle 5">
            <a:extLst>
              <a:ext uri="{FF2B5EF4-FFF2-40B4-BE49-F238E27FC236}">
                <a16:creationId xmlns:a16="http://schemas.microsoft.com/office/drawing/2014/main" id="{4E145D63-C706-554C-BEAD-46F441844BA9}"/>
              </a:ext>
            </a:extLst>
          </p:cNvPr>
          <p:cNvSpPr/>
          <p:nvPr/>
        </p:nvSpPr>
        <p:spPr>
          <a:xfrm>
            <a:off x="6319157" y="2221944"/>
            <a:ext cx="4767944" cy="3403959"/>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8" name="TextBox 7">
            <a:extLst>
              <a:ext uri="{FF2B5EF4-FFF2-40B4-BE49-F238E27FC236}">
                <a16:creationId xmlns:a16="http://schemas.microsoft.com/office/drawing/2014/main" id="{BF1B1437-A169-EFF5-39C7-146C7ADE4571}"/>
              </a:ext>
            </a:extLst>
          </p:cNvPr>
          <p:cNvSpPr txBox="1"/>
          <p:nvPr/>
        </p:nvSpPr>
        <p:spPr>
          <a:xfrm>
            <a:off x="6319157" y="1640891"/>
            <a:ext cx="4767944" cy="666246"/>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2000" b="1">
                <a:latin typeface="Amatic SC"/>
                <a:ea typeface="Amatic SC"/>
                <a:cs typeface="Amatic SC"/>
                <a:sym typeface="Amatic SC"/>
              </a:rPr>
              <a:t>Eleverne oplever medbestemmelse i undervisningen, når…</a:t>
            </a:r>
            <a:endParaRPr lang="da-DK" sz="2000" b="1">
              <a:latin typeface="Amatic SC" panose="00000500000000000000" pitchFamily="2" charset="-79"/>
              <a:cs typeface="Amatic SC" panose="00000500000000000000" pitchFamily="2" charset="-79"/>
            </a:endParaRPr>
          </a:p>
        </p:txBody>
      </p:sp>
      <p:sp>
        <p:nvSpPr>
          <p:cNvPr id="2" name="Rectangle 1">
            <a:extLst>
              <a:ext uri="{FF2B5EF4-FFF2-40B4-BE49-F238E27FC236}">
                <a16:creationId xmlns:a16="http://schemas.microsoft.com/office/drawing/2014/main" id="{6CB42240-6350-3E0A-32C5-C44BE2CACA96}"/>
              </a:ext>
            </a:extLst>
          </p:cNvPr>
          <p:cNvSpPr/>
          <p:nvPr/>
        </p:nvSpPr>
        <p:spPr>
          <a:xfrm>
            <a:off x="959035" y="2221944"/>
            <a:ext cx="4767944" cy="3403959"/>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3" name="TextBox 2">
            <a:extLst>
              <a:ext uri="{FF2B5EF4-FFF2-40B4-BE49-F238E27FC236}">
                <a16:creationId xmlns:a16="http://schemas.microsoft.com/office/drawing/2014/main" id="{C01053F9-7D5A-90AB-C22A-1DD8050C5F7C}"/>
              </a:ext>
            </a:extLst>
          </p:cNvPr>
          <p:cNvSpPr txBox="1"/>
          <p:nvPr/>
        </p:nvSpPr>
        <p:spPr>
          <a:xfrm>
            <a:off x="959035" y="1640891"/>
            <a:ext cx="4767944" cy="666246"/>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2000" b="1">
                <a:latin typeface="Amatic SC"/>
                <a:ea typeface="Amatic SC"/>
                <a:cs typeface="Amatic SC"/>
                <a:sym typeface="Amatic SC"/>
              </a:rPr>
              <a:t>Eleverne oplever begrænset medbestemmelse</a:t>
            </a:r>
            <a:endParaRPr lang="da-DK" sz="2000" b="1">
              <a:latin typeface="Amatic SC" panose="00000500000000000000" pitchFamily="2" charset="-79"/>
              <a:cs typeface="Amatic SC" panose="00000500000000000000" pitchFamily="2" charset="-79"/>
            </a:endParaRPr>
          </a:p>
        </p:txBody>
      </p:sp>
      <p:sp>
        <p:nvSpPr>
          <p:cNvPr id="9" name="Speech Bubble: Rectangle with Corners Rounded 8">
            <a:extLst>
              <a:ext uri="{FF2B5EF4-FFF2-40B4-BE49-F238E27FC236}">
                <a16:creationId xmlns:a16="http://schemas.microsoft.com/office/drawing/2014/main" id="{C9AB2A05-B952-760F-B3AD-9CBDE7D396E9}"/>
              </a:ext>
            </a:extLst>
          </p:cNvPr>
          <p:cNvSpPr/>
          <p:nvPr/>
        </p:nvSpPr>
        <p:spPr>
          <a:xfrm>
            <a:off x="1123682" y="2402871"/>
            <a:ext cx="4438650" cy="457299"/>
          </a:xfrm>
          <a:prstGeom prst="wedgeRoundRectCallout">
            <a:avLst>
              <a:gd name="adj1" fmla="val -51917"/>
              <a:gd name="adj2" fmla="val -2703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charset="0"/>
                <a:ea typeface="Verdana"/>
                <a:cs typeface="Quicksand" panose="020B0604020202020204" charset="0"/>
              </a:rPr>
              <a:t>Vi får nogle gange lov til at bestemme, </a:t>
            </a:r>
            <a:r>
              <a:rPr lang="da-DK" sz="1200" b="1">
                <a:solidFill>
                  <a:schemeClr val="tx1"/>
                </a:solidFill>
                <a:latin typeface="Quicksand" panose="020B0604020202020204" charset="0"/>
                <a:ea typeface="Verdana"/>
                <a:cs typeface="Quicksand" panose="020B0604020202020204" charset="0"/>
              </a:rPr>
              <a:t>om vi vil arbejde to og to</a:t>
            </a:r>
            <a:r>
              <a:rPr lang="da-DK" sz="1200">
                <a:solidFill>
                  <a:schemeClr val="tx1"/>
                </a:solidFill>
                <a:latin typeface="Quicksand" panose="020B0604020202020204" charset="0"/>
                <a:ea typeface="Verdana"/>
                <a:cs typeface="Quicksand" panose="020B0604020202020204" charset="0"/>
              </a:rPr>
              <a:t>, men vi får ikke lov til at bestemme, hvem vi vil arbejde med.</a:t>
            </a:r>
          </a:p>
        </p:txBody>
      </p:sp>
      <p:sp>
        <p:nvSpPr>
          <p:cNvPr id="14" name="Speech Bubble: Rectangle with Corners Rounded 13">
            <a:extLst>
              <a:ext uri="{FF2B5EF4-FFF2-40B4-BE49-F238E27FC236}">
                <a16:creationId xmlns:a16="http://schemas.microsoft.com/office/drawing/2014/main" id="{9D942C8F-7617-8324-E339-E8962A7E694C}"/>
              </a:ext>
            </a:extLst>
          </p:cNvPr>
          <p:cNvSpPr/>
          <p:nvPr/>
        </p:nvSpPr>
        <p:spPr>
          <a:xfrm>
            <a:off x="1117643" y="2949910"/>
            <a:ext cx="4438650" cy="444754"/>
          </a:xfrm>
          <a:prstGeom prst="wedgeRoundRectCallout">
            <a:avLst>
              <a:gd name="adj1" fmla="val 52500"/>
              <a:gd name="adj2" fmla="val -1140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charset="0"/>
                <a:ea typeface="Verdana"/>
                <a:cs typeface="Quicksand" panose="020B0604020202020204" charset="0"/>
              </a:rPr>
              <a:t>Nogle gange får vi lov til at bestemme, </a:t>
            </a:r>
            <a:r>
              <a:rPr lang="da-DK" sz="1200" b="1">
                <a:solidFill>
                  <a:schemeClr val="tx1"/>
                </a:solidFill>
                <a:latin typeface="Quicksand" panose="020B0604020202020204" charset="0"/>
                <a:ea typeface="Verdana"/>
                <a:cs typeface="Quicksand" panose="020B0604020202020204" charset="0"/>
              </a:rPr>
              <a:t>hvornår vi holder pauser </a:t>
            </a:r>
            <a:r>
              <a:rPr lang="da-DK" sz="1200">
                <a:solidFill>
                  <a:schemeClr val="tx1"/>
                </a:solidFill>
                <a:latin typeface="Quicksand" panose="020B0604020202020204" charset="0"/>
                <a:ea typeface="Verdana"/>
                <a:cs typeface="Quicksand" panose="020B0604020202020204" charset="0"/>
              </a:rPr>
              <a:t>i timen.</a:t>
            </a:r>
          </a:p>
        </p:txBody>
      </p:sp>
      <p:sp>
        <p:nvSpPr>
          <p:cNvPr id="15" name="Speech Bubble: Rectangle with Corners Rounded 14">
            <a:extLst>
              <a:ext uri="{FF2B5EF4-FFF2-40B4-BE49-F238E27FC236}">
                <a16:creationId xmlns:a16="http://schemas.microsoft.com/office/drawing/2014/main" id="{83B11E63-ACBD-E8A9-B1CE-320E9A72FC72}"/>
              </a:ext>
            </a:extLst>
          </p:cNvPr>
          <p:cNvSpPr/>
          <p:nvPr/>
        </p:nvSpPr>
        <p:spPr>
          <a:xfrm>
            <a:off x="1117643" y="3484404"/>
            <a:ext cx="4438650" cy="665059"/>
          </a:xfrm>
          <a:prstGeom prst="wedgeRoundRectCallout">
            <a:avLst>
              <a:gd name="adj1" fmla="val -51917"/>
              <a:gd name="adj2" fmla="val -2703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charset="0"/>
                <a:ea typeface="Verdana"/>
                <a:cs typeface="Quicksand" panose="020B0604020202020204" charset="0"/>
              </a:rPr>
              <a:t>Vores lærer har tit planlagt, hvad vi skal på timen, </a:t>
            </a:r>
            <a:r>
              <a:rPr lang="da-DK" sz="1200" b="1">
                <a:solidFill>
                  <a:schemeClr val="tx1"/>
                </a:solidFill>
                <a:latin typeface="Quicksand" panose="020B0604020202020204" charset="0"/>
                <a:ea typeface="Verdana"/>
                <a:cs typeface="Quicksand" panose="020B0604020202020204" charset="0"/>
              </a:rPr>
              <a:t>og så er det lidt svært at sige, hvis man har nogle andre ideer</a:t>
            </a:r>
            <a:r>
              <a:rPr lang="da-DK" sz="1200">
                <a:solidFill>
                  <a:schemeClr val="tx1"/>
                </a:solidFill>
                <a:latin typeface="Quicksand" panose="020B0604020202020204" charset="0"/>
                <a:ea typeface="Verdana"/>
                <a:cs typeface="Quicksand" panose="020B0604020202020204" charset="0"/>
              </a:rPr>
              <a:t>, når det allerede er bestemt.</a:t>
            </a:r>
            <a:endParaRPr lang="da-DK" sz="1200" b="1">
              <a:solidFill>
                <a:schemeClr val="tx1"/>
              </a:solidFill>
              <a:latin typeface="Quicksand" panose="020B0604020202020204" charset="0"/>
              <a:ea typeface="Verdana"/>
              <a:cs typeface="Quicksand" panose="020B0604020202020204" charset="0"/>
            </a:endParaRPr>
          </a:p>
        </p:txBody>
      </p:sp>
      <p:sp>
        <p:nvSpPr>
          <p:cNvPr id="16" name="Speech Bubble: Rectangle with Corners Rounded 15">
            <a:extLst>
              <a:ext uri="{FF2B5EF4-FFF2-40B4-BE49-F238E27FC236}">
                <a16:creationId xmlns:a16="http://schemas.microsoft.com/office/drawing/2014/main" id="{38CAF2AD-E9F3-84BE-23D8-BF30881504F6}"/>
              </a:ext>
            </a:extLst>
          </p:cNvPr>
          <p:cNvSpPr/>
          <p:nvPr/>
        </p:nvSpPr>
        <p:spPr>
          <a:xfrm>
            <a:off x="1117643" y="4235659"/>
            <a:ext cx="4438650" cy="659571"/>
          </a:xfrm>
          <a:prstGeom prst="wedgeRoundRectCallout">
            <a:avLst>
              <a:gd name="adj1" fmla="val 52500"/>
              <a:gd name="adj2" fmla="val -1140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b="1">
                <a:solidFill>
                  <a:schemeClr val="tx1"/>
                </a:solidFill>
                <a:latin typeface="Quicksand" panose="020B0604020202020204"/>
              </a:rPr>
              <a:t>Jeg kunne godt tænke mig at få lov til at bestemme lidt mere. </a:t>
            </a:r>
            <a:r>
              <a:rPr lang="da-DK" sz="1200">
                <a:solidFill>
                  <a:schemeClr val="tx1"/>
                </a:solidFill>
                <a:latin typeface="Quicksand" panose="020B0604020202020204"/>
              </a:rPr>
              <a:t>Måske de bare en gang imellem kunne spørger ind til, om det her emne kunne være interessant at arbejde med.</a:t>
            </a:r>
          </a:p>
        </p:txBody>
      </p:sp>
      <p:sp>
        <p:nvSpPr>
          <p:cNvPr id="17" name="Speech Bubble: Rectangle with Corners Rounded 16">
            <a:extLst>
              <a:ext uri="{FF2B5EF4-FFF2-40B4-BE49-F238E27FC236}">
                <a16:creationId xmlns:a16="http://schemas.microsoft.com/office/drawing/2014/main" id="{57A9FACF-9FE0-7F45-C3B7-D5D5D5EC8900}"/>
              </a:ext>
            </a:extLst>
          </p:cNvPr>
          <p:cNvSpPr/>
          <p:nvPr/>
        </p:nvSpPr>
        <p:spPr>
          <a:xfrm>
            <a:off x="6483258" y="2394758"/>
            <a:ext cx="4438650" cy="589623"/>
          </a:xfrm>
          <a:prstGeom prst="wedgeRoundRectCallout">
            <a:avLst>
              <a:gd name="adj1" fmla="val -51917"/>
              <a:gd name="adj2" fmla="val -2703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a:ea typeface="Verdana"/>
                <a:cs typeface="Amatic SC" panose="00000500000000000000" pitchFamily="2" charset="-79"/>
              </a:rPr>
              <a:t>… lærerne kommer ind og giver os lidt medbestemmelse ift., hvad vi skal lave i timerne, </a:t>
            </a:r>
            <a:r>
              <a:rPr lang="da-DK" sz="1200" b="1">
                <a:solidFill>
                  <a:schemeClr val="tx1"/>
                </a:solidFill>
                <a:latin typeface="Quicksand" panose="020B0604020202020204"/>
                <a:ea typeface="Verdana"/>
                <a:cs typeface="Amatic SC" panose="00000500000000000000" pitchFamily="2" charset="-79"/>
              </a:rPr>
              <a:t>så man har mere lyst til at deltage i det. </a:t>
            </a:r>
          </a:p>
        </p:txBody>
      </p:sp>
      <p:sp>
        <p:nvSpPr>
          <p:cNvPr id="18" name="Speech Bubble: Rectangle with Corners Rounded 17">
            <a:extLst>
              <a:ext uri="{FF2B5EF4-FFF2-40B4-BE49-F238E27FC236}">
                <a16:creationId xmlns:a16="http://schemas.microsoft.com/office/drawing/2014/main" id="{91235181-8FB2-5BC9-24BE-CF88A4B953E7}"/>
              </a:ext>
            </a:extLst>
          </p:cNvPr>
          <p:cNvSpPr/>
          <p:nvPr/>
        </p:nvSpPr>
        <p:spPr>
          <a:xfrm>
            <a:off x="6483258" y="3067366"/>
            <a:ext cx="4438650" cy="551306"/>
          </a:xfrm>
          <a:prstGeom prst="wedgeRoundRectCallout">
            <a:avLst>
              <a:gd name="adj1" fmla="val 52500"/>
              <a:gd name="adj2" fmla="val -1140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a:ea typeface="Verdana"/>
                <a:cs typeface="Amatic SC" panose="00000500000000000000" pitchFamily="2" charset="-79"/>
              </a:rPr>
              <a:t>… vi er med til at bestemme, </a:t>
            </a:r>
            <a:r>
              <a:rPr lang="da-DK" sz="1200" b="1">
                <a:solidFill>
                  <a:schemeClr val="tx1"/>
                </a:solidFill>
                <a:latin typeface="Quicksand" panose="020B0604020202020204"/>
                <a:ea typeface="Verdana"/>
                <a:cs typeface="Amatic SC" panose="00000500000000000000" pitchFamily="2" charset="-79"/>
              </a:rPr>
              <a:t>hvordan vi behandler hinanden i klassen</a:t>
            </a:r>
            <a:r>
              <a:rPr lang="da-DK" sz="1200">
                <a:solidFill>
                  <a:schemeClr val="tx1"/>
                </a:solidFill>
                <a:latin typeface="Quicksand" panose="020B0604020202020204"/>
                <a:ea typeface="Verdana"/>
                <a:cs typeface="Amatic SC" panose="00000500000000000000" pitchFamily="2" charset="-79"/>
              </a:rPr>
              <a:t>. Vi har fx regler om, at man ikke må kalde hinanden grimme ting.</a:t>
            </a:r>
            <a:endParaRPr lang="da-DK" sz="1200">
              <a:solidFill>
                <a:schemeClr val="tx1"/>
              </a:solidFill>
              <a:latin typeface="Quicksand" panose="020B0604020202020204"/>
              <a:ea typeface="Verdana"/>
              <a:cs typeface="Quicksand" panose="020B0604020202020204" charset="0"/>
            </a:endParaRPr>
          </a:p>
        </p:txBody>
      </p:sp>
      <p:sp>
        <p:nvSpPr>
          <p:cNvPr id="19" name="Speech Bubble: Rectangle with Corners Rounded 18">
            <a:extLst>
              <a:ext uri="{FF2B5EF4-FFF2-40B4-BE49-F238E27FC236}">
                <a16:creationId xmlns:a16="http://schemas.microsoft.com/office/drawing/2014/main" id="{05757C57-57A9-E42A-2F4A-E59BF779DDB0}"/>
              </a:ext>
            </a:extLst>
          </p:cNvPr>
          <p:cNvSpPr/>
          <p:nvPr/>
        </p:nvSpPr>
        <p:spPr>
          <a:xfrm>
            <a:off x="6483258" y="3702835"/>
            <a:ext cx="4438650" cy="551306"/>
          </a:xfrm>
          <a:prstGeom prst="wedgeRoundRectCallout">
            <a:avLst>
              <a:gd name="adj1" fmla="val -51917"/>
              <a:gd name="adj2" fmla="val -2703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a:ea typeface="Verdana"/>
                <a:cs typeface="Amatic SC" panose="00000500000000000000" pitchFamily="2" charset="-79"/>
              </a:rPr>
              <a:t>… læreren spørger, om vi helst vil arbejde i e-bog eller i hæfte. Så kan vi nogle gange vælge mellem </a:t>
            </a:r>
            <a:r>
              <a:rPr lang="da-DK" sz="1200" b="1">
                <a:solidFill>
                  <a:schemeClr val="tx1"/>
                </a:solidFill>
                <a:latin typeface="Quicksand" panose="020B0604020202020204"/>
                <a:ea typeface="Verdana"/>
                <a:cs typeface="Amatic SC" panose="00000500000000000000" pitchFamily="2" charset="-79"/>
              </a:rPr>
              <a:t>forskellige hæfter og bøger</a:t>
            </a:r>
            <a:r>
              <a:rPr lang="da-DK" sz="1200">
                <a:solidFill>
                  <a:schemeClr val="tx1"/>
                </a:solidFill>
                <a:latin typeface="Quicksand" panose="020B0604020202020204"/>
                <a:ea typeface="Verdana"/>
                <a:cs typeface="Amatic SC" panose="00000500000000000000" pitchFamily="2" charset="-79"/>
              </a:rPr>
              <a:t>.</a:t>
            </a:r>
          </a:p>
        </p:txBody>
      </p:sp>
      <p:sp>
        <p:nvSpPr>
          <p:cNvPr id="20" name="Speech Bubble: Rectangle with Corners Rounded 19">
            <a:extLst>
              <a:ext uri="{FF2B5EF4-FFF2-40B4-BE49-F238E27FC236}">
                <a16:creationId xmlns:a16="http://schemas.microsoft.com/office/drawing/2014/main" id="{8F6C6D87-68DF-3E6B-B150-C2725E4CF96D}"/>
              </a:ext>
            </a:extLst>
          </p:cNvPr>
          <p:cNvSpPr/>
          <p:nvPr/>
        </p:nvSpPr>
        <p:spPr>
          <a:xfrm>
            <a:off x="6483258" y="4338304"/>
            <a:ext cx="4438650" cy="599511"/>
          </a:xfrm>
          <a:prstGeom prst="wedgeRoundRectCallout">
            <a:avLst>
              <a:gd name="adj1" fmla="val 52500"/>
              <a:gd name="adj2" fmla="val -1140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a:ea typeface="Verdana"/>
                <a:cs typeface="Amatic SC" panose="00000500000000000000" pitchFamily="2" charset="-79"/>
              </a:rPr>
              <a:t>… </a:t>
            </a:r>
            <a:r>
              <a:rPr lang="da-DK" sz="1200" b="1">
                <a:solidFill>
                  <a:schemeClr val="tx1"/>
                </a:solidFill>
                <a:latin typeface="Quicksand" panose="020B0604020202020204"/>
                <a:ea typeface="Verdana"/>
                <a:cs typeface="Amatic SC" panose="00000500000000000000" pitchFamily="2" charset="-79"/>
              </a:rPr>
              <a:t>vi evaluerer undervisningen til sidst på timen</a:t>
            </a:r>
            <a:r>
              <a:rPr lang="da-DK" sz="1200">
                <a:solidFill>
                  <a:schemeClr val="tx1"/>
                </a:solidFill>
                <a:latin typeface="Quicksand" panose="020B0604020202020204"/>
                <a:ea typeface="Verdana"/>
                <a:cs typeface="Amatic SC" panose="00000500000000000000" pitchFamily="2" charset="-79"/>
              </a:rPr>
              <a:t>. Vi bliver næsten altid spurgt til, hvordan vi synes timen har været, og hvad vi har lært og kunne tænke os næste gang.</a:t>
            </a:r>
            <a:endParaRPr lang="da-DK" sz="1200">
              <a:solidFill>
                <a:schemeClr val="tx1"/>
              </a:solidFill>
              <a:latin typeface="Quicksand" panose="020B0604020202020204"/>
            </a:endParaRPr>
          </a:p>
        </p:txBody>
      </p:sp>
      <p:sp>
        <p:nvSpPr>
          <p:cNvPr id="21" name="Speech Bubble: Rectangle with Corners Rounded 20">
            <a:extLst>
              <a:ext uri="{FF2B5EF4-FFF2-40B4-BE49-F238E27FC236}">
                <a16:creationId xmlns:a16="http://schemas.microsoft.com/office/drawing/2014/main" id="{B1EA0EF9-1B66-FF0F-9F1D-B329BCEC953B}"/>
              </a:ext>
            </a:extLst>
          </p:cNvPr>
          <p:cNvSpPr/>
          <p:nvPr/>
        </p:nvSpPr>
        <p:spPr>
          <a:xfrm>
            <a:off x="6483258" y="5018268"/>
            <a:ext cx="4438650" cy="457299"/>
          </a:xfrm>
          <a:prstGeom prst="wedgeRoundRectCallout">
            <a:avLst>
              <a:gd name="adj1" fmla="val -51917"/>
              <a:gd name="adj2" fmla="val -2703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a:cs typeface="Amatic SC" panose="00000500000000000000" pitchFamily="2" charset="-79"/>
              </a:rPr>
              <a:t>… vi selv må bestemme, om vi vil blive </a:t>
            </a:r>
            <a:r>
              <a:rPr lang="da-DK" sz="1200" b="1">
                <a:solidFill>
                  <a:schemeClr val="tx1"/>
                </a:solidFill>
                <a:latin typeface="Quicksand" panose="020B0604020202020204"/>
                <a:cs typeface="Amatic SC" panose="00000500000000000000" pitchFamily="2" charset="-79"/>
              </a:rPr>
              <a:t>inde i klassen, eller vi hellere vil gå udenfor </a:t>
            </a:r>
            <a:r>
              <a:rPr lang="da-DK" sz="1200">
                <a:solidFill>
                  <a:schemeClr val="tx1"/>
                </a:solidFill>
                <a:latin typeface="Quicksand" panose="020B0604020202020204"/>
                <a:cs typeface="Amatic SC" panose="00000500000000000000" pitchFamily="2" charset="-79"/>
              </a:rPr>
              <a:t>og løse en opgave.</a:t>
            </a:r>
          </a:p>
        </p:txBody>
      </p:sp>
      <p:sp>
        <p:nvSpPr>
          <p:cNvPr id="24" name="Speech Bubble: Rectangle with Corners Rounded 23">
            <a:extLst>
              <a:ext uri="{FF2B5EF4-FFF2-40B4-BE49-F238E27FC236}">
                <a16:creationId xmlns:a16="http://schemas.microsoft.com/office/drawing/2014/main" id="{2D6D19CA-3E60-097D-E5AC-455ED8BCAE94}"/>
              </a:ext>
            </a:extLst>
          </p:cNvPr>
          <p:cNvSpPr/>
          <p:nvPr/>
        </p:nvSpPr>
        <p:spPr>
          <a:xfrm>
            <a:off x="1104899" y="4990458"/>
            <a:ext cx="4438650" cy="512921"/>
          </a:xfrm>
          <a:prstGeom prst="wedgeRoundRectCallout">
            <a:avLst>
              <a:gd name="adj1" fmla="val -51917"/>
              <a:gd name="adj2" fmla="val -2703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a:rPr>
              <a:t>Lærerne </a:t>
            </a:r>
            <a:r>
              <a:rPr lang="da-DK" sz="1200" b="1">
                <a:solidFill>
                  <a:schemeClr val="tx1"/>
                </a:solidFill>
                <a:latin typeface="Quicksand" panose="020B0604020202020204"/>
              </a:rPr>
              <a:t>tager det til sig</a:t>
            </a:r>
            <a:r>
              <a:rPr lang="da-DK" sz="1200">
                <a:solidFill>
                  <a:schemeClr val="tx1"/>
                </a:solidFill>
                <a:latin typeface="Quicksand" panose="020B0604020202020204"/>
              </a:rPr>
              <a:t>, når de spørger, hvad de skal gøre bedre til næste gang.</a:t>
            </a:r>
          </a:p>
        </p:txBody>
      </p:sp>
    </p:spTree>
    <p:extLst>
      <p:ext uri="{BB962C8B-B14F-4D97-AF65-F5344CB8AC3E}">
        <p14:creationId xmlns:p14="http://schemas.microsoft.com/office/powerpoint/2010/main" val="41756850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pSp>
        <p:nvGrpSpPr>
          <p:cNvPr id="2" name="Google Shape;437;p8">
            <a:extLst>
              <a:ext uri="{FF2B5EF4-FFF2-40B4-BE49-F238E27FC236}">
                <a16:creationId xmlns:a16="http://schemas.microsoft.com/office/drawing/2014/main" id="{736F1108-49BC-3E51-A9ED-FA0E5328A7F4}"/>
              </a:ext>
            </a:extLst>
          </p:cNvPr>
          <p:cNvGrpSpPr/>
          <p:nvPr/>
        </p:nvGrpSpPr>
        <p:grpSpPr>
          <a:xfrm>
            <a:off x="-73611" y="71279"/>
            <a:ext cx="12215916" cy="1107752"/>
            <a:chOff x="27613" y="470447"/>
            <a:chExt cx="9161944" cy="830814"/>
          </a:xfrm>
        </p:grpSpPr>
        <p:sp>
          <p:nvSpPr>
            <p:cNvPr id="6" name="Google Shape;438;p8">
              <a:extLst>
                <a:ext uri="{FF2B5EF4-FFF2-40B4-BE49-F238E27FC236}">
                  <a16:creationId xmlns:a16="http://schemas.microsoft.com/office/drawing/2014/main" id="{8B5E1545-F89E-B9AC-122F-4763CA034473}"/>
                </a:ext>
              </a:extLst>
            </p:cNvPr>
            <p:cNvSpPr/>
            <p:nvPr/>
          </p:nvSpPr>
          <p:spPr>
            <a:xfrm>
              <a:off x="2176354" y="708034"/>
              <a:ext cx="281779" cy="397462"/>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8" name="Google Shape;439;p8">
              <a:extLst>
                <a:ext uri="{FF2B5EF4-FFF2-40B4-BE49-F238E27FC236}">
                  <a16:creationId xmlns:a16="http://schemas.microsoft.com/office/drawing/2014/main" id="{746074B1-6433-0719-E367-B8A1527CEE1A}"/>
                </a:ext>
              </a:extLst>
            </p:cNvPr>
            <p:cNvSpPr/>
            <p:nvPr/>
          </p:nvSpPr>
          <p:spPr>
            <a:xfrm>
              <a:off x="552323" y="912340"/>
              <a:ext cx="339086" cy="309912"/>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9" name="Google Shape;440;p8">
              <a:extLst>
                <a:ext uri="{FF2B5EF4-FFF2-40B4-BE49-F238E27FC236}">
                  <a16:creationId xmlns:a16="http://schemas.microsoft.com/office/drawing/2014/main" id="{22C8BB42-0EDA-5A99-FAEC-036EFBB1FC3A}"/>
                </a:ext>
              </a:extLst>
            </p:cNvPr>
            <p:cNvSpPr/>
            <p:nvPr/>
          </p:nvSpPr>
          <p:spPr>
            <a:xfrm rot="-2700000">
              <a:off x="4913658" y="470447"/>
              <a:ext cx="181249" cy="400170"/>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1" name="Google Shape;441;p8">
              <a:extLst>
                <a:ext uri="{FF2B5EF4-FFF2-40B4-BE49-F238E27FC236}">
                  <a16:creationId xmlns:a16="http://schemas.microsoft.com/office/drawing/2014/main" id="{94DFC4DA-D23F-BE38-8449-32C1D763F0EB}"/>
                </a:ext>
              </a:extLst>
            </p:cNvPr>
            <p:cNvSpPr/>
            <p:nvPr/>
          </p:nvSpPr>
          <p:spPr>
            <a:xfrm rot="-1967309">
              <a:off x="27613" y="549243"/>
              <a:ext cx="142154" cy="312221"/>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2" name="Google Shape;442;p8">
              <a:extLst>
                <a:ext uri="{FF2B5EF4-FFF2-40B4-BE49-F238E27FC236}">
                  <a16:creationId xmlns:a16="http://schemas.microsoft.com/office/drawing/2014/main" id="{BB609EFC-C731-AF12-E9C5-EB6C61D339F0}"/>
                </a:ext>
              </a:extLst>
            </p:cNvPr>
            <p:cNvSpPr/>
            <p:nvPr/>
          </p:nvSpPr>
          <p:spPr>
            <a:xfrm>
              <a:off x="6508977" y="1054156"/>
              <a:ext cx="212880" cy="143991"/>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4" name="Google Shape;443;p8">
              <a:extLst>
                <a:ext uri="{FF2B5EF4-FFF2-40B4-BE49-F238E27FC236}">
                  <a16:creationId xmlns:a16="http://schemas.microsoft.com/office/drawing/2014/main" id="{2B91B282-B92E-2F4E-0F6F-956FDE5A5220}"/>
                </a:ext>
              </a:extLst>
            </p:cNvPr>
            <p:cNvSpPr/>
            <p:nvPr/>
          </p:nvSpPr>
          <p:spPr>
            <a:xfrm>
              <a:off x="4683118" y="1001445"/>
              <a:ext cx="272854" cy="185024"/>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5" name="Google Shape;444;p8">
              <a:extLst>
                <a:ext uri="{FF2B5EF4-FFF2-40B4-BE49-F238E27FC236}">
                  <a16:creationId xmlns:a16="http://schemas.microsoft.com/office/drawing/2014/main" id="{4561FB7E-EA00-4479-D064-0E492D302D53}"/>
                </a:ext>
              </a:extLst>
            </p:cNvPr>
            <p:cNvSpPr/>
            <p:nvPr/>
          </p:nvSpPr>
          <p:spPr>
            <a:xfrm rot="3663599">
              <a:off x="5966469" y="976075"/>
              <a:ext cx="204754" cy="377157"/>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6" name="Google Shape;445;p8">
              <a:extLst>
                <a:ext uri="{FF2B5EF4-FFF2-40B4-BE49-F238E27FC236}">
                  <a16:creationId xmlns:a16="http://schemas.microsoft.com/office/drawing/2014/main" id="{3B47059F-2486-89F3-DFCC-61E97E83AECB}"/>
                </a:ext>
              </a:extLst>
            </p:cNvPr>
            <p:cNvSpPr/>
            <p:nvPr/>
          </p:nvSpPr>
          <p:spPr>
            <a:xfrm rot="-3368760">
              <a:off x="5437768" y="638636"/>
              <a:ext cx="351278" cy="93987"/>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7" name="Google Shape;446;p8">
              <a:extLst>
                <a:ext uri="{FF2B5EF4-FFF2-40B4-BE49-F238E27FC236}">
                  <a16:creationId xmlns:a16="http://schemas.microsoft.com/office/drawing/2014/main" id="{768D560C-990D-0E28-D209-0A20C3A842DB}"/>
                </a:ext>
              </a:extLst>
            </p:cNvPr>
            <p:cNvSpPr/>
            <p:nvPr/>
          </p:nvSpPr>
          <p:spPr>
            <a:xfrm rot="3013936">
              <a:off x="1856192" y="906044"/>
              <a:ext cx="112704" cy="289910"/>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8" name="Google Shape;447;p8">
              <a:extLst>
                <a:ext uri="{FF2B5EF4-FFF2-40B4-BE49-F238E27FC236}">
                  <a16:creationId xmlns:a16="http://schemas.microsoft.com/office/drawing/2014/main" id="{B3AEF440-E329-181C-4F6C-194776C5731D}"/>
                </a:ext>
              </a:extLst>
            </p:cNvPr>
            <p:cNvSpPr/>
            <p:nvPr/>
          </p:nvSpPr>
          <p:spPr>
            <a:xfrm rot="2198047">
              <a:off x="3510054" y="793341"/>
              <a:ext cx="140231" cy="36705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9" name="Google Shape;448;p8">
              <a:extLst>
                <a:ext uri="{FF2B5EF4-FFF2-40B4-BE49-F238E27FC236}">
                  <a16:creationId xmlns:a16="http://schemas.microsoft.com/office/drawing/2014/main" id="{EA8D5DE9-AF42-D7F7-6E39-3598C6211B94}"/>
                </a:ext>
              </a:extLst>
            </p:cNvPr>
            <p:cNvSpPr/>
            <p:nvPr/>
          </p:nvSpPr>
          <p:spPr>
            <a:xfrm rot="9906392">
              <a:off x="7295836" y="1033664"/>
              <a:ext cx="191420" cy="182909"/>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0" name="Google Shape;449;p8">
              <a:extLst>
                <a:ext uri="{FF2B5EF4-FFF2-40B4-BE49-F238E27FC236}">
                  <a16:creationId xmlns:a16="http://schemas.microsoft.com/office/drawing/2014/main" id="{86CBCA0D-2D0E-5A1A-1187-66A737FFFF97}"/>
                </a:ext>
              </a:extLst>
            </p:cNvPr>
            <p:cNvSpPr/>
            <p:nvPr/>
          </p:nvSpPr>
          <p:spPr>
            <a:xfrm>
              <a:off x="301831" y="611168"/>
              <a:ext cx="314135" cy="349552"/>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1" name="Google Shape;450;p8">
              <a:extLst>
                <a:ext uri="{FF2B5EF4-FFF2-40B4-BE49-F238E27FC236}">
                  <a16:creationId xmlns:a16="http://schemas.microsoft.com/office/drawing/2014/main" id="{825F3D7B-AA92-A34F-3964-4AED60197E0B}"/>
                </a:ext>
              </a:extLst>
            </p:cNvPr>
            <p:cNvSpPr/>
            <p:nvPr/>
          </p:nvSpPr>
          <p:spPr>
            <a:xfrm>
              <a:off x="5200465" y="821938"/>
              <a:ext cx="313748" cy="356086"/>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3" name="Google Shape;451;p8">
              <a:extLst>
                <a:ext uri="{FF2B5EF4-FFF2-40B4-BE49-F238E27FC236}">
                  <a16:creationId xmlns:a16="http://schemas.microsoft.com/office/drawing/2014/main" id="{4D4B06CB-76BC-F6E1-F9DF-B4F737F7A106}"/>
                </a:ext>
              </a:extLst>
            </p:cNvPr>
            <p:cNvSpPr/>
            <p:nvPr/>
          </p:nvSpPr>
          <p:spPr>
            <a:xfrm rot="-988374">
              <a:off x="8793699" y="981136"/>
              <a:ext cx="395858" cy="320125"/>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4" name="Google Shape;452;p8">
              <a:extLst>
                <a:ext uri="{FF2B5EF4-FFF2-40B4-BE49-F238E27FC236}">
                  <a16:creationId xmlns:a16="http://schemas.microsoft.com/office/drawing/2014/main" id="{B84E5714-A108-B7C2-0BED-31F03E786332}"/>
                </a:ext>
              </a:extLst>
            </p:cNvPr>
            <p:cNvSpPr/>
            <p:nvPr/>
          </p:nvSpPr>
          <p:spPr>
            <a:xfrm rot="1179229">
              <a:off x="6978602" y="547675"/>
              <a:ext cx="347146" cy="378286"/>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5" name="Google Shape;453;p8">
              <a:extLst>
                <a:ext uri="{FF2B5EF4-FFF2-40B4-BE49-F238E27FC236}">
                  <a16:creationId xmlns:a16="http://schemas.microsoft.com/office/drawing/2014/main" id="{32AB0F23-3FF9-4D16-B8AA-47B09224A7FF}"/>
                </a:ext>
              </a:extLst>
            </p:cNvPr>
            <p:cNvSpPr/>
            <p:nvPr/>
          </p:nvSpPr>
          <p:spPr>
            <a:xfrm>
              <a:off x="980841" y="910413"/>
              <a:ext cx="326644" cy="367792"/>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6" name="Google Shape;454;p8">
              <a:extLst>
                <a:ext uri="{FF2B5EF4-FFF2-40B4-BE49-F238E27FC236}">
                  <a16:creationId xmlns:a16="http://schemas.microsoft.com/office/drawing/2014/main" id="{035EA3FB-BCE8-31FA-120B-21AA122720EB}"/>
                </a:ext>
              </a:extLst>
            </p:cNvPr>
            <p:cNvSpPr/>
            <p:nvPr/>
          </p:nvSpPr>
          <p:spPr>
            <a:xfrm>
              <a:off x="8699186" y="523462"/>
              <a:ext cx="403969" cy="323646"/>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7" name="Google Shape;455;p8">
              <a:extLst>
                <a:ext uri="{FF2B5EF4-FFF2-40B4-BE49-F238E27FC236}">
                  <a16:creationId xmlns:a16="http://schemas.microsoft.com/office/drawing/2014/main" id="{CF76B1C8-4C7C-E6EB-AD31-5B32BF64B9FD}"/>
                </a:ext>
              </a:extLst>
            </p:cNvPr>
            <p:cNvSpPr/>
            <p:nvPr/>
          </p:nvSpPr>
          <p:spPr>
            <a:xfrm>
              <a:off x="6870722" y="1009504"/>
              <a:ext cx="256151" cy="229019"/>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8" name="Google Shape;456;p8">
              <a:extLst>
                <a:ext uri="{FF2B5EF4-FFF2-40B4-BE49-F238E27FC236}">
                  <a16:creationId xmlns:a16="http://schemas.microsoft.com/office/drawing/2014/main" id="{72033037-55B3-5167-7511-2A1043022C3E}"/>
                </a:ext>
              </a:extLst>
            </p:cNvPr>
            <p:cNvSpPr/>
            <p:nvPr/>
          </p:nvSpPr>
          <p:spPr>
            <a:xfrm rot="-2424567">
              <a:off x="1204048" y="475241"/>
              <a:ext cx="211213" cy="278694"/>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9" name="Google Shape;457;p8">
              <a:extLst>
                <a:ext uri="{FF2B5EF4-FFF2-40B4-BE49-F238E27FC236}">
                  <a16:creationId xmlns:a16="http://schemas.microsoft.com/office/drawing/2014/main" id="{90845802-E71B-775E-0EE6-6F6A20A8EA8E}"/>
                </a:ext>
              </a:extLst>
            </p:cNvPr>
            <p:cNvSpPr/>
            <p:nvPr/>
          </p:nvSpPr>
          <p:spPr>
            <a:xfrm>
              <a:off x="7556769" y="607048"/>
              <a:ext cx="402022" cy="236475"/>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31" name="Google Shape;458;p8">
              <a:extLst>
                <a:ext uri="{FF2B5EF4-FFF2-40B4-BE49-F238E27FC236}">
                  <a16:creationId xmlns:a16="http://schemas.microsoft.com/office/drawing/2014/main" id="{1E2245E5-1C0E-B442-F948-DF3FD3650500}"/>
                </a:ext>
              </a:extLst>
            </p:cNvPr>
            <p:cNvGrpSpPr/>
            <p:nvPr/>
          </p:nvGrpSpPr>
          <p:grpSpPr>
            <a:xfrm rot="890855">
              <a:off x="3181660" y="515636"/>
              <a:ext cx="370663" cy="217580"/>
              <a:chOff x="1429156" y="1387535"/>
              <a:chExt cx="657769" cy="386112"/>
            </a:xfrm>
          </p:grpSpPr>
          <p:sp>
            <p:nvSpPr>
              <p:cNvPr id="68" name="Google Shape;459;p8">
                <a:extLst>
                  <a:ext uri="{FF2B5EF4-FFF2-40B4-BE49-F238E27FC236}">
                    <a16:creationId xmlns:a16="http://schemas.microsoft.com/office/drawing/2014/main" id="{461E8954-CC4F-3669-394B-F8F4ECD21E0B}"/>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9" name="Google Shape;460;p8">
                <a:extLst>
                  <a:ext uri="{FF2B5EF4-FFF2-40B4-BE49-F238E27FC236}">
                    <a16:creationId xmlns:a16="http://schemas.microsoft.com/office/drawing/2014/main" id="{79174660-2893-2F40-042B-30B653976A8C}"/>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32" name="Google Shape;461;p8">
              <a:extLst>
                <a:ext uri="{FF2B5EF4-FFF2-40B4-BE49-F238E27FC236}">
                  <a16:creationId xmlns:a16="http://schemas.microsoft.com/office/drawing/2014/main" id="{931588A4-5A8F-F366-0921-71D8B6B77DEB}"/>
                </a:ext>
              </a:extLst>
            </p:cNvPr>
            <p:cNvSpPr/>
            <p:nvPr/>
          </p:nvSpPr>
          <p:spPr>
            <a:xfrm rot="-2499483">
              <a:off x="4165391" y="919169"/>
              <a:ext cx="428994" cy="113072"/>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3" name="Google Shape;462;p8">
              <a:extLst>
                <a:ext uri="{FF2B5EF4-FFF2-40B4-BE49-F238E27FC236}">
                  <a16:creationId xmlns:a16="http://schemas.microsoft.com/office/drawing/2014/main" id="{4885F102-3501-B493-01A2-16A63A43491B}"/>
                </a:ext>
              </a:extLst>
            </p:cNvPr>
            <p:cNvSpPr/>
            <p:nvPr/>
          </p:nvSpPr>
          <p:spPr>
            <a:xfrm>
              <a:off x="674582" y="523294"/>
              <a:ext cx="375105" cy="294447"/>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34" name="Google Shape;463;p8">
              <a:extLst>
                <a:ext uri="{FF2B5EF4-FFF2-40B4-BE49-F238E27FC236}">
                  <a16:creationId xmlns:a16="http://schemas.microsoft.com/office/drawing/2014/main" id="{ED058847-E9F0-84D1-90DE-54519BF8FA63}"/>
                </a:ext>
              </a:extLst>
            </p:cNvPr>
            <p:cNvGrpSpPr/>
            <p:nvPr/>
          </p:nvGrpSpPr>
          <p:grpSpPr>
            <a:xfrm>
              <a:off x="3707787" y="505390"/>
              <a:ext cx="212392" cy="256778"/>
              <a:chOff x="1010452" y="1144365"/>
              <a:chExt cx="376916" cy="455685"/>
            </a:xfrm>
          </p:grpSpPr>
          <p:sp>
            <p:nvSpPr>
              <p:cNvPr id="66" name="Google Shape;464;p8">
                <a:extLst>
                  <a:ext uri="{FF2B5EF4-FFF2-40B4-BE49-F238E27FC236}">
                    <a16:creationId xmlns:a16="http://schemas.microsoft.com/office/drawing/2014/main" id="{829B75EE-17B5-E844-1DAD-1AFBD8763864}"/>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7" name="Google Shape;465;p8">
                <a:extLst>
                  <a:ext uri="{FF2B5EF4-FFF2-40B4-BE49-F238E27FC236}">
                    <a16:creationId xmlns:a16="http://schemas.microsoft.com/office/drawing/2014/main" id="{2CE87C1F-F561-0299-4708-6D8D87A1F33B}"/>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35" name="Google Shape;466;p8">
              <a:extLst>
                <a:ext uri="{FF2B5EF4-FFF2-40B4-BE49-F238E27FC236}">
                  <a16:creationId xmlns:a16="http://schemas.microsoft.com/office/drawing/2014/main" id="{6060BA1A-FEAF-52DB-097D-0B044ECB09FA}"/>
                </a:ext>
              </a:extLst>
            </p:cNvPr>
            <p:cNvSpPr/>
            <p:nvPr/>
          </p:nvSpPr>
          <p:spPr>
            <a:xfrm rot="-1100489">
              <a:off x="8420309" y="672386"/>
              <a:ext cx="223722" cy="226855"/>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6" name="Google Shape;467;p8">
              <a:extLst>
                <a:ext uri="{FF2B5EF4-FFF2-40B4-BE49-F238E27FC236}">
                  <a16:creationId xmlns:a16="http://schemas.microsoft.com/office/drawing/2014/main" id="{E328C474-73DB-CFBC-529C-7E1F52296823}"/>
                </a:ext>
              </a:extLst>
            </p:cNvPr>
            <p:cNvSpPr/>
            <p:nvPr/>
          </p:nvSpPr>
          <p:spPr>
            <a:xfrm>
              <a:off x="3572521" y="981550"/>
              <a:ext cx="255529" cy="288428"/>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7" name="Google Shape;468;p8">
              <a:extLst>
                <a:ext uri="{FF2B5EF4-FFF2-40B4-BE49-F238E27FC236}">
                  <a16:creationId xmlns:a16="http://schemas.microsoft.com/office/drawing/2014/main" id="{6A9AEF88-FDE4-22A8-D742-05237F3752AB}"/>
                </a:ext>
              </a:extLst>
            </p:cNvPr>
            <p:cNvSpPr/>
            <p:nvPr/>
          </p:nvSpPr>
          <p:spPr>
            <a:xfrm rot="1800079">
              <a:off x="8229930" y="1002016"/>
              <a:ext cx="198020" cy="248076"/>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8" name="Google Shape;469;p8">
              <a:extLst>
                <a:ext uri="{FF2B5EF4-FFF2-40B4-BE49-F238E27FC236}">
                  <a16:creationId xmlns:a16="http://schemas.microsoft.com/office/drawing/2014/main" id="{BAAF229B-9B71-4E61-8579-ED65061C4580}"/>
                </a:ext>
              </a:extLst>
            </p:cNvPr>
            <p:cNvSpPr/>
            <p:nvPr/>
          </p:nvSpPr>
          <p:spPr>
            <a:xfrm>
              <a:off x="3943429" y="927518"/>
              <a:ext cx="163399" cy="25729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9" name="Google Shape;470;p8">
              <a:extLst>
                <a:ext uri="{FF2B5EF4-FFF2-40B4-BE49-F238E27FC236}">
                  <a16:creationId xmlns:a16="http://schemas.microsoft.com/office/drawing/2014/main" id="{9BD9E621-2F07-90E6-D2B1-3E08D948CE6E}"/>
                </a:ext>
              </a:extLst>
            </p:cNvPr>
            <p:cNvSpPr/>
            <p:nvPr/>
          </p:nvSpPr>
          <p:spPr>
            <a:xfrm>
              <a:off x="4038156" y="505004"/>
              <a:ext cx="340006" cy="361563"/>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0" name="Google Shape;471;p8">
              <a:extLst>
                <a:ext uri="{FF2B5EF4-FFF2-40B4-BE49-F238E27FC236}">
                  <a16:creationId xmlns:a16="http://schemas.microsoft.com/office/drawing/2014/main" id="{27AAF84B-D1D6-7D9A-330C-1F6CC7FA1E6C}"/>
                </a:ext>
              </a:extLst>
            </p:cNvPr>
            <p:cNvSpPr/>
            <p:nvPr/>
          </p:nvSpPr>
          <p:spPr>
            <a:xfrm>
              <a:off x="2854633" y="688547"/>
              <a:ext cx="416637" cy="259709"/>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1" name="Google Shape;472;p8">
              <a:extLst>
                <a:ext uri="{FF2B5EF4-FFF2-40B4-BE49-F238E27FC236}">
                  <a16:creationId xmlns:a16="http://schemas.microsoft.com/office/drawing/2014/main" id="{83F753A7-F20D-A772-FC7B-480BC7C8344A}"/>
                </a:ext>
              </a:extLst>
            </p:cNvPr>
            <p:cNvSpPr/>
            <p:nvPr/>
          </p:nvSpPr>
          <p:spPr>
            <a:xfrm rot="-1252057">
              <a:off x="6497159" y="534061"/>
              <a:ext cx="204722" cy="302187"/>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2" name="Google Shape;473;p8">
              <a:extLst>
                <a:ext uri="{FF2B5EF4-FFF2-40B4-BE49-F238E27FC236}">
                  <a16:creationId xmlns:a16="http://schemas.microsoft.com/office/drawing/2014/main" id="{6211C545-A10A-D548-9B30-B61DC8087837}"/>
                </a:ext>
              </a:extLst>
            </p:cNvPr>
            <p:cNvSpPr/>
            <p:nvPr/>
          </p:nvSpPr>
          <p:spPr>
            <a:xfrm>
              <a:off x="2537776" y="539860"/>
              <a:ext cx="230803" cy="290180"/>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3" name="Google Shape;474;p8">
              <a:extLst>
                <a:ext uri="{FF2B5EF4-FFF2-40B4-BE49-F238E27FC236}">
                  <a16:creationId xmlns:a16="http://schemas.microsoft.com/office/drawing/2014/main" id="{B6DAB5D5-FA90-53BB-CE13-A028EB9CA889}"/>
                </a:ext>
              </a:extLst>
            </p:cNvPr>
            <p:cNvSpPr/>
            <p:nvPr/>
          </p:nvSpPr>
          <p:spPr>
            <a:xfrm>
              <a:off x="5713194" y="743996"/>
              <a:ext cx="256984" cy="24403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4" name="Google Shape;475;p8">
              <a:extLst>
                <a:ext uri="{FF2B5EF4-FFF2-40B4-BE49-F238E27FC236}">
                  <a16:creationId xmlns:a16="http://schemas.microsoft.com/office/drawing/2014/main" id="{59BAAAEB-DE29-EA2C-8403-FA647E29422A}"/>
                </a:ext>
              </a:extLst>
            </p:cNvPr>
            <p:cNvSpPr/>
            <p:nvPr/>
          </p:nvSpPr>
          <p:spPr>
            <a:xfrm>
              <a:off x="2507283" y="945803"/>
              <a:ext cx="99390" cy="211075"/>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5" name="Google Shape;476;p8">
              <a:extLst>
                <a:ext uri="{FF2B5EF4-FFF2-40B4-BE49-F238E27FC236}">
                  <a16:creationId xmlns:a16="http://schemas.microsoft.com/office/drawing/2014/main" id="{0EF91B24-8334-C410-E77F-0C6C6684DB46}"/>
                </a:ext>
              </a:extLst>
            </p:cNvPr>
            <p:cNvSpPr/>
            <p:nvPr/>
          </p:nvSpPr>
          <p:spPr>
            <a:xfrm>
              <a:off x="8045390" y="829868"/>
              <a:ext cx="135793" cy="114511"/>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6" name="Google Shape;477;p8">
              <a:extLst>
                <a:ext uri="{FF2B5EF4-FFF2-40B4-BE49-F238E27FC236}">
                  <a16:creationId xmlns:a16="http://schemas.microsoft.com/office/drawing/2014/main" id="{31422C45-6452-D665-12FE-E675520DCEF2}"/>
                </a:ext>
              </a:extLst>
            </p:cNvPr>
            <p:cNvSpPr/>
            <p:nvPr/>
          </p:nvSpPr>
          <p:spPr>
            <a:xfrm>
              <a:off x="5019180" y="1018026"/>
              <a:ext cx="99190" cy="9853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7" name="Google Shape;478;p8">
              <a:extLst>
                <a:ext uri="{FF2B5EF4-FFF2-40B4-BE49-F238E27FC236}">
                  <a16:creationId xmlns:a16="http://schemas.microsoft.com/office/drawing/2014/main" id="{39166CF2-4FEA-5962-937D-8A8B2DB637B1}"/>
                </a:ext>
              </a:extLst>
            </p:cNvPr>
            <p:cNvSpPr/>
            <p:nvPr/>
          </p:nvSpPr>
          <p:spPr>
            <a:xfrm rot="9301126">
              <a:off x="6297718" y="732778"/>
              <a:ext cx="123698" cy="266216"/>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8" name="Google Shape;479;p8">
              <a:extLst>
                <a:ext uri="{FF2B5EF4-FFF2-40B4-BE49-F238E27FC236}">
                  <a16:creationId xmlns:a16="http://schemas.microsoft.com/office/drawing/2014/main" id="{69A486C9-9266-DB51-6E08-319B319AB42E}"/>
                </a:ext>
              </a:extLst>
            </p:cNvPr>
            <p:cNvSpPr/>
            <p:nvPr/>
          </p:nvSpPr>
          <p:spPr>
            <a:xfrm>
              <a:off x="1756780" y="575182"/>
              <a:ext cx="134585" cy="137354"/>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9" name="Google Shape;480;p8">
              <a:extLst>
                <a:ext uri="{FF2B5EF4-FFF2-40B4-BE49-F238E27FC236}">
                  <a16:creationId xmlns:a16="http://schemas.microsoft.com/office/drawing/2014/main" id="{74F9AE73-B534-1B23-B85D-E46EEBADBD77}"/>
                </a:ext>
              </a:extLst>
            </p:cNvPr>
            <p:cNvSpPr/>
            <p:nvPr/>
          </p:nvSpPr>
          <p:spPr>
            <a:xfrm>
              <a:off x="4716478" y="737980"/>
              <a:ext cx="145419" cy="160635"/>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0" name="Google Shape;481;p8">
              <a:extLst>
                <a:ext uri="{FF2B5EF4-FFF2-40B4-BE49-F238E27FC236}">
                  <a16:creationId xmlns:a16="http://schemas.microsoft.com/office/drawing/2014/main" id="{2449B3AF-A7E3-5B77-169D-30EF76A118D9}"/>
                </a:ext>
              </a:extLst>
            </p:cNvPr>
            <p:cNvSpPr/>
            <p:nvPr/>
          </p:nvSpPr>
          <p:spPr>
            <a:xfrm>
              <a:off x="1639378" y="819333"/>
              <a:ext cx="126045" cy="135687"/>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1" name="Google Shape;482;p8">
              <a:extLst>
                <a:ext uri="{FF2B5EF4-FFF2-40B4-BE49-F238E27FC236}">
                  <a16:creationId xmlns:a16="http://schemas.microsoft.com/office/drawing/2014/main" id="{5E8EB8D5-30ED-EA7B-3E87-EAC317C4355A}"/>
                </a:ext>
              </a:extLst>
            </p:cNvPr>
            <p:cNvSpPr/>
            <p:nvPr/>
          </p:nvSpPr>
          <p:spPr>
            <a:xfrm>
              <a:off x="8172573" y="555140"/>
              <a:ext cx="115263" cy="15729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2" name="Google Shape;483;p8">
              <a:extLst>
                <a:ext uri="{FF2B5EF4-FFF2-40B4-BE49-F238E27FC236}">
                  <a16:creationId xmlns:a16="http://schemas.microsoft.com/office/drawing/2014/main" id="{6AFC27F9-785A-F520-004D-6C2FACF71834}"/>
                </a:ext>
              </a:extLst>
            </p:cNvPr>
            <p:cNvSpPr/>
            <p:nvPr/>
          </p:nvSpPr>
          <p:spPr>
            <a:xfrm>
              <a:off x="4481735" y="547509"/>
              <a:ext cx="87093" cy="153839"/>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3" name="Google Shape;484;p8">
              <a:extLst>
                <a:ext uri="{FF2B5EF4-FFF2-40B4-BE49-F238E27FC236}">
                  <a16:creationId xmlns:a16="http://schemas.microsoft.com/office/drawing/2014/main" id="{C9E04ECC-AF4B-AFCD-C4F1-AA2E09FAB84D}"/>
                </a:ext>
              </a:extLst>
            </p:cNvPr>
            <p:cNvSpPr/>
            <p:nvPr/>
          </p:nvSpPr>
          <p:spPr>
            <a:xfrm>
              <a:off x="2048182" y="505004"/>
              <a:ext cx="126077" cy="173483"/>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4" name="Google Shape;485;p8">
              <a:extLst>
                <a:ext uri="{FF2B5EF4-FFF2-40B4-BE49-F238E27FC236}">
                  <a16:creationId xmlns:a16="http://schemas.microsoft.com/office/drawing/2014/main" id="{3AF80C36-027C-70BC-FE35-9B5D22FAA457}"/>
                </a:ext>
              </a:extLst>
            </p:cNvPr>
            <p:cNvSpPr/>
            <p:nvPr/>
          </p:nvSpPr>
          <p:spPr>
            <a:xfrm>
              <a:off x="126658" y="1006747"/>
              <a:ext cx="126356" cy="163706"/>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5" name="Google Shape;486;p8">
              <a:extLst>
                <a:ext uri="{FF2B5EF4-FFF2-40B4-BE49-F238E27FC236}">
                  <a16:creationId xmlns:a16="http://schemas.microsoft.com/office/drawing/2014/main" id="{C5FD2658-E50D-8F84-305B-3B6E4E40E7B1}"/>
                </a:ext>
              </a:extLst>
            </p:cNvPr>
            <p:cNvGrpSpPr/>
            <p:nvPr/>
          </p:nvGrpSpPr>
          <p:grpSpPr>
            <a:xfrm>
              <a:off x="7836651" y="987182"/>
              <a:ext cx="121750" cy="155749"/>
              <a:chOff x="6422295" y="3351500"/>
              <a:chExt cx="252856" cy="323399"/>
            </a:xfrm>
          </p:grpSpPr>
          <p:sp>
            <p:nvSpPr>
              <p:cNvPr id="64" name="Google Shape;487;p8">
                <a:extLst>
                  <a:ext uri="{FF2B5EF4-FFF2-40B4-BE49-F238E27FC236}">
                    <a16:creationId xmlns:a16="http://schemas.microsoft.com/office/drawing/2014/main" id="{45FA5A17-90FB-9FA1-9E45-E35BB19E7062}"/>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5" name="Google Shape;488;p8">
                <a:extLst>
                  <a:ext uri="{FF2B5EF4-FFF2-40B4-BE49-F238E27FC236}">
                    <a16:creationId xmlns:a16="http://schemas.microsoft.com/office/drawing/2014/main" id="{6CD30064-11FF-4B33-95AD-B621EADA8C0E}"/>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6" name="Google Shape;489;p8">
              <a:extLst>
                <a:ext uri="{FF2B5EF4-FFF2-40B4-BE49-F238E27FC236}">
                  <a16:creationId xmlns:a16="http://schemas.microsoft.com/office/drawing/2014/main" id="{39B4B781-90E4-FCD0-7D26-F091D0B7DD8A}"/>
                </a:ext>
              </a:extLst>
            </p:cNvPr>
            <p:cNvSpPr/>
            <p:nvPr/>
          </p:nvSpPr>
          <p:spPr>
            <a:xfrm>
              <a:off x="1353734" y="881315"/>
              <a:ext cx="187420" cy="190001"/>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7" name="Google Shape;490;p8">
              <a:extLst>
                <a:ext uri="{FF2B5EF4-FFF2-40B4-BE49-F238E27FC236}">
                  <a16:creationId xmlns:a16="http://schemas.microsoft.com/office/drawing/2014/main" id="{0286F879-90A7-8EE8-2480-D64183395BE7}"/>
                </a:ext>
              </a:extLst>
            </p:cNvPr>
            <p:cNvSpPr/>
            <p:nvPr/>
          </p:nvSpPr>
          <p:spPr>
            <a:xfrm>
              <a:off x="6088369" y="586056"/>
              <a:ext cx="149720" cy="115699"/>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8" name="Google Shape;491;p8">
              <a:extLst>
                <a:ext uri="{FF2B5EF4-FFF2-40B4-BE49-F238E27FC236}">
                  <a16:creationId xmlns:a16="http://schemas.microsoft.com/office/drawing/2014/main" id="{3B87DA0F-3C0E-50B0-6E09-2E73CEDFAA17}"/>
                </a:ext>
              </a:extLst>
            </p:cNvPr>
            <p:cNvGrpSpPr/>
            <p:nvPr/>
          </p:nvGrpSpPr>
          <p:grpSpPr>
            <a:xfrm>
              <a:off x="3137402" y="1006079"/>
              <a:ext cx="129429" cy="165162"/>
              <a:chOff x="6793660" y="3322411"/>
              <a:chExt cx="268804" cy="342944"/>
            </a:xfrm>
          </p:grpSpPr>
          <p:sp>
            <p:nvSpPr>
              <p:cNvPr id="61" name="Google Shape;492;p8">
                <a:extLst>
                  <a:ext uri="{FF2B5EF4-FFF2-40B4-BE49-F238E27FC236}">
                    <a16:creationId xmlns:a16="http://schemas.microsoft.com/office/drawing/2014/main" id="{09A30AA5-8947-DA2F-5AA9-7CE0B6F1817F}"/>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2" name="Google Shape;493;p8">
                <a:extLst>
                  <a:ext uri="{FF2B5EF4-FFF2-40B4-BE49-F238E27FC236}">
                    <a16:creationId xmlns:a16="http://schemas.microsoft.com/office/drawing/2014/main" id="{B43B4ADC-712D-70EC-164B-ABCD56729CA2}"/>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3" name="Google Shape;494;p8">
                <a:extLst>
                  <a:ext uri="{FF2B5EF4-FFF2-40B4-BE49-F238E27FC236}">
                    <a16:creationId xmlns:a16="http://schemas.microsoft.com/office/drawing/2014/main" id="{31FA6816-6B59-84DC-6986-F2C4476AF592}"/>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9" name="Google Shape;495;p8">
              <a:extLst>
                <a:ext uri="{FF2B5EF4-FFF2-40B4-BE49-F238E27FC236}">
                  <a16:creationId xmlns:a16="http://schemas.microsoft.com/office/drawing/2014/main" id="{EB362976-8EF7-693A-32D4-B61A689335BD}"/>
                </a:ext>
              </a:extLst>
            </p:cNvPr>
            <p:cNvSpPr/>
            <p:nvPr/>
          </p:nvSpPr>
          <p:spPr>
            <a:xfrm>
              <a:off x="2776508" y="1006744"/>
              <a:ext cx="212021" cy="115156"/>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0" name="Google Shape;496;p8">
              <a:extLst>
                <a:ext uri="{FF2B5EF4-FFF2-40B4-BE49-F238E27FC236}">
                  <a16:creationId xmlns:a16="http://schemas.microsoft.com/office/drawing/2014/main" id="{4FFEE3C3-DD9B-CAF4-6837-955F60D1CBEC}"/>
                </a:ext>
              </a:extLst>
            </p:cNvPr>
            <p:cNvSpPr/>
            <p:nvPr/>
          </p:nvSpPr>
          <p:spPr>
            <a:xfrm rot="1466637">
              <a:off x="5246242" y="579297"/>
              <a:ext cx="132710" cy="129208"/>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0673400" y="12181875"/>
            <a:ext cx="626400" cy="108000"/>
          </a:xfrm>
        </p:spPr>
        <p:txBody>
          <a:bodyPr/>
          <a:lstStyle/>
          <a:p>
            <a:fld id="{23AA811B-2EBD-4900-905E-5BE206449611}" type="slidenum">
              <a:rPr lang="da-DK" smtClean="0"/>
              <a:pPr/>
              <a:t>2</a:t>
            </a:fld>
            <a:endParaRPr lang="da-DK"/>
          </a:p>
        </p:txBody>
      </p:sp>
      <p:sp>
        <p:nvSpPr>
          <p:cNvPr id="13" name="Rectangle 12">
            <a:extLst>
              <a:ext uri="{FF2B5EF4-FFF2-40B4-BE49-F238E27FC236}">
                <a16:creationId xmlns:a16="http://schemas.microsoft.com/office/drawing/2014/main" id="{70764143-FD74-4911-BC3C-876E229F418E}"/>
              </a:ext>
            </a:extLst>
          </p:cNvPr>
          <p:cNvSpPr/>
          <p:nvPr/>
        </p:nvSpPr>
        <p:spPr>
          <a:xfrm>
            <a:off x="-533400" y="9460722"/>
            <a:ext cx="11833200" cy="1947762"/>
          </a:xfrm>
          <a:prstGeom prst="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 name="Google Shape;741;p19">
            <a:extLst>
              <a:ext uri="{FF2B5EF4-FFF2-40B4-BE49-F238E27FC236}">
                <a16:creationId xmlns:a16="http://schemas.microsoft.com/office/drawing/2014/main" id="{5D8B3674-E05D-FFE8-509D-72F6614D164C}"/>
              </a:ext>
            </a:extLst>
          </p:cNvPr>
          <p:cNvSpPr txBox="1">
            <a:spLocks/>
          </p:cNvSpPr>
          <p:nvPr/>
        </p:nvSpPr>
        <p:spPr>
          <a:xfrm>
            <a:off x="1021191" y="1390584"/>
            <a:ext cx="10170646" cy="512309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1pPr>
            <a:lvl2pPr marR="0" lvl="1"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2pPr>
            <a:lvl3pPr marR="0" lvl="2"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3pPr>
            <a:lvl4pPr marR="0" lvl="3"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4pPr>
            <a:lvl5pPr marR="0" lvl="4"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5pPr>
            <a:lvl6pPr marR="0" lvl="5"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6pPr>
            <a:lvl7pPr marR="0" lvl="6"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7pPr>
            <a:lvl8pPr marR="0" lvl="7"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8pPr>
            <a:lvl9pPr marR="0" lvl="8"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9pPr>
          </a:lstStyle>
          <a:p>
            <a:pPr algn="l" defTabSz="1219170">
              <a:buClr>
                <a:srgbClr val="273F68"/>
              </a:buClr>
            </a:pPr>
            <a:r>
              <a:rPr kumimoji="0" lang="da-DK" sz="1500" b="0" i="0" u="none" strike="noStrike" kern="0" cap="none" spc="0" normalizeH="0" baseline="0" noProof="0">
                <a:ln>
                  <a:noFill/>
                </a:ln>
                <a:solidFill>
                  <a:schemeClr val="bg1"/>
                </a:solidFill>
                <a:effectLst/>
                <a:uLnTx/>
                <a:uFillTx/>
                <a:latin typeface="Quicksand"/>
                <a:ea typeface="+mn-ea"/>
                <a:cs typeface="+mn-cs"/>
              </a:rPr>
              <a:t>I denne slidepakke finder I resultaterne fra første runde af evalueringen af </a:t>
            </a:r>
            <a:r>
              <a:rPr lang="da-DK" sz="1500" b="0" i="1" kern="0">
                <a:solidFill>
                  <a:schemeClr val="bg1"/>
                </a:solidFill>
                <a:latin typeface="Quicksand"/>
                <a:ea typeface="+mn-ea"/>
                <a:cs typeface="+mn-cs"/>
              </a:rPr>
              <a:t>Den Mangfoldige Folkeskole i Nordjylland </a:t>
            </a:r>
            <a:r>
              <a:rPr kumimoji="0" lang="da-DK" sz="1500" b="0" i="0" u="none" strike="noStrike" kern="0" cap="none" spc="0" normalizeH="0" baseline="0" noProof="0">
                <a:ln>
                  <a:noFill/>
                </a:ln>
                <a:solidFill>
                  <a:schemeClr val="bg1"/>
                </a:solidFill>
                <a:effectLst/>
                <a:uLnTx/>
                <a:uFillTx/>
                <a:latin typeface="Quicksand"/>
                <a:ea typeface="+mn-ea"/>
                <a:cs typeface="+mn-cs"/>
              </a:rPr>
              <a:t>(foråret 2023). </a:t>
            </a:r>
            <a:r>
              <a:rPr lang="da-DK" sz="1500" b="0" kern="0">
                <a:solidFill>
                  <a:srgbClr val="FFFFFF"/>
                </a:solidFill>
                <a:latin typeface="Quicksand"/>
              </a:rPr>
              <a:t>Vi håber, at disse slides kan støtte jer i at videreformidle de foreløbige resultater til det pædagogiske personale og skabe spændende dialoger om, hvordan I kan styrke arbejdet med at skabe deltagelsesmuligheder for alle elever på skolen. Arbejdet med inspirationspakken kan efterfølgende løftes op på tværkommunalt niveau med henblik på at dele gode erfaringer med arbejdet i praksis.</a:t>
            </a:r>
          </a:p>
          <a:p>
            <a:pPr marL="0" marR="0" lvl="0" indent="0" algn="l" defTabSz="1219170" rtl="0" eaLnBrk="1" fontAlgn="auto" latinLnBrk="0" hangingPunct="1">
              <a:lnSpc>
                <a:spcPct val="100000"/>
              </a:lnSpc>
              <a:spcBef>
                <a:spcPts val="0"/>
              </a:spcBef>
              <a:spcAft>
                <a:spcPts val="0"/>
              </a:spcAft>
              <a:buClr>
                <a:srgbClr val="273F68"/>
              </a:buClr>
              <a:buSzTx/>
              <a:buFontTx/>
              <a:buNone/>
              <a:tabLst/>
              <a:defRPr/>
            </a:pPr>
            <a:endParaRPr kumimoji="0" lang="da-DK" sz="1500" b="0" i="0" u="none" strike="noStrike" kern="0" cap="none" spc="0" normalizeH="0" baseline="0" noProof="0">
              <a:ln>
                <a:noFill/>
              </a:ln>
              <a:solidFill>
                <a:schemeClr val="bg1"/>
              </a:solidFill>
              <a:effectLst/>
              <a:uLnTx/>
              <a:uFillTx/>
              <a:latin typeface="Quicksand"/>
              <a:ea typeface="+mn-ea"/>
              <a:cs typeface="+mn-cs"/>
            </a:endParaRPr>
          </a:p>
          <a:p>
            <a:pPr marL="0" marR="0" lvl="0" indent="0" algn="l" defTabSz="1219170" rtl="0" eaLnBrk="1" fontAlgn="auto" latinLnBrk="0" hangingPunct="1">
              <a:lnSpc>
                <a:spcPct val="100000"/>
              </a:lnSpc>
              <a:spcBef>
                <a:spcPts val="0"/>
              </a:spcBef>
              <a:spcAft>
                <a:spcPts val="0"/>
              </a:spcAft>
              <a:buClr>
                <a:srgbClr val="273F68"/>
              </a:buClr>
              <a:buSzTx/>
              <a:buFontTx/>
              <a:buNone/>
              <a:tabLst/>
              <a:defRPr/>
            </a:pPr>
            <a:r>
              <a:rPr kumimoji="0" lang="da-DK" sz="1500" b="0" i="0" u="none" strike="noStrike" kern="0" cap="none" spc="0" normalizeH="0" baseline="0" noProof="0">
                <a:ln>
                  <a:noFill/>
                </a:ln>
                <a:solidFill>
                  <a:schemeClr val="bg1"/>
                </a:solidFill>
                <a:effectLst/>
                <a:uLnTx/>
                <a:uFillTx/>
                <a:latin typeface="Quicksand"/>
                <a:ea typeface="+mn-ea"/>
                <a:cs typeface="+mn-cs"/>
              </a:rPr>
              <a:t>Slidepakken består af fire sektioner: </a:t>
            </a:r>
          </a:p>
          <a:p>
            <a:pPr marL="144000" marR="0" lvl="0" indent="-144000" algn="l" defTabSz="1219170" rtl="0" eaLnBrk="1" fontAlgn="auto" latinLnBrk="0" hangingPunct="1">
              <a:lnSpc>
                <a:spcPct val="150000"/>
              </a:lnSpc>
              <a:spcBef>
                <a:spcPts val="0"/>
              </a:spcBef>
              <a:spcAft>
                <a:spcPts val="0"/>
              </a:spcAft>
              <a:buClr>
                <a:schemeClr val="bg1"/>
              </a:buClr>
              <a:buSzPct val="100000"/>
              <a:buFont typeface="Arial" panose="020B0604020202020204" pitchFamily="34" charset="0"/>
              <a:buChar char="•"/>
              <a:tabLst/>
              <a:defRPr/>
            </a:pPr>
            <a:r>
              <a:rPr kumimoji="0" lang="da-DK" sz="1500" b="0" i="0" u="none" strike="noStrike" kern="0" cap="none" spc="0" normalizeH="0" baseline="0" noProof="0">
                <a:ln>
                  <a:noFill/>
                </a:ln>
                <a:solidFill>
                  <a:schemeClr val="bg1"/>
                </a:solidFill>
                <a:effectLst/>
                <a:uLnTx/>
                <a:uFillTx/>
                <a:latin typeface="Quicksand"/>
                <a:ea typeface="+mn-ea"/>
                <a:cs typeface="+mn-cs"/>
              </a:rPr>
              <a:t>Idéer til, hvordan I kan arbejde med resultaterne på </a:t>
            </a:r>
            <a:r>
              <a:rPr lang="da-DK" sz="1500" b="0" kern="0">
                <a:solidFill>
                  <a:schemeClr val="bg1"/>
                </a:solidFill>
                <a:latin typeface="Quicksand"/>
                <a:ea typeface="+mn-ea"/>
                <a:cs typeface="+mn-cs"/>
              </a:rPr>
              <a:t>jeres skole</a:t>
            </a:r>
            <a:endParaRPr kumimoji="0" lang="da-DK" sz="1500" b="0" i="0" u="none" strike="noStrike" kern="0" cap="none" spc="0" normalizeH="0" baseline="0" noProof="0">
              <a:ln>
                <a:noFill/>
              </a:ln>
              <a:solidFill>
                <a:schemeClr val="bg1"/>
              </a:solidFill>
              <a:effectLst/>
              <a:uLnTx/>
              <a:uFillTx/>
              <a:latin typeface="Quicksand"/>
              <a:ea typeface="+mn-ea"/>
              <a:cs typeface="+mn-cs"/>
            </a:endParaRPr>
          </a:p>
          <a:p>
            <a:pPr marL="144000" marR="0" lvl="0" indent="-144000" algn="l" defTabSz="1219170" rtl="0" eaLnBrk="1" fontAlgn="auto" latinLnBrk="0" hangingPunct="1">
              <a:lnSpc>
                <a:spcPct val="150000"/>
              </a:lnSpc>
              <a:spcBef>
                <a:spcPts val="0"/>
              </a:spcBef>
              <a:spcAft>
                <a:spcPts val="0"/>
              </a:spcAft>
              <a:buClr>
                <a:schemeClr val="bg1"/>
              </a:buClr>
              <a:buSzPct val="100000"/>
              <a:buFont typeface="Arial" panose="020B0604020202020204" pitchFamily="34" charset="0"/>
              <a:buChar char="•"/>
              <a:tabLst/>
              <a:defRPr/>
            </a:pPr>
            <a:r>
              <a:rPr kumimoji="0" lang="da-DK" sz="1500" b="0" i="0" u="none" strike="noStrike" kern="0" cap="none" spc="0" normalizeH="0" baseline="0" noProof="0">
                <a:ln>
                  <a:noFill/>
                </a:ln>
                <a:solidFill>
                  <a:schemeClr val="bg1"/>
                </a:solidFill>
                <a:effectLst/>
                <a:uLnTx/>
                <a:uFillTx/>
                <a:latin typeface="Quicksand"/>
                <a:ea typeface="+mn-ea"/>
                <a:cs typeface="+mn-cs"/>
              </a:rPr>
              <a:t>Præsentation af resultaterne</a:t>
            </a:r>
          </a:p>
          <a:p>
            <a:pPr marL="144000" marR="0" lvl="0" indent="-144000" algn="l" defTabSz="1219170" rtl="0" eaLnBrk="1" fontAlgn="auto" latinLnBrk="0" hangingPunct="1">
              <a:lnSpc>
                <a:spcPct val="150000"/>
              </a:lnSpc>
              <a:spcBef>
                <a:spcPts val="0"/>
              </a:spcBef>
              <a:spcAft>
                <a:spcPts val="0"/>
              </a:spcAft>
              <a:buClr>
                <a:schemeClr val="bg1"/>
              </a:buClr>
              <a:buSzPct val="100000"/>
              <a:buFont typeface="Arial" panose="020B0604020202020204" pitchFamily="34" charset="0"/>
              <a:buChar char="•"/>
              <a:tabLst/>
              <a:defRPr/>
            </a:pPr>
            <a:r>
              <a:rPr kumimoji="0" lang="da-DK" sz="1500" b="0" i="0" u="none" strike="noStrike" kern="0" cap="none" spc="0" normalizeH="0" baseline="0" noProof="0">
                <a:ln>
                  <a:noFill/>
                </a:ln>
                <a:solidFill>
                  <a:schemeClr val="bg1"/>
                </a:solidFill>
                <a:effectLst/>
                <a:uLnTx/>
                <a:uFillTx/>
                <a:latin typeface="Quicksand"/>
                <a:ea typeface="+mn-ea"/>
                <a:cs typeface="+mn-cs"/>
              </a:rPr>
              <a:t>Eksempler fra praksis</a:t>
            </a:r>
          </a:p>
          <a:p>
            <a:pPr marR="0" lvl="0" algn="l" defTabSz="1219170" rtl="0" eaLnBrk="1" fontAlgn="auto" latinLnBrk="0" hangingPunct="1">
              <a:lnSpc>
                <a:spcPct val="100000"/>
              </a:lnSpc>
              <a:spcBef>
                <a:spcPts val="0"/>
              </a:spcBef>
              <a:spcAft>
                <a:spcPts val="0"/>
              </a:spcAft>
              <a:buClr>
                <a:schemeClr val="bg1"/>
              </a:buClr>
              <a:buSzPct val="100000"/>
              <a:tabLst/>
              <a:defRPr/>
            </a:pPr>
            <a:endParaRPr kumimoji="0" lang="da-DK" sz="1500" b="0" i="0" u="none" strike="noStrike" kern="0" cap="none" spc="0" normalizeH="0" baseline="0" noProof="0">
              <a:ln>
                <a:noFill/>
              </a:ln>
              <a:solidFill>
                <a:schemeClr val="bg1"/>
              </a:solidFill>
              <a:effectLst/>
              <a:uLnTx/>
              <a:uFillTx/>
              <a:latin typeface="Quicksand"/>
              <a:ea typeface="+mn-ea"/>
              <a:cs typeface="+mn-cs"/>
            </a:endParaRPr>
          </a:p>
          <a:p>
            <a:pPr marR="0" lvl="0" algn="l" defTabSz="1219170" rtl="0" eaLnBrk="1" fontAlgn="auto" latinLnBrk="0" hangingPunct="1">
              <a:lnSpc>
                <a:spcPct val="100000"/>
              </a:lnSpc>
              <a:spcBef>
                <a:spcPts val="0"/>
              </a:spcBef>
              <a:spcAft>
                <a:spcPts val="0"/>
              </a:spcAft>
              <a:buClr>
                <a:schemeClr val="bg1"/>
              </a:buClr>
              <a:buSzPct val="100000"/>
              <a:tabLst/>
              <a:defRPr/>
            </a:pPr>
            <a:r>
              <a:rPr kumimoji="0" lang="da-DK" sz="1500" b="0" i="0" u="none" strike="noStrike" kern="0" cap="none" spc="0" normalizeH="0" baseline="0" noProof="0">
                <a:ln>
                  <a:noFill/>
                </a:ln>
                <a:solidFill>
                  <a:schemeClr val="bg1"/>
                </a:solidFill>
                <a:effectLst/>
                <a:uLnTx/>
                <a:uFillTx/>
                <a:latin typeface="Quicksand"/>
                <a:ea typeface="+mn-ea"/>
                <a:cs typeface="+mn-cs"/>
              </a:rPr>
              <a:t>Vi foreslår, at I som skoleledere orienterer jer i alle tre sektioner og inviterer skolens pædagogiske personale til et møde, hvor I kan præsentere resultaterne fra evalueringen og drøfte, hvordan I videreudvikler jeres praksis. Her kan I med fordel inddrage resultaterne fra jeres </a:t>
            </a:r>
            <a:r>
              <a:rPr kumimoji="0" lang="da-DK" sz="1500" i="0" u="none" strike="noStrike" kern="0" cap="none" spc="0" normalizeH="0" baseline="0" noProof="0">
                <a:ln>
                  <a:noFill/>
                </a:ln>
                <a:solidFill>
                  <a:schemeClr val="bg1"/>
                </a:solidFill>
                <a:effectLst/>
                <a:uLnTx/>
                <a:uFillTx/>
                <a:latin typeface="Quicksand"/>
                <a:ea typeface="+mn-ea"/>
                <a:cs typeface="+mn-cs"/>
              </a:rPr>
              <a:t>skolerapport</a:t>
            </a:r>
            <a:r>
              <a:rPr kumimoji="0" lang="da-DK" sz="1500" b="0" i="0" u="none" strike="noStrike" kern="0" cap="none" spc="0" normalizeH="0" baseline="0" noProof="0">
                <a:ln>
                  <a:noFill/>
                </a:ln>
                <a:solidFill>
                  <a:schemeClr val="bg1"/>
                </a:solidFill>
                <a:effectLst/>
                <a:uLnTx/>
                <a:uFillTx/>
                <a:latin typeface="Quicksand"/>
                <a:ea typeface="+mn-ea"/>
                <a:cs typeface="+mn-cs"/>
              </a:rPr>
              <a:t> for at vurdere, hvilke lokale justeringer der er relevante for jer at foretage. </a:t>
            </a:r>
          </a:p>
          <a:p>
            <a:pPr marR="0" lvl="0" algn="l" defTabSz="1219170" rtl="0" eaLnBrk="1" fontAlgn="auto" latinLnBrk="0" hangingPunct="1">
              <a:lnSpc>
                <a:spcPct val="100000"/>
              </a:lnSpc>
              <a:spcBef>
                <a:spcPts val="0"/>
              </a:spcBef>
              <a:spcAft>
                <a:spcPts val="0"/>
              </a:spcAft>
              <a:buClr>
                <a:schemeClr val="bg1"/>
              </a:buClr>
              <a:buSzPct val="100000"/>
              <a:tabLst/>
              <a:defRPr/>
            </a:pPr>
            <a:endParaRPr kumimoji="0" lang="da-DK" sz="1500" b="0" i="0" u="none" strike="noStrike" kern="0" cap="none" spc="0" normalizeH="0" baseline="0" noProof="0">
              <a:ln>
                <a:noFill/>
              </a:ln>
              <a:solidFill>
                <a:schemeClr val="bg1"/>
              </a:solidFill>
              <a:effectLst/>
              <a:uLnTx/>
              <a:uFillTx/>
              <a:latin typeface="Quicksand"/>
              <a:ea typeface="+mn-ea"/>
              <a:cs typeface="+mn-cs"/>
            </a:endParaRPr>
          </a:p>
          <a:p>
            <a:pPr marR="0" lvl="0" algn="l" defTabSz="1219170" rtl="0" eaLnBrk="1" fontAlgn="auto" latinLnBrk="0" hangingPunct="1">
              <a:lnSpc>
                <a:spcPct val="100000"/>
              </a:lnSpc>
              <a:spcBef>
                <a:spcPts val="0"/>
              </a:spcBef>
              <a:spcAft>
                <a:spcPts val="0"/>
              </a:spcAft>
              <a:buClr>
                <a:schemeClr val="bg1"/>
              </a:buClr>
              <a:buSzPct val="100000"/>
              <a:tabLst/>
              <a:defRPr/>
            </a:pPr>
            <a:r>
              <a:rPr lang="da-DK" sz="1500" b="0" kern="0">
                <a:solidFill>
                  <a:schemeClr val="bg1"/>
                </a:solidFill>
                <a:latin typeface="Quicksand"/>
              </a:rPr>
              <a:t>Præsentationen er udarbejdet i et redigerbart format, så I selv kan sortere i indholdet afhængigt af, hvad der er vigtigst for jer at videreformidle, og hvad I ønsker at præsentere for hvem og hvornår. Til hver slide følger </a:t>
            </a:r>
            <a:r>
              <a:rPr lang="da-DK" sz="1500" b="0" kern="0" err="1">
                <a:solidFill>
                  <a:schemeClr val="bg1"/>
                </a:solidFill>
                <a:latin typeface="Quicksand"/>
              </a:rPr>
              <a:t>talenoter</a:t>
            </a:r>
            <a:r>
              <a:rPr lang="da-DK" sz="1500" b="0" kern="0">
                <a:solidFill>
                  <a:schemeClr val="bg1"/>
                </a:solidFill>
                <a:latin typeface="Quicksand"/>
              </a:rPr>
              <a:t>, som I kan bruge til at udfolde resultaterne.</a:t>
            </a:r>
          </a:p>
        </p:txBody>
      </p:sp>
      <p:sp>
        <p:nvSpPr>
          <p:cNvPr id="10" name="TextBox 9">
            <a:extLst>
              <a:ext uri="{FF2B5EF4-FFF2-40B4-BE49-F238E27FC236}">
                <a16:creationId xmlns:a16="http://schemas.microsoft.com/office/drawing/2014/main" id="{247940A4-FCEE-FE60-D937-4ABB370FCA8F}"/>
              </a:ext>
            </a:extLst>
          </p:cNvPr>
          <p:cNvSpPr txBox="1"/>
          <p:nvPr/>
        </p:nvSpPr>
        <p:spPr>
          <a:xfrm>
            <a:off x="2668003" y="5950089"/>
            <a:ext cx="6394784" cy="553998"/>
          </a:xfrm>
          <a:prstGeom prst="rect">
            <a:avLst/>
          </a:prstGeom>
          <a:noFill/>
        </p:spPr>
        <p:txBody>
          <a:bodyPr wrap="square">
            <a:spAutoFit/>
          </a:bodyPr>
          <a:lstStyle/>
          <a:p>
            <a:pPr algn="ctr" defTabSz="1219170">
              <a:lnSpc>
                <a:spcPct val="100000"/>
              </a:lnSpc>
              <a:buClr>
                <a:srgbClr val="273F68"/>
              </a:buClr>
              <a:buSzPct val="100000"/>
            </a:pPr>
            <a:r>
              <a:rPr lang="da-DK" sz="1500" b="1" kern="0">
                <a:solidFill>
                  <a:schemeClr val="bg2"/>
                </a:solidFill>
                <a:latin typeface="Quicksand"/>
              </a:rPr>
              <a:t>God fornøjelse!</a:t>
            </a:r>
          </a:p>
          <a:p>
            <a:pPr algn="ctr" defTabSz="1219170">
              <a:lnSpc>
                <a:spcPct val="100000"/>
              </a:lnSpc>
              <a:buClr>
                <a:srgbClr val="273F68"/>
              </a:buClr>
              <a:buSzPct val="100000"/>
            </a:pPr>
            <a:r>
              <a:rPr lang="da-DK" sz="1500" b="0" kern="0">
                <a:solidFill>
                  <a:schemeClr val="bg1"/>
                </a:solidFill>
                <a:latin typeface="Quicksand"/>
              </a:rPr>
              <a:t>Hilsen Rambøll</a:t>
            </a:r>
          </a:p>
        </p:txBody>
      </p:sp>
      <p:sp>
        <p:nvSpPr>
          <p:cNvPr id="7" name="Google Shape;994;p40">
            <a:extLst>
              <a:ext uri="{FF2B5EF4-FFF2-40B4-BE49-F238E27FC236}">
                <a16:creationId xmlns:a16="http://schemas.microsoft.com/office/drawing/2014/main" id="{96832833-B16A-C36B-6F8F-7D6D60BAF385}"/>
              </a:ext>
            </a:extLst>
          </p:cNvPr>
          <p:cNvSpPr txBox="1">
            <a:spLocks/>
          </p:cNvSpPr>
          <p:nvPr/>
        </p:nvSpPr>
        <p:spPr>
          <a:xfrm>
            <a:off x="0" y="370872"/>
            <a:ext cx="12192000" cy="71435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1pPr>
            <a:lvl2pPr marR="0" lvl="1"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2pPr>
            <a:lvl3pPr marR="0" lvl="2"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3pPr>
            <a:lvl4pPr marR="0" lvl="3"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4pPr>
            <a:lvl5pPr marR="0" lvl="4"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5pPr>
            <a:lvl6pPr marR="0" lvl="5"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6pPr>
            <a:lvl7pPr marR="0" lvl="6"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7pPr>
            <a:lvl8pPr marR="0" lvl="7"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8pPr>
            <a:lvl9pPr marR="0" lvl="8"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9pPr>
          </a:lstStyle>
          <a:p>
            <a:pPr marL="0" marR="0" lvl="0" indent="0" algn="ctr" defTabSz="914400" eaLnBrk="1" fontAlgn="auto" latinLnBrk="0" hangingPunct="1">
              <a:lnSpc>
                <a:spcPct val="90000"/>
              </a:lnSpc>
              <a:spcBef>
                <a:spcPts val="0"/>
              </a:spcBef>
              <a:spcAft>
                <a:spcPts val="0"/>
              </a:spcAft>
              <a:buClr>
                <a:srgbClr val="273F68"/>
              </a:buClr>
              <a:buSzPts val="3000"/>
              <a:buFont typeface="Amatic SC"/>
              <a:buNone/>
              <a:tabLst/>
              <a:defRPr/>
            </a:pPr>
            <a:r>
              <a:rPr lang="da-DK" sz="4000" kern="0">
                <a:solidFill>
                  <a:schemeClr val="bg2"/>
                </a:solidFill>
              </a:rPr>
              <a:t>Hej skoleledere!</a:t>
            </a:r>
            <a:endParaRPr kumimoji="0" lang="da-DK" sz="4000" b="1" i="0" u="none" strike="noStrike" kern="0" cap="none" spc="0" normalizeH="0" baseline="0" noProof="0">
              <a:ln>
                <a:noFill/>
              </a:ln>
              <a:solidFill>
                <a:schemeClr val="bg2"/>
              </a:solidFill>
              <a:effectLst/>
              <a:uLnTx/>
              <a:uFillTx/>
              <a:latin typeface="Amatic SC"/>
              <a:cs typeface="Amatic SC"/>
              <a:sym typeface="Amatic SC"/>
            </a:endParaRPr>
          </a:p>
        </p:txBody>
      </p:sp>
    </p:spTree>
    <p:extLst>
      <p:ext uri="{BB962C8B-B14F-4D97-AF65-F5344CB8AC3E}">
        <p14:creationId xmlns:p14="http://schemas.microsoft.com/office/powerpoint/2010/main" val="2970210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a:noFill/>
          <a:ln>
            <a:noFill/>
          </a:ln>
        </p:spPr>
        <p:txBody>
          <a:bodyPr/>
          <a:lstStyle/>
          <a:p>
            <a:fld id="{23AA811B-2EBD-4900-905E-5BE206449611}" type="slidenum">
              <a:rPr lang="da-DK" smtClean="0">
                <a:solidFill>
                  <a:schemeClr val="accent2"/>
                </a:solidFill>
              </a:rPr>
              <a:pPr/>
              <a:t>20</a:t>
            </a:fld>
            <a:endParaRPr lang="da-DK">
              <a:solidFill>
                <a:schemeClr val="accent2"/>
              </a:solidFill>
            </a:endParaRPr>
          </a:p>
        </p:txBody>
      </p:sp>
      <p:sp>
        <p:nvSpPr>
          <p:cNvPr id="10" name="Google Shape;846;p29">
            <a:extLst>
              <a:ext uri="{FF2B5EF4-FFF2-40B4-BE49-F238E27FC236}">
                <a16:creationId xmlns:a16="http://schemas.microsoft.com/office/drawing/2014/main" id="{25F9A4E7-2EB0-5254-1D0C-E517BFB235BA}"/>
              </a:ext>
            </a:extLst>
          </p:cNvPr>
          <p:cNvSpPr/>
          <p:nvPr/>
        </p:nvSpPr>
        <p:spPr>
          <a:xfrm>
            <a:off x="0" y="346309"/>
            <a:ext cx="12192001" cy="854479"/>
          </a:xfrm>
          <a:prstGeom prst="rect">
            <a:avLst/>
          </a:prstGeom>
          <a:solidFill>
            <a:schemeClr val="accent2"/>
          </a:solidFill>
          <a:ln>
            <a:noFill/>
          </a:ln>
        </p:spPr>
        <p:txBody>
          <a:bodyPr spcFirstLastPara="1" wrap="square" lIns="396000" tIns="91425" rIns="91425" bIns="91425" anchor="ctr" anchorCtr="0">
            <a:noAutofit/>
          </a:bodyPr>
          <a:lstStyle/>
          <a:p>
            <a:pPr marL="0" lvl="0" indent="0" algn="ctr">
              <a:spcBef>
                <a:spcPts val="0"/>
              </a:spcBef>
              <a:spcAft>
                <a:spcPts val="0"/>
              </a:spcAft>
              <a:buNone/>
            </a:pPr>
            <a:r>
              <a:rPr lang="da-DK" sz="3200" b="0" i="0" u="none" strike="noStrike">
                <a:solidFill>
                  <a:srgbClr val="FFFFFF"/>
                </a:solidFill>
                <a:effectLst/>
                <a:latin typeface="Amatic SC" panose="00000500000000000000" pitchFamily="2" charset="-79"/>
              </a:rPr>
              <a:t>4. Elevernes oplevelse af </a:t>
            </a:r>
            <a:r>
              <a:rPr lang="da-DK" sz="3200" b="1">
                <a:solidFill>
                  <a:srgbClr val="FFFFFF"/>
                </a:solidFill>
                <a:latin typeface="Amatic SC" panose="00000500000000000000" pitchFamily="2" charset="-79"/>
              </a:rPr>
              <a:t>fællesskab</a:t>
            </a:r>
            <a:endParaRPr lang="da-DK" sz="3200" b="1">
              <a:solidFill>
                <a:schemeClr val="bg1"/>
              </a:solidFill>
              <a:latin typeface="Amatic SC"/>
              <a:ea typeface="Amatic SC"/>
              <a:cs typeface="Amatic SC"/>
              <a:sym typeface="Amatic SC"/>
            </a:endParaRPr>
          </a:p>
        </p:txBody>
      </p:sp>
      <p:sp>
        <p:nvSpPr>
          <p:cNvPr id="6" name="Rectangle 5">
            <a:extLst>
              <a:ext uri="{FF2B5EF4-FFF2-40B4-BE49-F238E27FC236}">
                <a16:creationId xmlns:a16="http://schemas.microsoft.com/office/drawing/2014/main" id="{4E145D63-C706-554C-BEAD-46F441844BA9}"/>
              </a:ext>
            </a:extLst>
          </p:cNvPr>
          <p:cNvSpPr/>
          <p:nvPr/>
        </p:nvSpPr>
        <p:spPr>
          <a:xfrm>
            <a:off x="6319157" y="2221944"/>
            <a:ext cx="4767944" cy="3403959"/>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8" name="TextBox 7">
            <a:extLst>
              <a:ext uri="{FF2B5EF4-FFF2-40B4-BE49-F238E27FC236}">
                <a16:creationId xmlns:a16="http://schemas.microsoft.com/office/drawing/2014/main" id="{BF1B1437-A169-EFF5-39C7-146C7ADE4571}"/>
              </a:ext>
            </a:extLst>
          </p:cNvPr>
          <p:cNvSpPr txBox="1"/>
          <p:nvPr/>
        </p:nvSpPr>
        <p:spPr>
          <a:xfrm>
            <a:off x="6319157" y="1640891"/>
            <a:ext cx="4767944" cy="666246"/>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2000" b="1">
                <a:latin typeface="Amatic SC"/>
                <a:ea typeface="Amatic SC"/>
                <a:cs typeface="Amatic SC"/>
                <a:sym typeface="Amatic SC"/>
              </a:rPr>
              <a:t>Eleverne oplever fællesskab i undervisningen, når…</a:t>
            </a:r>
            <a:endParaRPr lang="da-DK" sz="2000" b="1">
              <a:latin typeface="Amatic SC" panose="00000500000000000000" pitchFamily="2" charset="-79"/>
              <a:cs typeface="Amatic SC" panose="00000500000000000000" pitchFamily="2" charset="-79"/>
            </a:endParaRPr>
          </a:p>
        </p:txBody>
      </p:sp>
      <p:sp>
        <p:nvSpPr>
          <p:cNvPr id="2" name="Rectangle 1">
            <a:extLst>
              <a:ext uri="{FF2B5EF4-FFF2-40B4-BE49-F238E27FC236}">
                <a16:creationId xmlns:a16="http://schemas.microsoft.com/office/drawing/2014/main" id="{6CB42240-6350-3E0A-32C5-C44BE2CACA96}"/>
              </a:ext>
            </a:extLst>
          </p:cNvPr>
          <p:cNvSpPr/>
          <p:nvPr/>
        </p:nvSpPr>
        <p:spPr>
          <a:xfrm>
            <a:off x="959035" y="2221944"/>
            <a:ext cx="4767944" cy="3403959"/>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3" name="TextBox 2">
            <a:extLst>
              <a:ext uri="{FF2B5EF4-FFF2-40B4-BE49-F238E27FC236}">
                <a16:creationId xmlns:a16="http://schemas.microsoft.com/office/drawing/2014/main" id="{C01053F9-7D5A-90AB-C22A-1DD8050C5F7C}"/>
              </a:ext>
            </a:extLst>
          </p:cNvPr>
          <p:cNvSpPr txBox="1"/>
          <p:nvPr/>
        </p:nvSpPr>
        <p:spPr>
          <a:xfrm>
            <a:off x="959035" y="1640891"/>
            <a:ext cx="4767944" cy="666246"/>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2000" b="1">
                <a:latin typeface="Amatic SC"/>
                <a:ea typeface="Amatic SC"/>
                <a:cs typeface="Amatic SC"/>
                <a:sym typeface="Amatic SC"/>
              </a:rPr>
              <a:t>Eleverne oplever varierende fællesskab i undervisningen</a:t>
            </a:r>
            <a:endParaRPr lang="da-DK" sz="2000" b="1">
              <a:latin typeface="Amatic SC" panose="00000500000000000000" pitchFamily="2" charset="-79"/>
              <a:cs typeface="Amatic SC" panose="00000500000000000000" pitchFamily="2" charset="-79"/>
            </a:endParaRPr>
          </a:p>
        </p:txBody>
      </p:sp>
      <p:sp>
        <p:nvSpPr>
          <p:cNvPr id="11" name="Speech Bubble: Rectangle with Corners Rounded 10">
            <a:extLst>
              <a:ext uri="{FF2B5EF4-FFF2-40B4-BE49-F238E27FC236}">
                <a16:creationId xmlns:a16="http://schemas.microsoft.com/office/drawing/2014/main" id="{2EE4CB3B-39F2-7DB7-3376-6F047A8D9AD2}"/>
              </a:ext>
            </a:extLst>
          </p:cNvPr>
          <p:cNvSpPr/>
          <p:nvPr/>
        </p:nvSpPr>
        <p:spPr>
          <a:xfrm>
            <a:off x="1104899" y="2501801"/>
            <a:ext cx="4438650" cy="457299"/>
          </a:xfrm>
          <a:prstGeom prst="wedgeRoundRectCallout">
            <a:avLst>
              <a:gd name="adj1" fmla="val -51917"/>
              <a:gd name="adj2" fmla="val -2703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charset="0"/>
                <a:ea typeface="Verdana"/>
                <a:cs typeface="Quicksand" panose="020B0604020202020204" charset="0"/>
              </a:rPr>
              <a:t>Når vi har [lærer] om morgenen, sætter hun tæt Ultranyt på, så </a:t>
            </a:r>
            <a:r>
              <a:rPr lang="da-DK" sz="1200" b="1">
                <a:solidFill>
                  <a:schemeClr val="tx1"/>
                </a:solidFill>
                <a:latin typeface="Quicksand" panose="020B0604020202020204" charset="0"/>
                <a:ea typeface="Verdana"/>
                <a:cs typeface="Quicksand" panose="020B0604020202020204" charset="0"/>
              </a:rPr>
              <a:t>man får en god start</a:t>
            </a:r>
            <a:r>
              <a:rPr lang="da-DK" sz="1200">
                <a:solidFill>
                  <a:schemeClr val="tx1"/>
                </a:solidFill>
                <a:latin typeface="Quicksand" panose="020B0604020202020204" charset="0"/>
                <a:ea typeface="Verdana"/>
                <a:cs typeface="Quicksand" panose="020B0604020202020204" charset="0"/>
              </a:rPr>
              <a:t>. Det er sådan lidt hyggeligt. </a:t>
            </a:r>
          </a:p>
        </p:txBody>
      </p:sp>
      <p:sp>
        <p:nvSpPr>
          <p:cNvPr id="12" name="Speech Bubble: Rectangle with Corners Rounded 11">
            <a:extLst>
              <a:ext uri="{FF2B5EF4-FFF2-40B4-BE49-F238E27FC236}">
                <a16:creationId xmlns:a16="http://schemas.microsoft.com/office/drawing/2014/main" id="{EB0527D7-D45E-A2D9-4690-7784507D35FE}"/>
              </a:ext>
            </a:extLst>
          </p:cNvPr>
          <p:cNvSpPr/>
          <p:nvPr/>
        </p:nvSpPr>
        <p:spPr>
          <a:xfrm>
            <a:off x="1104899" y="3099823"/>
            <a:ext cx="4438650" cy="457298"/>
          </a:xfrm>
          <a:prstGeom prst="wedgeRoundRectCallout">
            <a:avLst>
              <a:gd name="adj1" fmla="val 52500"/>
              <a:gd name="adj2" fmla="val -1140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charset="0"/>
                <a:ea typeface="Verdana"/>
                <a:cs typeface="Quicksand" panose="020B0604020202020204" charset="0"/>
              </a:rPr>
              <a:t>Jeg tror, der er mange, som føler sig udenfor. Fx hvor man </a:t>
            </a:r>
            <a:r>
              <a:rPr lang="da-DK" sz="1200" b="1">
                <a:solidFill>
                  <a:schemeClr val="tx1"/>
                </a:solidFill>
                <a:latin typeface="Quicksand" panose="020B0604020202020204" charset="0"/>
                <a:ea typeface="Verdana"/>
                <a:cs typeface="Quicksand" panose="020B0604020202020204" charset="0"/>
              </a:rPr>
              <a:t>ikke tør at række hånden op </a:t>
            </a:r>
            <a:r>
              <a:rPr lang="da-DK" sz="1200">
                <a:solidFill>
                  <a:schemeClr val="tx1"/>
                </a:solidFill>
                <a:latin typeface="Quicksand" panose="020B0604020202020204" charset="0"/>
                <a:ea typeface="Verdana"/>
                <a:cs typeface="Quicksand" panose="020B0604020202020204" charset="0"/>
              </a:rPr>
              <a:t>og sådan.</a:t>
            </a:r>
          </a:p>
        </p:txBody>
      </p:sp>
      <p:sp>
        <p:nvSpPr>
          <p:cNvPr id="15" name="Speech Bubble: Rectangle with Corners Rounded 14">
            <a:extLst>
              <a:ext uri="{FF2B5EF4-FFF2-40B4-BE49-F238E27FC236}">
                <a16:creationId xmlns:a16="http://schemas.microsoft.com/office/drawing/2014/main" id="{F40A864E-7600-618C-E7CE-8B04A1805FFD}"/>
              </a:ext>
            </a:extLst>
          </p:cNvPr>
          <p:cNvSpPr/>
          <p:nvPr/>
        </p:nvSpPr>
        <p:spPr>
          <a:xfrm>
            <a:off x="1104899" y="3697844"/>
            <a:ext cx="4438650" cy="705094"/>
          </a:xfrm>
          <a:prstGeom prst="wedgeRoundRectCallout">
            <a:avLst>
              <a:gd name="adj1" fmla="val -51917"/>
              <a:gd name="adj2" fmla="val -2703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charset="0"/>
                <a:ea typeface="Verdana"/>
                <a:cs typeface="Quicksand" panose="020B0604020202020204" charset="0"/>
              </a:rPr>
              <a:t>Vores lærer er god til fx at </a:t>
            </a:r>
            <a:r>
              <a:rPr lang="da-DK" sz="1200" b="1">
                <a:solidFill>
                  <a:schemeClr val="tx1"/>
                </a:solidFill>
                <a:latin typeface="Quicksand" panose="020B0604020202020204" charset="0"/>
                <a:ea typeface="Verdana"/>
                <a:cs typeface="Quicksand" panose="020B0604020202020204" charset="0"/>
              </a:rPr>
              <a:t>spørge nogle forskellige </a:t>
            </a:r>
            <a:r>
              <a:rPr lang="da-DK" sz="1200">
                <a:solidFill>
                  <a:schemeClr val="tx1"/>
                </a:solidFill>
                <a:latin typeface="Quicksand" panose="020B0604020202020204" charset="0"/>
                <a:ea typeface="Verdana"/>
                <a:cs typeface="Quicksand" panose="020B0604020202020204" charset="0"/>
              </a:rPr>
              <a:t>om, hvad de synes, selvom de ikke har hånden op. Jeg tror, de spørger dem, der ikke altid siger så meget, så de også kommer med. </a:t>
            </a:r>
          </a:p>
        </p:txBody>
      </p:sp>
      <p:sp>
        <p:nvSpPr>
          <p:cNvPr id="16" name="Speech Bubble: Rectangle with Corners Rounded 15">
            <a:extLst>
              <a:ext uri="{FF2B5EF4-FFF2-40B4-BE49-F238E27FC236}">
                <a16:creationId xmlns:a16="http://schemas.microsoft.com/office/drawing/2014/main" id="{B3D26C40-1384-FC3C-AEEB-2D0E08DADD5B}"/>
              </a:ext>
            </a:extLst>
          </p:cNvPr>
          <p:cNvSpPr/>
          <p:nvPr/>
        </p:nvSpPr>
        <p:spPr>
          <a:xfrm>
            <a:off x="1123681" y="4533158"/>
            <a:ext cx="4438650" cy="881989"/>
          </a:xfrm>
          <a:prstGeom prst="wedgeRoundRectCallout">
            <a:avLst>
              <a:gd name="adj1" fmla="val 52500"/>
              <a:gd name="adj2" fmla="val -1140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a:rPr>
              <a:t>Der er stor forskel på, om lærerne er gode til at få alle med. Det kommer an på, hvilken lærer vi har. </a:t>
            </a:r>
            <a:r>
              <a:rPr lang="da-DK" sz="1200" b="1">
                <a:solidFill>
                  <a:schemeClr val="tx1"/>
                </a:solidFill>
                <a:latin typeface="Quicksand" panose="020B0604020202020204"/>
              </a:rPr>
              <a:t>Dem, der gør det godt, kigger rundt i klassen </a:t>
            </a:r>
            <a:r>
              <a:rPr lang="da-DK" sz="1200">
                <a:solidFill>
                  <a:schemeClr val="tx1"/>
                </a:solidFill>
                <a:latin typeface="Quicksand" panose="020B0604020202020204"/>
              </a:rPr>
              <a:t>og sørger for, at alle er med. </a:t>
            </a:r>
          </a:p>
        </p:txBody>
      </p:sp>
      <p:sp>
        <p:nvSpPr>
          <p:cNvPr id="17" name="Speech Bubble: Rectangle with Corners Rounded 16">
            <a:extLst>
              <a:ext uri="{FF2B5EF4-FFF2-40B4-BE49-F238E27FC236}">
                <a16:creationId xmlns:a16="http://schemas.microsoft.com/office/drawing/2014/main" id="{5EF2E839-1819-7004-B401-0CCAF9B483B4}"/>
              </a:ext>
            </a:extLst>
          </p:cNvPr>
          <p:cNvSpPr/>
          <p:nvPr/>
        </p:nvSpPr>
        <p:spPr>
          <a:xfrm>
            <a:off x="6483804" y="2501801"/>
            <a:ext cx="4438650" cy="457299"/>
          </a:xfrm>
          <a:prstGeom prst="wedgeRoundRectCallout">
            <a:avLst>
              <a:gd name="adj1" fmla="val -51917"/>
              <a:gd name="adj2" fmla="val -2703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charset="0"/>
                <a:ea typeface="Verdana"/>
                <a:cs typeface="Quicksand" panose="020B0604020202020204" charset="0"/>
              </a:rPr>
              <a:t>… læreren eller klassekammeraterne </a:t>
            </a:r>
            <a:r>
              <a:rPr lang="da-DK" sz="1200" b="1">
                <a:solidFill>
                  <a:schemeClr val="tx1"/>
                </a:solidFill>
                <a:latin typeface="Quicksand" panose="020B0604020202020204" charset="0"/>
                <a:ea typeface="Verdana"/>
                <a:cs typeface="Quicksand" panose="020B0604020202020204" charset="0"/>
              </a:rPr>
              <a:t>tager hensyn til hinanden</a:t>
            </a:r>
            <a:r>
              <a:rPr lang="da-DK" sz="1200">
                <a:solidFill>
                  <a:schemeClr val="tx1"/>
                </a:solidFill>
                <a:latin typeface="Quicksand" panose="020B0604020202020204" charset="0"/>
                <a:ea typeface="Verdana"/>
                <a:cs typeface="Quicksand" panose="020B0604020202020204" charset="0"/>
              </a:rPr>
              <a:t>, hvis man fx er forskellige eller har det svært. </a:t>
            </a:r>
          </a:p>
        </p:txBody>
      </p:sp>
      <p:sp>
        <p:nvSpPr>
          <p:cNvPr id="18" name="Speech Bubble: Rectangle with Corners Rounded 17">
            <a:extLst>
              <a:ext uri="{FF2B5EF4-FFF2-40B4-BE49-F238E27FC236}">
                <a16:creationId xmlns:a16="http://schemas.microsoft.com/office/drawing/2014/main" id="{7533DB6C-F355-9828-AD84-7A9755D66CC6}"/>
              </a:ext>
            </a:extLst>
          </p:cNvPr>
          <p:cNvSpPr/>
          <p:nvPr/>
        </p:nvSpPr>
        <p:spPr>
          <a:xfrm>
            <a:off x="6483804" y="3101717"/>
            <a:ext cx="4438650" cy="457298"/>
          </a:xfrm>
          <a:prstGeom prst="wedgeRoundRectCallout">
            <a:avLst>
              <a:gd name="adj1" fmla="val 52500"/>
              <a:gd name="adj2" fmla="val -1140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charset="0"/>
                <a:ea typeface="Verdana"/>
                <a:cs typeface="Quicksand" panose="020B0604020202020204" charset="0"/>
              </a:rPr>
              <a:t>… man </a:t>
            </a:r>
            <a:r>
              <a:rPr lang="da-DK" sz="1200" b="1">
                <a:solidFill>
                  <a:schemeClr val="tx1"/>
                </a:solidFill>
                <a:latin typeface="Quicksand" panose="020B0604020202020204" charset="0"/>
                <a:ea typeface="Verdana"/>
                <a:cs typeface="Quicksand" panose="020B0604020202020204" charset="0"/>
              </a:rPr>
              <a:t>hjælper hinanden</a:t>
            </a:r>
            <a:r>
              <a:rPr lang="da-DK" sz="1200">
                <a:solidFill>
                  <a:schemeClr val="tx1"/>
                </a:solidFill>
                <a:latin typeface="Quicksand" panose="020B0604020202020204" charset="0"/>
                <a:ea typeface="Verdana"/>
                <a:cs typeface="Quicksand" panose="020B0604020202020204" charset="0"/>
              </a:rPr>
              <a:t>, hvis nogen har svært ved noget. </a:t>
            </a:r>
          </a:p>
        </p:txBody>
      </p:sp>
      <p:sp>
        <p:nvSpPr>
          <p:cNvPr id="19" name="Speech Bubble: Rectangle with Corners Rounded 18">
            <a:extLst>
              <a:ext uri="{FF2B5EF4-FFF2-40B4-BE49-F238E27FC236}">
                <a16:creationId xmlns:a16="http://schemas.microsoft.com/office/drawing/2014/main" id="{73C2F9C3-DAA1-C4F0-9AD5-84F26C3FE449}"/>
              </a:ext>
            </a:extLst>
          </p:cNvPr>
          <p:cNvSpPr/>
          <p:nvPr/>
        </p:nvSpPr>
        <p:spPr>
          <a:xfrm>
            <a:off x="6483804" y="3697844"/>
            <a:ext cx="4438650" cy="705094"/>
          </a:xfrm>
          <a:prstGeom prst="wedgeRoundRectCallout">
            <a:avLst>
              <a:gd name="adj1" fmla="val -51917"/>
              <a:gd name="adj2" fmla="val -2703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charset="0"/>
                <a:ea typeface="Verdana"/>
                <a:cs typeface="Quicksand" panose="020B0604020202020204" charset="0"/>
              </a:rPr>
              <a:t>… </a:t>
            </a:r>
            <a:r>
              <a:rPr lang="da-DK" sz="1200" b="1">
                <a:solidFill>
                  <a:schemeClr val="tx1"/>
                </a:solidFill>
                <a:latin typeface="Quicksand" panose="020B0604020202020204" charset="0"/>
                <a:ea typeface="Verdana"/>
                <a:cs typeface="Quicksand" panose="020B0604020202020204" charset="0"/>
              </a:rPr>
              <a:t>alle kender alle </a:t>
            </a:r>
            <a:r>
              <a:rPr lang="da-DK" sz="1200">
                <a:solidFill>
                  <a:schemeClr val="tx1"/>
                </a:solidFill>
                <a:latin typeface="Quicksand" panose="020B0604020202020204" charset="0"/>
                <a:ea typeface="Verdana"/>
                <a:cs typeface="Quicksand" panose="020B0604020202020204" charset="0"/>
              </a:rPr>
              <a:t>på skolen. Det gør det mere trygt at være her. Det er godt, når alle klasser har gode fællesskaber, også på tværs af årgange, at de store har gode relationer til de mindre.  </a:t>
            </a:r>
          </a:p>
        </p:txBody>
      </p:sp>
      <p:sp>
        <p:nvSpPr>
          <p:cNvPr id="20" name="Speech Bubble: Rectangle with Corners Rounded 19">
            <a:extLst>
              <a:ext uri="{FF2B5EF4-FFF2-40B4-BE49-F238E27FC236}">
                <a16:creationId xmlns:a16="http://schemas.microsoft.com/office/drawing/2014/main" id="{91E5292D-56F7-F0BA-1B87-ED0253D1B9A6}"/>
              </a:ext>
            </a:extLst>
          </p:cNvPr>
          <p:cNvSpPr/>
          <p:nvPr/>
        </p:nvSpPr>
        <p:spPr>
          <a:xfrm>
            <a:off x="6506172" y="4533158"/>
            <a:ext cx="4438650" cy="881989"/>
          </a:xfrm>
          <a:prstGeom prst="wedgeRoundRectCallout">
            <a:avLst>
              <a:gd name="adj1" fmla="val 52500"/>
              <a:gd name="adj2" fmla="val -11404"/>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200">
                <a:solidFill>
                  <a:schemeClr val="tx1"/>
                </a:solidFill>
                <a:latin typeface="Quicksand" panose="020B0604020202020204"/>
              </a:rPr>
              <a:t>… man kan komme til læreren, hvis man har problemer, uden at det bliver træls. Det er vigtigt, at de interesserer sig for os, og at </a:t>
            </a:r>
            <a:r>
              <a:rPr lang="da-DK" sz="1200" b="1">
                <a:solidFill>
                  <a:schemeClr val="tx1"/>
                </a:solidFill>
                <a:latin typeface="Quicksand" panose="020B0604020202020204"/>
              </a:rPr>
              <a:t>man har et bånd uden for det skolemæssige </a:t>
            </a:r>
            <a:r>
              <a:rPr lang="da-DK" sz="1200">
                <a:solidFill>
                  <a:schemeClr val="tx1"/>
                </a:solidFill>
                <a:latin typeface="Quicksand" panose="020B0604020202020204"/>
              </a:rPr>
              <a:t>med læreren. </a:t>
            </a:r>
          </a:p>
        </p:txBody>
      </p:sp>
    </p:spTree>
    <p:extLst>
      <p:ext uri="{BB962C8B-B14F-4D97-AF65-F5344CB8AC3E}">
        <p14:creationId xmlns:p14="http://schemas.microsoft.com/office/powerpoint/2010/main" val="22553011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21</a:t>
            </a:fld>
            <a:endParaRPr lang="da-DK"/>
          </a:p>
        </p:txBody>
      </p:sp>
      <p:sp>
        <p:nvSpPr>
          <p:cNvPr id="2" name="Rectangle 1">
            <a:extLst>
              <a:ext uri="{FF2B5EF4-FFF2-40B4-BE49-F238E27FC236}">
                <a16:creationId xmlns:a16="http://schemas.microsoft.com/office/drawing/2014/main" id="{3BC97B6A-32D1-29B0-934F-1034BC12DC24}"/>
              </a:ext>
            </a:extLst>
          </p:cNvPr>
          <p:cNvSpPr/>
          <p:nvPr/>
        </p:nvSpPr>
        <p:spPr>
          <a:xfrm rot="1069853">
            <a:off x="4687354" y="2852043"/>
            <a:ext cx="2817291" cy="235549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400">
              <a:solidFill>
                <a:srgbClr val="273F68"/>
              </a:solidFill>
              <a:latin typeface="Amatic SC" panose="00000500000000000000" pitchFamily="2" charset="-79"/>
              <a:cs typeface="Amatic SC" panose="00000500000000000000" pitchFamily="2" charset="-79"/>
            </a:endParaRPr>
          </a:p>
          <a:p>
            <a:pPr algn="ctr"/>
            <a:r>
              <a:rPr lang="da-DK" sz="2400" b="1">
                <a:solidFill>
                  <a:srgbClr val="273F68"/>
                </a:solidFill>
                <a:latin typeface="Amatic SC" panose="00000500000000000000" pitchFamily="2" charset="-79"/>
                <a:cs typeface="Amatic SC" panose="00000500000000000000" pitchFamily="2" charset="-79"/>
              </a:rPr>
              <a:t>Hvordan udfordrer elevernes perspektiver vores opfattelse af god undervisning*?</a:t>
            </a:r>
          </a:p>
        </p:txBody>
      </p:sp>
      <p:pic>
        <p:nvPicPr>
          <p:cNvPr id="6" name="Graphic 5" descr="Paperclip with solid fill">
            <a:extLst>
              <a:ext uri="{FF2B5EF4-FFF2-40B4-BE49-F238E27FC236}">
                <a16:creationId xmlns:a16="http://schemas.microsoft.com/office/drawing/2014/main" id="{F02DD254-3E7E-85BD-8E45-B9D602CC7F3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140968">
            <a:off x="6056809" y="2421496"/>
            <a:ext cx="914400" cy="914400"/>
          </a:xfrm>
          <a:prstGeom prst="rect">
            <a:avLst/>
          </a:prstGeom>
        </p:spPr>
      </p:pic>
      <p:sp>
        <p:nvSpPr>
          <p:cNvPr id="7" name="Rectangle 6">
            <a:extLst>
              <a:ext uri="{FF2B5EF4-FFF2-40B4-BE49-F238E27FC236}">
                <a16:creationId xmlns:a16="http://schemas.microsoft.com/office/drawing/2014/main" id="{04157946-5611-8C4B-3ED0-4026199785C4}"/>
              </a:ext>
            </a:extLst>
          </p:cNvPr>
          <p:cNvSpPr/>
          <p:nvPr/>
        </p:nvSpPr>
        <p:spPr>
          <a:xfrm rot="437979">
            <a:off x="8325621" y="2288299"/>
            <a:ext cx="3241247" cy="2933719"/>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000">
              <a:solidFill>
                <a:srgbClr val="273F68"/>
              </a:solidFill>
              <a:latin typeface="Amatic SC" panose="00000500000000000000" pitchFamily="2" charset="-79"/>
              <a:cs typeface="Amatic SC" panose="00000500000000000000" pitchFamily="2" charset="-79"/>
            </a:endParaRPr>
          </a:p>
          <a:p>
            <a:pPr algn="ctr"/>
            <a:endParaRPr lang="da-DK" sz="2200" b="1">
              <a:solidFill>
                <a:srgbClr val="273F68"/>
              </a:solidFill>
              <a:latin typeface="Amatic SC" panose="00000500000000000000" pitchFamily="2" charset="-79"/>
              <a:cs typeface="Amatic SC" panose="00000500000000000000" pitchFamily="2" charset="-79"/>
            </a:endParaRPr>
          </a:p>
          <a:p>
            <a:pPr algn="ctr"/>
            <a:r>
              <a:rPr lang="da-DK" sz="2400" b="1">
                <a:solidFill>
                  <a:srgbClr val="273F68"/>
                </a:solidFill>
                <a:latin typeface="Amatic SC" panose="00000500000000000000" pitchFamily="2" charset="-79"/>
                <a:cs typeface="Amatic SC" panose="00000500000000000000" pitchFamily="2" charset="-79"/>
              </a:rPr>
              <a:t>Hvordan kan vi gøre mere af det, eleverne efterspørger*? </a:t>
            </a:r>
            <a:br>
              <a:rPr lang="da-DK" sz="2400" b="1">
                <a:solidFill>
                  <a:srgbClr val="273F68"/>
                </a:solidFill>
                <a:latin typeface="Amatic SC" panose="00000500000000000000" pitchFamily="2" charset="-79"/>
                <a:cs typeface="Amatic SC" panose="00000500000000000000" pitchFamily="2" charset="-79"/>
              </a:rPr>
            </a:br>
            <a:r>
              <a:rPr lang="da-DK" sz="2400" b="1">
                <a:solidFill>
                  <a:srgbClr val="273F68"/>
                </a:solidFill>
                <a:latin typeface="Amatic SC" panose="00000500000000000000" pitchFamily="2" charset="-79"/>
                <a:cs typeface="Amatic SC" panose="00000500000000000000" pitchFamily="2" charset="-79"/>
              </a:rPr>
              <a:t>(skabe variation, differentiering, medbestemmelse og fællesskab) </a:t>
            </a:r>
          </a:p>
        </p:txBody>
      </p:sp>
      <p:sp>
        <p:nvSpPr>
          <p:cNvPr id="8" name="Rectangle 7">
            <a:extLst>
              <a:ext uri="{FF2B5EF4-FFF2-40B4-BE49-F238E27FC236}">
                <a16:creationId xmlns:a16="http://schemas.microsoft.com/office/drawing/2014/main" id="{8BDAA3FF-59CD-C6F5-F701-342B5E4445E1}"/>
              </a:ext>
            </a:extLst>
          </p:cNvPr>
          <p:cNvSpPr/>
          <p:nvPr/>
        </p:nvSpPr>
        <p:spPr>
          <a:xfrm rot="20942225">
            <a:off x="1206122" y="2176612"/>
            <a:ext cx="2817291" cy="235549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800" noProof="0">
              <a:solidFill>
                <a:srgbClr val="273F68"/>
              </a:solidFill>
              <a:latin typeface="Amatic SC" panose="00000500000000000000" pitchFamily="2" charset="-79"/>
              <a:cs typeface="Amatic SC" panose="00000500000000000000" pitchFamily="2" charset="-79"/>
            </a:endParaRPr>
          </a:p>
          <a:p>
            <a:pPr algn="ctr"/>
            <a:r>
              <a:rPr lang="da-DK" sz="2400" b="1" noProof="0">
                <a:solidFill>
                  <a:srgbClr val="273F68"/>
                </a:solidFill>
                <a:latin typeface="Amatic SC" panose="00000500000000000000" pitchFamily="2" charset="-79"/>
                <a:cs typeface="Amatic SC" panose="00000500000000000000" pitchFamily="2" charset="-79"/>
              </a:rPr>
              <a:t>Hvordan harmonerer elevernes perspektiver med vores opfattelse af god undervisning*?</a:t>
            </a:r>
          </a:p>
        </p:txBody>
      </p:sp>
      <p:pic>
        <p:nvPicPr>
          <p:cNvPr id="3" name="Graphic 2" descr="Paperclip with solid fill">
            <a:extLst>
              <a:ext uri="{FF2B5EF4-FFF2-40B4-BE49-F238E27FC236}">
                <a16:creationId xmlns:a16="http://schemas.microsoft.com/office/drawing/2014/main" id="{AE2E047D-1D57-0D37-261A-11AA26C96EF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1114206">
            <a:off x="1899914" y="1685471"/>
            <a:ext cx="914400" cy="914400"/>
          </a:xfrm>
          <a:prstGeom prst="rect">
            <a:avLst/>
          </a:prstGeom>
        </p:spPr>
      </p:pic>
      <p:pic>
        <p:nvPicPr>
          <p:cNvPr id="11" name="Graphic 10" descr="Paperclip with solid fill">
            <a:extLst>
              <a:ext uri="{FF2B5EF4-FFF2-40B4-BE49-F238E27FC236}">
                <a16:creationId xmlns:a16="http://schemas.microsoft.com/office/drawing/2014/main" id="{8DE18BA0-F733-5E42-FE31-5C354263EA3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346786">
            <a:off x="9657072" y="1764350"/>
            <a:ext cx="914400" cy="914400"/>
          </a:xfrm>
          <a:prstGeom prst="rect">
            <a:avLst/>
          </a:prstGeom>
        </p:spPr>
      </p:pic>
      <p:sp>
        <p:nvSpPr>
          <p:cNvPr id="9" name="Google Shape;846;p29">
            <a:extLst>
              <a:ext uri="{FF2B5EF4-FFF2-40B4-BE49-F238E27FC236}">
                <a16:creationId xmlns:a16="http://schemas.microsoft.com/office/drawing/2014/main" id="{D5AB984A-077C-4E70-2588-8E9D40C40B33}"/>
              </a:ext>
            </a:extLst>
          </p:cNvPr>
          <p:cNvSpPr/>
          <p:nvPr/>
        </p:nvSpPr>
        <p:spPr>
          <a:xfrm>
            <a:off x="0" y="346507"/>
            <a:ext cx="12192001" cy="854281"/>
          </a:xfrm>
          <a:prstGeom prst="rect">
            <a:avLst/>
          </a:prstGeom>
          <a:solidFill>
            <a:schemeClr val="accent2"/>
          </a:solidFill>
          <a:ln>
            <a:noFill/>
          </a:ln>
        </p:spPr>
        <p:txBody>
          <a:bodyPr spcFirstLastPara="1" wrap="square" lIns="396000" tIns="91425" rIns="91425" bIns="91425" anchor="ctr" anchorCtr="0">
            <a:noAutofit/>
          </a:bodyPr>
          <a:lstStyle/>
          <a:p>
            <a:pPr marL="0" lvl="0" indent="0" algn="ctr">
              <a:spcBef>
                <a:spcPts val="0"/>
              </a:spcBef>
              <a:spcAft>
                <a:spcPts val="0"/>
              </a:spcAft>
              <a:buNone/>
            </a:pPr>
            <a:r>
              <a:rPr lang="da-DK" sz="3200" b="1">
                <a:solidFill>
                  <a:schemeClr val="bg1"/>
                </a:solidFill>
                <a:latin typeface="Amatic SC"/>
                <a:ea typeface="Amatic SC"/>
                <a:cs typeface="Amatic SC"/>
                <a:sym typeface="Amatic SC"/>
              </a:rPr>
              <a:t>refleksionsspørgsmål</a:t>
            </a:r>
          </a:p>
        </p:txBody>
      </p:sp>
      <p:sp>
        <p:nvSpPr>
          <p:cNvPr id="10" name="TextBox 9">
            <a:extLst>
              <a:ext uri="{FF2B5EF4-FFF2-40B4-BE49-F238E27FC236}">
                <a16:creationId xmlns:a16="http://schemas.microsoft.com/office/drawing/2014/main" id="{7619D784-5190-2DA2-225B-81BF53095744}"/>
              </a:ext>
            </a:extLst>
          </p:cNvPr>
          <p:cNvSpPr txBox="1"/>
          <p:nvPr/>
        </p:nvSpPr>
        <p:spPr>
          <a:xfrm>
            <a:off x="967336" y="5671981"/>
            <a:ext cx="10772775" cy="123111"/>
          </a:xfrm>
          <a:prstGeom prst="rect">
            <a:avLst/>
          </a:prstGeom>
          <a:noFill/>
        </p:spPr>
        <p:txBody>
          <a:bodyPr wrap="square" lIns="0" tIns="0" rIns="0" bIns="0" rtlCol="0">
            <a:spAutoFit/>
          </a:bodyPr>
          <a:lstStyle/>
          <a:p>
            <a:r>
              <a:rPr lang="da-DK" sz="800">
                <a:latin typeface="Quicksand" panose="020B0604020202020204"/>
              </a:rPr>
              <a:t>*I kan med fordel inddrage og perspektivere til skolens resultater i skolerapporten </a:t>
            </a:r>
            <a:r>
              <a:rPr lang="da-DK" sz="800">
                <a:solidFill>
                  <a:schemeClr val="tx1"/>
                </a:solidFill>
                <a:latin typeface="Quicksand" panose="020B0604020202020204" charset="0"/>
                <a:ea typeface="Quicksand"/>
                <a:cs typeface="Quicksand" panose="020B0604020202020204" charset="0"/>
                <a:sym typeface="Quicksand"/>
              </a:rPr>
              <a:t>under temaet ”Inddragelse af elevernes perspektiver”. </a:t>
            </a:r>
            <a:endParaRPr lang="da-DK" sz="800">
              <a:latin typeface="Quicksand" panose="020B0604020202020204"/>
            </a:endParaRPr>
          </a:p>
        </p:txBody>
      </p:sp>
    </p:spTree>
    <p:extLst>
      <p:ext uri="{BB962C8B-B14F-4D97-AF65-F5344CB8AC3E}">
        <p14:creationId xmlns:p14="http://schemas.microsoft.com/office/powerpoint/2010/main" val="17516344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Shape 69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41E3BF-4194-4AEC-AE0B-9FE634FD6E9D}"/>
              </a:ext>
            </a:extLst>
          </p:cNvPr>
          <p:cNvGraphicFramePr>
            <a:graphicFrameLocks noChangeAspect="1"/>
          </p:cNvGraphicFramePr>
          <p:nvPr>
            <p:custDataLst>
              <p:tags r:id="rId1"/>
            </p:custDataLst>
            <p:extLst>
              <p:ext uri="{D42A27DB-BD31-4B8C-83A1-F6EECF244321}">
                <p14:modId xmlns:p14="http://schemas.microsoft.com/office/powerpoint/2010/main" val="3838453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2" name="Object 1" hidden="1">
                        <a:extLst>
                          <a:ext uri="{FF2B5EF4-FFF2-40B4-BE49-F238E27FC236}">
                            <a16:creationId xmlns:a16="http://schemas.microsoft.com/office/drawing/2014/main" id="{CB41E3BF-4194-4AEC-AE0B-9FE634FD6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94" name="Google Shape;694;p13"/>
          <p:cNvSpPr txBox="1">
            <a:spLocks noGrp="1"/>
          </p:cNvSpPr>
          <p:nvPr>
            <p:ph type="ctrTitle"/>
          </p:nvPr>
        </p:nvSpPr>
        <p:spPr>
          <a:xfrm>
            <a:off x="2962421" y="2436684"/>
            <a:ext cx="6267157" cy="1984631"/>
          </a:xfrm>
          <a:prstGeom prst="rect">
            <a:avLst/>
          </a:prstGeom>
        </p:spPr>
        <p:txBody>
          <a:bodyPr spcFirstLastPara="1" wrap="square" lIns="0" tIns="0" rIns="0" bIns="0" anchor="ctr" anchorCtr="0">
            <a:noAutofit/>
          </a:bodyPr>
          <a:lstStyle/>
          <a:p>
            <a:pPr algn="ctr"/>
            <a:r>
              <a:rPr lang="da-DK" sz="4800" b="1">
                <a:latin typeface="Amatic SC" panose="00000500000000000000" pitchFamily="2" charset="-79"/>
                <a:cs typeface="Amatic SC" panose="00000500000000000000" pitchFamily="2" charset="-79"/>
              </a:rPr>
              <a:t>Aktionslæringsforløb styrker deltagelsesmuligheder, når det foregår systematisk</a:t>
            </a:r>
            <a:endParaRPr lang="da-DK" sz="8000">
              <a:latin typeface="Amatic SC" panose="00000500000000000000" pitchFamily="2" charset="-79"/>
              <a:cs typeface="Amatic SC" panose="00000500000000000000" pitchFamily="2" charset="-79"/>
            </a:endParaRPr>
          </a:p>
        </p:txBody>
      </p:sp>
    </p:spTree>
    <p:extLst>
      <p:ext uri="{BB962C8B-B14F-4D97-AF65-F5344CB8AC3E}">
        <p14:creationId xmlns:p14="http://schemas.microsoft.com/office/powerpoint/2010/main" val="34614226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23</a:t>
            </a:fld>
            <a:endParaRPr lang="da-DK"/>
          </a:p>
        </p:txBody>
      </p:sp>
      <p:sp>
        <p:nvSpPr>
          <p:cNvPr id="3" name="Slide Number Placeholder 3">
            <a:extLst>
              <a:ext uri="{FF2B5EF4-FFF2-40B4-BE49-F238E27FC236}">
                <a16:creationId xmlns:a16="http://schemas.microsoft.com/office/drawing/2014/main" id="{D649DCE5-69AD-C1B0-9815-C2BE39487E43}"/>
              </a:ext>
            </a:extLst>
          </p:cNvPr>
          <p:cNvSpPr txBox="1">
            <a:spLocks/>
          </p:cNvSpPr>
          <p:nvPr/>
        </p:nvSpPr>
        <p:spPr>
          <a:xfrm>
            <a:off x="11206827" y="5223962"/>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6" name="Rectangle 15">
            <a:extLst>
              <a:ext uri="{FF2B5EF4-FFF2-40B4-BE49-F238E27FC236}">
                <a16:creationId xmlns:a16="http://schemas.microsoft.com/office/drawing/2014/main" id="{69E8CE64-0533-7299-077A-F5CBD4B386AF}"/>
              </a:ext>
            </a:extLst>
          </p:cNvPr>
          <p:cNvSpPr/>
          <p:nvPr/>
        </p:nvSpPr>
        <p:spPr>
          <a:xfrm>
            <a:off x="770411" y="1865190"/>
            <a:ext cx="6951931" cy="2900515"/>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2" name="Google Shape;846;p29">
            <a:extLst>
              <a:ext uri="{FF2B5EF4-FFF2-40B4-BE49-F238E27FC236}">
                <a16:creationId xmlns:a16="http://schemas.microsoft.com/office/drawing/2014/main" id="{15E4C8ED-7C1D-F41F-CFD3-DC21D4DDC86D}"/>
              </a:ext>
            </a:extLst>
          </p:cNvPr>
          <p:cNvSpPr/>
          <p:nvPr/>
        </p:nvSpPr>
        <p:spPr>
          <a:xfrm>
            <a:off x="0" y="346507"/>
            <a:ext cx="12192001" cy="854281"/>
          </a:xfrm>
          <a:prstGeom prst="rect">
            <a:avLst/>
          </a:prstGeom>
          <a:solidFill>
            <a:schemeClr val="accent6"/>
          </a:solidFill>
          <a:ln>
            <a:noFill/>
          </a:ln>
        </p:spPr>
        <p:txBody>
          <a:bodyPr spcFirstLastPara="1" wrap="square" lIns="396000" tIns="91425" rIns="91425" bIns="91425" anchor="ctr" anchorCtr="0">
            <a:noAutofit/>
          </a:bodyPr>
          <a:lstStyle/>
          <a:p>
            <a:pPr marL="0" lvl="0" indent="0" algn="ctr">
              <a:spcBef>
                <a:spcPts val="0"/>
              </a:spcBef>
              <a:spcAft>
                <a:spcPts val="0"/>
              </a:spcAft>
              <a:buNone/>
            </a:pPr>
            <a:r>
              <a:rPr lang="da-DK" sz="3200" b="1">
                <a:solidFill>
                  <a:schemeClr val="bg2"/>
                </a:solidFill>
                <a:latin typeface="Amatic SC" panose="00000500000000000000" pitchFamily="2" charset="-79"/>
                <a:cs typeface="Amatic SC" panose="00000500000000000000" pitchFamily="2" charset="-79"/>
              </a:rPr>
              <a:t>arbejde med aktionslæring styrker praksis, når det foregår systematisk</a:t>
            </a:r>
            <a:endParaRPr lang="da-DK" sz="3200" b="1">
              <a:solidFill>
                <a:schemeClr val="bg2"/>
              </a:solidFill>
              <a:latin typeface="Amatic SC"/>
              <a:ea typeface="Amatic SC"/>
              <a:cs typeface="Amatic SC"/>
              <a:sym typeface="Amatic SC"/>
            </a:endParaRPr>
          </a:p>
        </p:txBody>
      </p:sp>
      <p:sp>
        <p:nvSpPr>
          <p:cNvPr id="6" name="TextBox 5">
            <a:extLst>
              <a:ext uri="{FF2B5EF4-FFF2-40B4-BE49-F238E27FC236}">
                <a16:creationId xmlns:a16="http://schemas.microsoft.com/office/drawing/2014/main" id="{479CD88A-6E58-621F-7006-85774279DF87}"/>
              </a:ext>
            </a:extLst>
          </p:cNvPr>
          <p:cNvSpPr txBox="1"/>
          <p:nvPr/>
        </p:nvSpPr>
        <p:spPr>
          <a:xfrm>
            <a:off x="770411" y="1584585"/>
            <a:ext cx="6951931" cy="666246"/>
          </a:xfrm>
          <a:prstGeom prst="rect">
            <a:avLst/>
          </a:prstGeom>
          <a:solidFill>
            <a:schemeClr val="accent6"/>
          </a:solidFill>
          <a:ln w="28575">
            <a:solidFill>
              <a:schemeClr val="accent6"/>
            </a:solidFill>
          </a:ln>
        </p:spPr>
        <p:txBody>
          <a:bodyPr wrap="square" lIns="0" tIns="0" rIns="0" bIns="0" rtlCol="0" anchor="ctr">
            <a:noAutofit/>
          </a:bodyPr>
          <a:lstStyle/>
          <a:p>
            <a:pPr algn="ctr"/>
            <a:r>
              <a:rPr lang="da-DK" sz="2400" b="1">
                <a:latin typeface="Amatic SC" panose="00000500000000000000" pitchFamily="2" charset="-79"/>
                <a:cs typeface="Amatic SC" panose="00000500000000000000" pitchFamily="2" charset="-79"/>
              </a:rPr>
              <a:t>det pædagogiske personale oplever følgende udbytte af aktionslæring</a:t>
            </a:r>
          </a:p>
        </p:txBody>
      </p:sp>
      <p:sp>
        <p:nvSpPr>
          <p:cNvPr id="7" name="TextBox 6">
            <a:extLst>
              <a:ext uri="{FF2B5EF4-FFF2-40B4-BE49-F238E27FC236}">
                <a16:creationId xmlns:a16="http://schemas.microsoft.com/office/drawing/2014/main" id="{BD2606AB-11AB-17EB-93C7-331917089B99}"/>
              </a:ext>
            </a:extLst>
          </p:cNvPr>
          <p:cNvSpPr txBox="1"/>
          <p:nvPr/>
        </p:nvSpPr>
        <p:spPr>
          <a:xfrm>
            <a:off x="879231" y="2518936"/>
            <a:ext cx="6669575" cy="2246769"/>
          </a:xfrm>
          <a:prstGeom prst="rect">
            <a:avLst/>
          </a:prstGeom>
          <a:noFill/>
        </p:spPr>
        <p:txBody>
          <a:bodyPr wrap="square">
            <a:spAutoFit/>
          </a:bodyPr>
          <a:lstStyle/>
          <a:p>
            <a:pPr marL="360000" lvl="1" indent="-144000">
              <a:buFont typeface="Arial" panose="020B0604020202020204" pitchFamily="34" charset="0"/>
              <a:buChar char="•"/>
            </a:pPr>
            <a:r>
              <a:rPr lang="da-DK" sz="1400">
                <a:solidFill>
                  <a:schemeClr val="tx1"/>
                </a:solidFill>
                <a:latin typeface="Quicksand" panose="020B0604020202020204"/>
                <a:cs typeface="Amatic SC" panose="00000500000000000000" pitchFamily="2" charset="-79"/>
              </a:rPr>
              <a:t>De </a:t>
            </a:r>
            <a:r>
              <a:rPr lang="da-DK" sz="1400" b="1">
                <a:solidFill>
                  <a:schemeClr val="tx1"/>
                </a:solidFill>
                <a:latin typeface="Quicksand" panose="020B0604020202020204"/>
                <a:cs typeface="Amatic SC" panose="00000500000000000000" pitchFamily="2" charset="-79"/>
              </a:rPr>
              <a:t>justerer mere til i undervisningen på baggrund af dagsformen </a:t>
            </a:r>
            <a:r>
              <a:rPr lang="da-DK" sz="1400">
                <a:solidFill>
                  <a:schemeClr val="tx1"/>
                </a:solidFill>
                <a:latin typeface="Quicksand" panose="020B0604020202020204"/>
                <a:cs typeface="Amatic SC" panose="00000500000000000000" pitchFamily="2" charset="-79"/>
              </a:rPr>
              <a:t>blandt eleverne.</a:t>
            </a:r>
          </a:p>
          <a:p>
            <a:pPr marL="360000" lvl="1" indent="-144000">
              <a:buFont typeface="Arial" panose="020B0604020202020204" pitchFamily="34" charset="0"/>
              <a:buChar char="•"/>
            </a:pPr>
            <a:endParaRPr lang="da-DK" sz="1400">
              <a:solidFill>
                <a:schemeClr val="tx1"/>
              </a:solidFill>
              <a:latin typeface="Quicksand" panose="020B0604020202020204"/>
              <a:cs typeface="Amatic SC" panose="00000500000000000000" pitchFamily="2" charset="-79"/>
            </a:endParaRPr>
          </a:p>
          <a:p>
            <a:pPr marL="360000" lvl="1" indent="-144000">
              <a:buFont typeface="Arial" panose="020B0604020202020204" pitchFamily="34" charset="0"/>
              <a:buChar char="•"/>
            </a:pPr>
            <a:r>
              <a:rPr lang="da-DK" sz="1400">
                <a:latin typeface="Quicksand" panose="020B0604020202020204"/>
                <a:cs typeface="Amatic SC" panose="00000500000000000000" pitchFamily="2" charset="-79"/>
              </a:rPr>
              <a:t>De </a:t>
            </a:r>
            <a:r>
              <a:rPr lang="da-DK" sz="1400" b="1">
                <a:latin typeface="Quicksand" panose="020B0604020202020204"/>
                <a:cs typeface="Amatic SC" panose="00000500000000000000" pitchFamily="2" charset="-79"/>
              </a:rPr>
              <a:t>involverer eleverne mere </a:t>
            </a:r>
            <a:r>
              <a:rPr lang="da-DK" sz="1400">
                <a:latin typeface="Quicksand" panose="020B0604020202020204"/>
                <a:cs typeface="Amatic SC" panose="00000500000000000000" pitchFamily="2" charset="-79"/>
              </a:rPr>
              <a:t>i udviklingen af undervisningen.</a:t>
            </a:r>
          </a:p>
          <a:p>
            <a:pPr marL="360000" lvl="1" indent="-144000">
              <a:buFont typeface="Arial" panose="020B0604020202020204" pitchFamily="34" charset="0"/>
              <a:buChar char="•"/>
            </a:pPr>
            <a:endParaRPr lang="da-DK" sz="1400">
              <a:latin typeface="Quicksand" panose="020B0604020202020204"/>
              <a:cs typeface="Amatic SC" panose="00000500000000000000" pitchFamily="2" charset="-79"/>
            </a:endParaRPr>
          </a:p>
          <a:p>
            <a:pPr marL="360000" lvl="1" indent="-144000">
              <a:buFont typeface="Arial" panose="020B0604020202020204" pitchFamily="34" charset="0"/>
              <a:buChar char="•"/>
            </a:pPr>
            <a:r>
              <a:rPr lang="da-DK" sz="1400">
                <a:solidFill>
                  <a:schemeClr val="tx1"/>
                </a:solidFill>
                <a:latin typeface="Quicksand" panose="020B0604020202020204"/>
                <a:cs typeface="Amatic SC" panose="00000500000000000000" pitchFamily="2" charset="-79"/>
              </a:rPr>
              <a:t>De </a:t>
            </a:r>
            <a:r>
              <a:rPr lang="da-DK" sz="1400" b="1">
                <a:solidFill>
                  <a:schemeClr val="tx1"/>
                </a:solidFill>
                <a:latin typeface="Quicksand" panose="020B0604020202020204"/>
                <a:cs typeface="Amatic SC" panose="00000500000000000000" pitchFamily="2" charset="-79"/>
              </a:rPr>
              <a:t>prioriterer</a:t>
            </a:r>
            <a:r>
              <a:rPr lang="da-DK" sz="1400">
                <a:solidFill>
                  <a:schemeClr val="tx1"/>
                </a:solidFill>
                <a:latin typeface="Quicksand" panose="020B0604020202020204"/>
                <a:cs typeface="Amatic SC" panose="00000500000000000000" pitchFamily="2" charset="-79"/>
              </a:rPr>
              <a:t> i højere grad at sikre, </a:t>
            </a:r>
            <a:r>
              <a:rPr lang="da-DK" sz="1400" b="1">
                <a:solidFill>
                  <a:schemeClr val="tx1"/>
                </a:solidFill>
                <a:latin typeface="Quicksand" panose="020B0604020202020204"/>
                <a:cs typeface="Amatic SC" panose="00000500000000000000" pitchFamily="2" charset="-79"/>
              </a:rPr>
              <a:t>at eleverne føler sig set.</a:t>
            </a:r>
          </a:p>
          <a:p>
            <a:pPr marL="360000" lvl="1" indent="-144000">
              <a:buFont typeface="Arial" panose="020B0604020202020204" pitchFamily="34" charset="0"/>
              <a:buChar char="•"/>
            </a:pPr>
            <a:endParaRPr lang="da-DK" sz="1400">
              <a:solidFill>
                <a:schemeClr val="tx1"/>
              </a:solidFill>
              <a:latin typeface="Quicksand" panose="020B0604020202020204"/>
              <a:cs typeface="Amatic SC" panose="00000500000000000000" pitchFamily="2" charset="-79"/>
            </a:endParaRPr>
          </a:p>
          <a:p>
            <a:pPr marL="360000" lvl="1" indent="-144000">
              <a:buFont typeface="Arial" panose="020B0604020202020204" pitchFamily="34" charset="0"/>
              <a:buChar char="•"/>
            </a:pPr>
            <a:r>
              <a:rPr lang="da-DK" sz="1400">
                <a:solidFill>
                  <a:schemeClr val="tx1"/>
                </a:solidFill>
                <a:latin typeface="Quicksand" panose="020B0604020202020204"/>
                <a:cs typeface="Amatic SC" panose="00000500000000000000" pitchFamily="2" charset="-79"/>
              </a:rPr>
              <a:t>De </a:t>
            </a:r>
            <a:r>
              <a:rPr lang="da-DK" sz="1400" b="1">
                <a:solidFill>
                  <a:schemeClr val="tx1"/>
                </a:solidFill>
                <a:latin typeface="Quicksand" panose="020B0604020202020204"/>
                <a:cs typeface="Amatic SC" panose="00000500000000000000" pitchFamily="2" charset="-79"/>
              </a:rPr>
              <a:t>reflekterer mere over egen undervisning.</a:t>
            </a:r>
          </a:p>
          <a:p>
            <a:pPr marL="360000" lvl="1" indent="-144000">
              <a:buFont typeface="Arial" panose="020B0604020202020204" pitchFamily="34" charset="0"/>
              <a:buChar char="•"/>
            </a:pPr>
            <a:endParaRPr lang="da-DK" sz="1400">
              <a:solidFill>
                <a:schemeClr val="tx1"/>
              </a:solidFill>
              <a:latin typeface="Quicksand" panose="020B0604020202020204"/>
              <a:cs typeface="Amatic SC" panose="00000500000000000000" pitchFamily="2" charset="-79"/>
            </a:endParaRPr>
          </a:p>
          <a:p>
            <a:pPr marL="360000" lvl="1" indent="-144000">
              <a:buFont typeface="Arial" panose="020B0604020202020204" pitchFamily="34" charset="0"/>
              <a:buChar char="•"/>
            </a:pPr>
            <a:r>
              <a:rPr lang="da-DK" sz="1400">
                <a:solidFill>
                  <a:schemeClr val="tx1"/>
                </a:solidFill>
                <a:latin typeface="Quicksand" panose="020B0604020202020204"/>
                <a:cs typeface="Amatic SC" panose="00000500000000000000" pitchFamily="2" charset="-79"/>
              </a:rPr>
              <a:t>De </a:t>
            </a:r>
            <a:r>
              <a:rPr lang="da-DK" sz="1400" b="1">
                <a:solidFill>
                  <a:schemeClr val="tx1"/>
                </a:solidFill>
                <a:latin typeface="Quicksand" panose="020B0604020202020204"/>
                <a:cs typeface="Amatic SC" panose="00000500000000000000" pitchFamily="2" charset="-79"/>
              </a:rPr>
              <a:t>indtager oftere elevperspektivet.</a:t>
            </a:r>
          </a:p>
          <a:p>
            <a:pPr marL="742950" lvl="1" indent="-285750">
              <a:buFont typeface="Arial" panose="020B0604020202020204" pitchFamily="34" charset="0"/>
              <a:buChar char="•"/>
            </a:pPr>
            <a:endParaRPr lang="da-DK" sz="1400">
              <a:solidFill>
                <a:schemeClr val="tx1"/>
              </a:solidFill>
              <a:latin typeface="Quicksand" panose="020B0604020202020204"/>
              <a:cs typeface="Amatic SC" panose="00000500000000000000" pitchFamily="2" charset="-79"/>
            </a:endParaRPr>
          </a:p>
        </p:txBody>
      </p:sp>
      <p:sp>
        <p:nvSpPr>
          <p:cNvPr id="11" name="TextBox 10">
            <a:extLst>
              <a:ext uri="{FF2B5EF4-FFF2-40B4-BE49-F238E27FC236}">
                <a16:creationId xmlns:a16="http://schemas.microsoft.com/office/drawing/2014/main" id="{6522811D-D684-D540-607B-3B8A9E427BF6}"/>
              </a:ext>
            </a:extLst>
          </p:cNvPr>
          <p:cNvSpPr txBox="1"/>
          <p:nvPr/>
        </p:nvSpPr>
        <p:spPr>
          <a:xfrm>
            <a:off x="8423845" y="2250831"/>
            <a:ext cx="3096155" cy="2862322"/>
          </a:xfrm>
          <a:prstGeom prst="rect">
            <a:avLst/>
          </a:prstGeom>
          <a:noFill/>
          <a:ln>
            <a:noFill/>
          </a:ln>
        </p:spPr>
        <p:txBody>
          <a:bodyPr wrap="square" lIns="0" tIns="0" rIns="0" bIns="0" rtlCol="0">
            <a:spAutoFit/>
          </a:bodyPr>
          <a:lstStyle/>
          <a:p>
            <a:r>
              <a:rPr lang="da-DK" sz="1400" dirty="0">
                <a:latin typeface="Quicksand" panose="020B0604020202020204" charset="0"/>
                <a:cs typeface="Quicksand" panose="020B0604020202020204" charset="0"/>
              </a:rPr>
              <a:t>Før aktionslæring var jeg noget mere fokuseret på, hvad det er, vi skal kunne på en bestemt time – et  fagligt mål – men nu tænker jeg mere, at nu kan han eller hun ikke lige det her, så nu skal vi lige det her i stedet. Vi tilpasser mere og retter til i undervisningen. Det, synes jeg, jeg gør meget mere nu end før aktionslæring. At tage barneperspektivet. Hvorfor er det, at han ikke griber den her opgave, hvad kan det være, hvad skal jeg gøre for at få ham med. </a:t>
            </a:r>
          </a:p>
          <a:p>
            <a:pPr algn="r"/>
            <a:r>
              <a:rPr lang="da-DK" sz="1000" i="1" dirty="0">
                <a:latin typeface="Quicksand" panose="020B0604020202020204" charset="0"/>
                <a:cs typeface="Quicksand" panose="020B0604020202020204" charset="0"/>
              </a:rPr>
              <a:t>Pædagogisk personale</a:t>
            </a:r>
          </a:p>
          <a:p>
            <a:endParaRPr lang="da-DK" sz="800" dirty="0">
              <a:latin typeface="Quicksand" panose="020B0604020202020204" charset="0"/>
              <a:cs typeface="Quicksand" panose="020B0604020202020204" charset="0"/>
            </a:endParaRPr>
          </a:p>
        </p:txBody>
      </p:sp>
      <p:pic>
        <p:nvPicPr>
          <p:cNvPr id="14" name="Graphic 13" descr="Open quotation mark with solid fill">
            <a:extLst>
              <a:ext uri="{FF2B5EF4-FFF2-40B4-BE49-F238E27FC236}">
                <a16:creationId xmlns:a16="http://schemas.microsoft.com/office/drawing/2014/main" id="{6422B144-B51A-ED56-C2EB-F1FC749B806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14722" y="1442113"/>
            <a:ext cx="914400" cy="914400"/>
          </a:xfrm>
          <a:prstGeom prst="rect">
            <a:avLst/>
          </a:prstGeom>
        </p:spPr>
      </p:pic>
      <p:sp>
        <p:nvSpPr>
          <p:cNvPr id="15" name="Google Shape;1275;p48">
            <a:extLst>
              <a:ext uri="{FF2B5EF4-FFF2-40B4-BE49-F238E27FC236}">
                <a16:creationId xmlns:a16="http://schemas.microsoft.com/office/drawing/2014/main" id="{1ACACBD9-EF5B-A766-9F60-64E4D71D1475}"/>
              </a:ext>
            </a:extLst>
          </p:cNvPr>
          <p:cNvSpPr/>
          <p:nvPr/>
        </p:nvSpPr>
        <p:spPr>
          <a:xfrm>
            <a:off x="832509" y="1715877"/>
            <a:ext cx="321749" cy="403662"/>
          </a:xfrm>
          <a:custGeom>
            <a:avLst/>
            <a:gdLst/>
            <a:ahLst/>
            <a:cxnLst/>
            <a:rect l="l" t="t" r="r" b="b"/>
            <a:pathLst>
              <a:path w="14722" h="18470" extrusionOk="0">
                <a:moveTo>
                  <a:pt x="11874" y="658"/>
                </a:moveTo>
                <a:lnTo>
                  <a:pt x="11826" y="1291"/>
                </a:lnTo>
                <a:lnTo>
                  <a:pt x="11777" y="1923"/>
                </a:lnTo>
                <a:lnTo>
                  <a:pt x="11753" y="2264"/>
                </a:lnTo>
                <a:lnTo>
                  <a:pt x="11680" y="2580"/>
                </a:lnTo>
                <a:lnTo>
                  <a:pt x="11607" y="2872"/>
                </a:lnTo>
                <a:lnTo>
                  <a:pt x="11509" y="3188"/>
                </a:lnTo>
                <a:lnTo>
                  <a:pt x="11412" y="3407"/>
                </a:lnTo>
                <a:lnTo>
                  <a:pt x="11290" y="3626"/>
                </a:lnTo>
                <a:lnTo>
                  <a:pt x="11144" y="3797"/>
                </a:lnTo>
                <a:lnTo>
                  <a:pt x="10974" y="3943"/>
                </a:lnTo>
                <a:lnTo>
                  <a:pt x="10779" y="4064"/>
                </a:lnTo>
                <a:lnTo>
                  <a:pt x="10560" y="4162"/>
                </a:lnTo>
                <a:lnTo>
                  <a:pt x="10341" y="4235"/>
                </a:lnTo>
                <a:lnTo>
                  <a:pt x="10122" y="4308"/>
                </a:lnTo>
                <a:lnTo>
                  <a:pt x="9976" y="4332"/>
                </a:lnTo>
                <a:lnTo>
                  <a:pt x="9855" y="4332"/>
                </a:lnTo>
                <a:lnTo>
                  <a:pt x="9563" y="4308"/>
                </a:lnTo>
                <a:lnTo>
                  <a:pt x="9295" y="4259"/>
                </a:lnTo>
                <a:lnTo>
                  <a:pt x="9052" y="4162"/>
                </a:lnTo>
                <a:lnTo>
                  <a:pt x="9392" y="3894"/>
                </a:lnTo>
                <a:lnTo>
                  <a:pt x="9611" y="3675"/>
                </a:lnTo>
                <a:lnTo>
                  <a:pt x="9806" y="3432"/>
                </a:lnTo>
                <a:lnTo>
                  <a:pt x="10025" y="3188"/>
                </a:lnTo>
                <a:lnTo>
                  <a:pt x="10220" y="2921"/>
                </a:lnTo>
                <a:lnTo>
                  <a:pt x="10366" y="2629"/>
                </a:lnTo>
                <a:lnTo>
                  <a:pt x="10512" y="2337"/>
                </a:lnTo>
                <a:lnTo>
                  <a:pt x="10633" y="2045"/>
                </a:lnTo>
                <a:lnTo>
                  <a:pt x="10706" y="1753"/>
                </a:lnTo>
                <a:lnTo>
                  <a:pt x="10706" y="1680"/>
                </a:lnTo>
                <a:lnTo>
                  <a:pt x="10682" y="1607"/>
                </a:lnTo>
                <a:lnTo>
                  <a:pt x="10658" y="1558"/>
                </a:lnTo>
                <a:lnTo>
                  <a:pt x="10585" y="1534"/>
                </a:lnTo>
                <a:lnTo>
                  <a:pt x="10536" y="1510"/>
                </a:lnTo>
                <a:lnTo>
                  <a:pt x="10463" y="1510"/>
                </a:lnTo>
                <a:lnTo>
                  <a:pt x="10414" y="1558"/>
                </a:lnTo>
                <a:lnTo>
                  <a:pt x="10366" y="1607"/>
                </a:lnTo>
                <a:lnTo>
                  <a:pt x="10098" y="2069"/>
                </a:lnTo>
                <a:lnTo>
                  <a:pt x="9855" y="2531"/>
                </a:lnTo>
                <a:lnTo>
                  <a:pt x="9587" y="2969"/>
                </a:lnTo>
                <a:lnTo>
                  <a:pt x="9441" y="3188"/>
                </a:lnTo>
                <a:lnTo>
                  <a:pt x="9271" y="3383"/>
                </a:lnTo>
                <a:lnTo>
                  <a:pt x="9027" y="3626"/>
                </a:lnTo>
                <a:lnTo>
                  <a:pt x="8760" y="3845"/>
                </a:lnTo>
                <a:lnTo>
                  <a:pt x="8735" y="3845"/>
                </a:lnTo>
                <a:lnTo>
                  <a:pt x="8638" y="3724"/>
                </a:lnTo>
                <a:lnTo>
                  <a:pt x="8589" y="3578"/>
                </a:lnTo>
                <a:lnTo>
                  <a:pt x="8565" y="3432"/>
                </a:lnTo>
                <a:lnTo>
                  <a:pt x="8541" y="3261"/>
                </a:lnTo>
                <a:lnTo>
                  <a:pt x="8589" y="2921"/>
                </a:lnTo>
                <a:lnTo>
                  <a:pt x="8638" y="2629"/>
                </a:lnTo>
                <a:lnTo>
                  <a:pt x="8711" y="2410"/>
                </a:lnTo>
                <a:lnTo>
                  <a:pt x="8808" y="2215"/>
                </a:lnTo>
                <a:lnTo>
                  <a:pt x="8930" y="2020"/>
                </a:lnTo>
                <a:lnTo>
                  <a:pt x="9052" y="1850"/>
                </a:lnTo>
                <a:lnTo>
                  <a:pt x="9222" y="1680"/>
                </a:lnTo>
                <a:lnTo>
                  <a:pt x="9392" y="1510"/>
                </a:lnTo>
                <a:lnTo>
                  <a:pt x="9563" y="1388"/>
                </a:lnTo>
                <a:lnTo>
                  <a:pt x="9757" y="1266"/>
                </a:lnTo>
                <a:lnTo>
                  <a:pt x="10001" y="1120"/>
                </a:lnTo>
                <a:lnTo>
                  <a:pt x="10244" y="1023"/>
                </a:lnTo>
                <a:lnTo>
                  <a:pt x="10512" y="950"/>
                </a:lnTo>
                <a:lnTo>
                  <a:pt x="10779" y="877"/>
                </a:lnTo>
                <a:lnTo>
                  <a:pt x="11339" y="755"/>
                </a:lnTo>
                <a:lnTo>
                  <a:pt x="11874" y="658"/>
                </a:lnTo>
                <a:close/>
                <a:moveTo>
                  <a:pt x="1849" y="4527"/>
                </a:moveTo>
                <a:lnTo>
                  <a:pt x="2141" y="4551"/>
                </a:lnTo>
                <a:lnTo>
                  <a:pt x="2433" y="4600"/>
                </a:lnTo>
                <a:lnTo>
                  <a:pt x="2701" y="4648"/>
                </a:lnTo>
                <a:lnTo>
                  <a:pt x="2993" y="4746"/>
                </a:lnTo>
                <a:lnTo>
                  <a:pt x="3236" y="4819"/>
                </a:lnTo>
                <a:lnTo>
                  <a:pt x="3772" y="5062"/>
                </a:lnTo>
                <a:lnTo>
                  <a:pt x="4258" y="5330"/>
                </a:lnTo>
                <a:lnTo>
                  <a:pt x="4721" y="5622"/>
                </a:lnTo>
                <a:lnTo>
                  <a:pt x="4915" y="5768"/>
                </a:lnTo>
                <a:lnTo>
                  <a:pt x="5061" y="5914"/>
                </a:lnTo>
                <a:lnTo>
                  <a:pt x="5232" y="6084"/>
                </a:lnTo>
                <a:lnTo>
                  <a:pt x="5353" y="6254"/>
                </a:lnTo>
                <a:lnTo>
                  <a:pt x="5597" y="6644"/>
                </a:lnTo>
                <a:lnTo>
                  <a:pt x="5816" y="7057"/>
                </a:lnTo>
                <a:lnTo>
                  <a:pt x="5913" y="7301"/>
                </a:lnTo>
                <a:lnTo>
                  <a:pt x="5986" y="7568"/>
                </a:lnTo>
                <a:lnTo>
                  <a:pt x="6059" y="7836"/>
                </a:lnTo>
                <a:lnTo>
                  <a:pt x="6083" y="8104"/>
                </a:lnTo>
                <a:lnTo>
                  <a:pt x="6083" y="8323"/>
                </a:lnTo>
                <a:lnTo>
                  <a:pt x="6059" y="8542"/>
                </a:lnTo>
                <a:lnTo>
                  <a:pt x="5962" y="8858"/>
                </a:lnTo>
                <a:lnTo>
                  <a:pt x="5670" y="8712"/>
                </a:lnTo>
                <a:lnTo>
                  <a:pt x="5305" y="8493"/>
                </a:lnTo>
                <a:lnTo>
                  <a:pt x="4988" y="8250"/>
                </a:lnTo>
                <a:lnTo>
                  <a:pt x="4672" y="7958"/>
                </a:lnTo>
                <a:lnTo>
                  <a:pt x="4380" y="7666"/>
                </a:lnTo>
                <a:lnTo>
                  <a:pt x="4015" y="7179"/>
                </a:lnTo>
                <a:lnTo>
                  <a:pt x="3796" y="6911"/>
                </a:lnTo>
                <a:lnTo>
                  <a:pt x="3553" y="6619"/>
                </a:lnTo>
                <a:lnTo>
                  <a:pt x="3309" y="6376"/>
                </a:lnTo>
                <a:lnTo>
                  <a:pt x="3163" y="6279"/>
                </a:lnTo>
                <a:lnTo>
                  <a:pt x="3042" y="6181"/>
                </a:lnTo>
                <a:lnTo>
                  <a:pt x="2896" y="6108"/>
                </a:lnTo>
                <a:lnTo>
                  <a:pt x="2774" y="6060"/>
                </a:lnTo>
                <a:lnTo>
                  <a:pt x="2628" y="6035"/>
                </a:lnTo>
                <a:lnTo>
                  <a:pt x="2433" y="6035"/>
                </a:lnTo>
                <a:lnTo>
                  <a:pt x="2409" y="6060"/>
                </a:lnTo>
                <a:lnTo>
                  <a:pt x="2409" y="6108"/>
                </a:lnTo>
                <a:lnTo>
                  <a:pt x="2409" y="6157"/>
                </a:lnTo>
                <a:lnTo>
                  <a:pt x="2506" y="6279"/>
                </a:lnTo>
                <a:lnTo>
                  <a:pt x="2604" y="6425"/>
                </a:lnTo>
                <a:lnTo>
                  <a:pt x="2847" y="6668"/>
                </a:lnTo>
                <a:lnTo>
                  <a:pt x="3090" y="6911"/>
                </a:lnTo>
                <a:lnTo>
                  <a:pt x="3309" y="7130"/>
                </a:lnTo>
                <a:lnTo>
                  <a:pt x="3772" y="7739"/>
                </a:lnTo>
                <a:lnTo>
                  <a:pt x="4015" y="8031"/>
                </a:lnTo>
                <a:lnTo>
                  <a:pt x="4258" y="8323"/>
                </a:lnTo>
                <a:lnTo>
                  <a:pt x="4404" y="8444"/>
                </a:lnTo>
                <a:lnTo>
                  <a:pt x="4550" y="8590"/>
                </a:lnTo>
                <a:lnTo>
                  <a:pt x="4867" y="8834"/>
                </a:lnTo>
                <a:lnTo>
                  <a:pt x="5207" y="9053"/>
                </a:lnTo>
                <a:lnTo>
                  <a:pt x="5548" y="9247"/>
                </a:lnTo>
                <a:lnTo>
                  <a:pt x="5353" y="9345"/>
                </a:lnTo>
                <a:lnTo>
                  <a:pt x="5159" y="9418"/>
                </a:lnTo>
                <a:lnTo>
                  <a:pt x="4940" y="9466"/>
                </a:lnTo>
                <a:lnTo>
                  <a:pt x="4745" y="9491"/>
                </a:lnTo>
                <a:lnTo>
                  <a:pt x="4550" y="9491"/>
                </a:lnTo>
                <a:lnTo>
                  <a:pt x="4331" y="9466"/>
                </a:lnTo>
                <a:lnTo>
                  <a:pt x="4112" y="9442"/>
                </a:lnTo>
                <a:lnTo>
                  <a:pt x="3869" y="9369"/>
                </a:lnTo>
                <a:lnTo>
                  <a:pt x="3650" y="9296"/>
                </a:lnTo>
                <a:lnTo>
                  <a:pt x="3407" y="9174"/>
                </a:lnTo>
                <a:lnTo>
                  <a:pt x="3188" y="9053"/>
                </a:lnTo>
                <a:lnTo>
                  <a:pt x="2969" y="8907"/>
                </a:lnTo>
                <a:lnTo>
                  <a:pt x="2774" y="8761"/>
                </a:lnTo>
                <a:lnTo>
                  <a:pt x="2579" y="8590"/>
                </a:lnTo>
                <a:lnTo>
                  <a:pt x="2239" y="8201"/>
                </a:lnTo>
                <a:lnTo>
                  <a:pt x="2068" y="7982"/>
                </a:lnTo>
                <a:lnTo>
                  <a:pt x="1898" y="7714"/>
                </a:lnTo>
                <a:lnTo>
                  <a:pt x="1776" y="7471"/>
                </a:lnTo>
                <a:lnTo>
                  <a:pt x="1655" y="7179"/>
                </a:lnTo>
                <a:lnTo>
                  <a:pt x="1460" y="6619"/>
                </a:lnTo>
                <a:lnTo>
                  <a:pt x="1314" y="6060"/>
                </a:lnTo>
                <a:lnTo>
                  <a:pt x="1144" y="5330"/>
                </a:lnTo>
                <a:lnTo>
                  <a:pt x="1046" y="4940"/>
                </a:lnTo>
                <a:lnTo>
                  <a:pt x="998" y="4575"/>
                </a:lnTo>
                <a:lnTo>
                  <a:pt x="1265" y="4551"/>
                </a:lnTo>
                <a:lnTo>
                  <a:pt x="1557" y="4527"/>
                </a:lnTo>
                <a:close/>
                <a:moveTo>
                  <a:pt x="10974" y="14138"/>
                </a:moveTo>
                <a:lnTo>
                  <a:pt x="10755" y="14187"/>
                </a:lnTo>
                <a:lnTo>
                  <a:pt x="10536" y="14260"/>
                </a:lnTo>
                <a:lnTo>
                  <a:pt x="10098" y="14430"/>
                </a:lnTo>
                <a:lnTo>
                  <a:pt x="9855" y="14503"/>
                </a:lnTo>
                <a:lnTo>
                  <a:pt x="9636" y="14600"/>
                </a:lnTo>
                <a:lnTo>
                  <a:pt x="9198" y="14844"/>
                </a:lnTo>
                <a:lnTo>
                  <a:pt x="9173" y="14868"/>
                </a:lnTo>
                <a:lnTo>
                  <a:pt x="9149" y="14892"/>
                </a:lnTo>
                <a:lnTo>
                  <a:pt x="9173" y="14965"/>
                </a:lnTo>
                <a:lnTo>
                  <a:pt x="9198" y="14990"/>
                </a:lnTo>
                <a:lnTo>
                  <a:pt x="9246" y="15014"/>
                </a:lnTo>
                <a:lnTo>
                  <a:pt x="9271" y="15014"/>
                </a:lnTo>
                <a:lnTo>
                  <a:pt x="9490" y="14941"/>
                </a:lnTo>
                <a:lnTo>
                  <a:pt x="9757" y="14892"/>
                </a:lnTo>
                <a:lnTo>
                  <a:pt x="10268" y="14795"/>
                </a:lnTo>
                <a:lnTo>
                  <a:pt x="10512" y="14722"/>
                </a:lnTo>
                <a:lnTo>
                  <a:pt x="10731" y="14625"/>
                </a:lnTo>
                <a:lnTo>
                  <a:pt x="10828" y="14552"/>
                </a:lnTo>
                <a:lnTo>
                  <a:pt x="10925" y="14479"/>
                </a:lnTo>
                <a:lnTo>
                  <a:pt x="11023" y="14381"/>
                </a:lnTo>
                <a:lnTo>
                  <a:pt x="11096" y="14284"/>
                </a:lnTo>
                <a:lnTo>
                  <a:pt x="11096" y="14235"/>
                </a:lnTo>
                <a:lnTo>
                  <a:pt x="11071" y="14162"/>
                </a:lnTo>
                <a:lnTo>
                  <a:pt x="11023" y="14138"/>
                </a:lnTo>
                <a:close/>
                <a:moveTo>
                  <a:pt x="8297" y="13116"/>
                </a:moveTo>
                <a:lnTo>
                  <a:pt x="8614" y="13140"/>
                </a:lnTo>
                <a:lnTo>
                  <a:pt x="8443" y="13238"/>
                </a:lnTo>
                <a:lnTo>
                  <a:pt x="8370" y="13286"/>
                </a:lnTo>
                <a:lnTo>
                  <a:pt x="8297" y="13335"/>
                </a:lnTo>
                <a:lnTo>
                  <a:pt x="8273" y="13384"/>
                </a:lnTo>
                <a:lnTo>
                  <a:pt x="8249" y="13432"/>
                </a:lnTo>
                <a:lnTo>
                  <a:pt x="8273" y="13505"/>
                </a:lnTo>
                <a:lnTo>
                  <a:pt x="8322" y="13578"/>
                </a:lnTo>
                <a:lnTo>
                  <a:pt x="8370" y="13603"/>
                </a:lnTo>
                <a:lnTo>
                  <a:pt x="8419" y="13627"/>
                </a:lnTo>
                <a:lnTo>
                  <a:pt x="8614" y="13603"/>
                </a:lnTo>
                <a:lnTo>
                  <a:pt x="8784" y="13554"/>
                </a:lnTo>
                <a:lnTo>
                  <a:pt x="9125" y="13432"/>
                </a:lnTo>
                <a:lnTo>
                  <a:pt x="9271" y="13408"/>
                </a:lnTo>
                <a:lnTo>
                  <a:pt x="9538" y="13408"/>
                </a:lnTo>
                <a:lnTo>
                  <a:pt x="9660" y="13384"/>
                </a:lnTo>
                <a:lnTo>
                  <a:pt x="9782" y="13432"/>
                </a:lnTo>
                <a:lnTo>
                  <a:pt x="10220" y="13651"/>
                </a:lnTo>
                <a:lnTo>
                  <a:pt x="9952" y="13724"/>
                </a:lnTo>
                <a:lnTo>
                  <a:pt x="9709" y="13797"/>
                </a:lnTo>
                <a:lnTo>
                  <a:pt x="9149" y="13919"/>
                </a:lnTo>
                <a:lnTo>
                  <a:pt x="8857" y="13968"/>
                </a:lnTo>
                <a:lnTo>
                  <a:pt x="8589" y="14041"/>
                </a:lnTo>
                <a:lnTo>
                  <a:pt x="8541" y="14089"/>
                </a:lnTo>
                <a:lnTo>
                  <a:pt x="8516" y="14138"/>
                </a:lnTo>
                <a:lnTo>
                  <a:pt x="8541" y="14187"/>
                </a:lnTo>
                <a:lnTo>
                  <a:pt x="8589" y="14235"/>
                </a:lnTo>
                <a:lnTo>
                  <a:pt x="8857" y="14284"/>
                </a:lnTo>
                <a:lnTo>
                  <a:pt x="9125" y="14284"/>
                </a:lnTo>
                <a:lnTo>
                  <a:pt x="9392" y="14260"/>
                </a:lnTo>
                <a:lnTo>
                  <a:pt x="9660" y="14211"/>
                </a:lnTo>
                <a:lnTo>
                  <a:pt x="9903" y="14162"/>
                </a:lnTo>
                <a:lnTo>
                  <a:pt x="10171" y="14114"/>
                </a:lnTo>
                <a:lnTo>
                  <a:pt x="10414" y="14016"/>
                </a:lnTo>
                <a:lnTo>
                  <a:pt x="10536" y="13943"/>
                </a:lnTo>
                <a:lnTo>
                  <a:pt x="10633" y="13870"/>
                </a:lnTo>
                <a:lnTo>
                  <a:pt x="11096" y="14162"/>
                </a:lnTo>
                <a:lnTo>
                  <a:pt x="11558" y="14479"/>
                </a:lnTo>
                <a:lnTo>
                  <a:pt x="11631" y="14527"/>
                </a:lnTo>
                <a:lnTo>
                  <a:pt x="11193" y="14722"/>
                </a:lnTo>
                <a:lnTo>
                  <a:pt x="10852" y="14892"/>
                </a:lnTo>
                <a:lnTo>
                  <a:pt x="10512" y="15014"/>
                </a:lnTo>
                <a:lnTo>
                  <a:pt x="10171" y="15136"/>
                </a:lnTo>
                <a:lnTo>
                  <a:pt x="9830" y="15209"/>
                </a:lnTo>
                <a:lnTo>
                  <a:pt x="9782" y="15233"/>
                </a:lnTo>
                <a:lnTo>
                  <a:pt x="9782" y="15257"/>
                </a:lnTo>
                <a:lnTo>
                  <a:pt x="9782" y="15282"/>
                </a:lnTo>
                <a:lnTo>
                  <a:pt x="9830" y="15306"/>
                </a:lnTo>
                <a:lnTo>
                  <a:pt x="9976" y="15330"/>
                </a:lnTo>
                <a:lnTo>
                  <a:pt x="10122" y="15330"/>
                </a:lnTo>
                <a:lnTo>
                  <a:pt x="10414" y="15306"/>
                </a:lnTo>
                <a:lnTo>
                  <a:pt x="10731" y="15233"/>
                </a:lnTo>
                <a:lnTo>
                  <a:pt x="11023" y="15136"/>
                </a:lnTo>
                <a:lnTo>
                  <a:pt x="11485" y="14965"/>
                </a:lnTo>
                <a:lnTo>
                  <a:pt x="11996" y="14771"/>
                </a:lnTo>
                <a:lnTo>
                  <a:pt x="12337" y="15038"/>
                </a:lnTo>
                <a:lnTo>
                  <a:pt x="12093" y="15111"/>
                </a:lnTo>
                <a:lnTo>
                  <a:pt x="11874" y="15209"/>
                </a:lnTo>
                <a:lnTo>
                  <a:pt x="11436" y="15403"/>
                </a:lnTo>
                <a:lnTo>
                  <a:pt x="11047" y="15525"/>
                </a:lnTo>
                <a:lnTo>
                  <a:pt x="10682" y="15647"/>
                </a:lnTo>
                <a:lnTo>
                  <a:pt x="10293" y="15744"/>
                </a:lnTo>
                <a:lnTo>
                  <a:pt x="9903" y="15890"/>
                </a:lnTo>
                <a:lnTo>
                  <a:pt x="9879" y="15914"/>
                </a:lnTo>
                <a:lnTo>
                  <a:pt x="9879" y="15939"/>
                </a:lnTo>
                <a:lnTo>
                  <a:pt x="9879" y="15963"/>
                </a:lnTo>
                <a:lnTo>
                  <a:pt x="9903" y="15987"/>
                </a:lnTo>
                <a:lnTo>
                  <a:pt x="10098" y="16036"/>
                </a:lnTo>
                <a:lnTo>
                  <a:pt x="10268" y="16060"/>
                </a:lnTo>
                <a:lnTo>
                  <a:pt x="10463" y="16036"/>
                </a:lnTo>
                <a:lnTo>
                  <a:pt x="10658" y="16012"/>
                </a:lnTo>
                <a:lnTo>
                  <a:pt x="11023" y="15939"/>
                </a:lnTo>
                <a:lnTo>
                  <a:pt x="11388" y="15817"/>
                </a:lnTo>
                <a:lnTo>
                  <a:pt x="12020" y="15598"/>
                </a:lnTo>
                <a:lnTo>
                  <a:pt x="12337" y="15476"/>
                </a:lnTo>
                <a:lnTo>
                  <a:pt x="12629" y="15306"/>
                </a:lnTo>
                <a:lnTo>
                  <a:pt x="12921" y="15598"/>
                </a:lnTo>
                <a:lnTo>
                  <a:pt x="12434" y="15793"/>
                </a:lnTo>
                <a:lnTo>
                  <a:pt x="11947" y="15963"/>
                </a:lnTo>
                <a:lnTo>
                  <a:pt x="11534" y="16060"/>
                </a:lnTo>
                <a:lnTo>
                  <a:pt x="11096" y="16158"/>
                </a:lnTo>
                <a:lnTo>
                  <a:pt x="10682" y="16255"/>
                </a:lnTo>
                <a:lnTo>
                  <a:pt x="10487" y="16328"/>
                </a:lnTo>
                <a:lnTo>
                  <a:pt x="10293" y="16425"/>
                </a:lnTo>
                <a:lnTo>
                  <a:pt x="10268" y="16450"/>
                </a:lnTo>
                <a:lnTo>
                  <a:pt x="10268" y="16474"/>
                </a:lnTo>
                <a:lnTo>
                  <a:pt x="10268" y="16498"/>
                </a:lnTo>
                <a:lnTo>
                  <a:pt x="10293" y="16523"/>
                </a:lnTo>
                <a:lnTo>
                  <a:pt x="10512" y="16547"/>
                </a:lnTo>
                <a:lnTo>
                  <a:pt x="10731" y="16547"/>
                </a:lnTo>
                <a:lnTo>
                  <a:pt x="10950" y="16523"/>
                </a:lnTo>
                <a:lnTo>
                  <a:pt x="11169" y="16498"/>
                </a:lnTo>
                <a:lnTo>
                  <a:pt x="11607" y="16401"/>
                </a:lnTo>
                <a:lnTo>
                  <a:pt x="12020" y="16279"/>
                </a:lnTo>
                <a:lnTo>
                  <a:pt x="12312" y="16182"/>
                </a:lnTo>
                <a:lnTo>
                  <a:pt x="12604" y="16085"/>
                </a:lnTo>
                <a:lnTo>
                  <a:pt x="12872" y="15963"/>
                </a:lnTo>
                <a:lnTo>
                  <a:pt x="13140" y="15841"/>
                </a:lnTo>
                <a:lnTo>
                  <a:pt x="13164" y="15866"/>
                </a:lnTo>
                <a:lnTo>
                  <a:pt x="13407" y="16133"/>
                </a:lnTo>
                <a:lnTo>
                  <a:pt x="12994" y="16231"/>
                </a:lnTo>
                <a:lnTo>
                  <a:pt x="12604" y="16377"/>
                </a:lnTo>
                <a:lnTo>
                  <a:pt x="11680" y="16669"/>
                </a:lnTo>
                <a:lnTo>
                  <a:pt x="10779" y="16912"/>
                </a:lnTo>
                <a:lnTo>
                  <a:pt x="10731" y="16961"/>
                </a:lnTo>
                <a:lnTo>
                  <a:pt x="10706" y="17034"/>
                </a:lnTo>
                <a:lnTo>
                  <a:pt x="10731" y="17082"/>
                </a:lnTo>
                <a:lnTo>
                  <a:pt x="10804" y="17107"/>
                </a:lnTo>
                <a:lnTo>
                  <a:pt x="11023" y="17082"/>
                </a:lnTo>
                <a:lnTo>
                  <a:pt x="11242" y="17082"/>
                </a:lnTo>
                <a:lnTo>
                  <a:pt x="11680" y="16985"/>
                </a:lnTo>
                <a:lnTo>
                  <a:pt x="12093" y="16888"/>
                </a:lnTo>
                <a:lnTo>
                  <a:pt x="12531" y="16742"/>
                </a:lnTo>
                <a:lnTo>
                  <a:pt x="13091" y="16571"/>
                </a:lnTo>
                <a:lnTo>
                  <a:pt x="13626" y="16401"/>
                </a:lnTo>
                <a:lnTo>
                  <a:pt x="13870" y="16717"/>
                </a:lnTo>
                <a:lnTo>
                  <a:pt x="14089" y="17058"/>
                </a:lnTo>
                <a:lnTo>
                  <a:pt x="13894" y="17155"/>
                </a:lnTo>
                <a:lnTo>
                  <a:pt x="13699" y="17228"/>
                </a:lnTo>
                <a:lnTo>
                  <a:pt x="13286" y="17350"/>
                </a:lnTo>
                <a:lnTo>
                  <a:pt x="12872" y="17423"/>
                </a:lnTo>
                <a:lnTo>
                  <a:pt x="12434" y="17472"/>
                </a:lnTo>
                <a:lnTo>
                  <a:pt x="11339" y="17618"/>
                </a:lnTo>
                <a:lnTo>
                  <a:pt x="10220" y="17788"/>
                </a:lnTo>
                <a:lnTo>
                  <a:pt x="9587" y="17885"/>
                </a:lnTo>
                <a:lnTo>
                  <a:pt x="8930" y="17934"/>
                </a:lnTo>
                <a:lnTo>
                  <a:pt x="8297" y="17958"/>
                </a:lnTo>
                <a:lnTo>
                  <a:pt x="7032" y="17958"/>
                </a:lnTo>
                <a:lnTo>
                  <a:pt x="6400" y="17910"/>
                </a:lnTo>
                <a:lnTo>
                  <a:pt x="5110" y="17837"/>
                </a:lnTo>
                <a:lnTo>
                  <a:pt x="3918" y="17764"/>
                </a:lnTo>
                <a:lnTo>
                  <a:pt x="3334" y="17715"/>
                </a:lnTo>
                <a:lnTo>
                  <a:pt x="2725" y="17666"/>
                </a:lnTo>
                <a:lnTo>
                  <a:pt x="2166" y="17618"/>
                </a:lnTo>
                <a:lnTo>
                  <a:pt x="1849" y="17569"/>
                </a:lnTo>
                <a:lnTo>
                  <a:pt x="1533" y="17520"/>
                </a:lnTo>
                <a:lnTo>
                  <a:pt x="1217" y="17447"/>
                </a:lnTo>
                <a:lnTo>
                  <a:pt x="925" y="17350"/>
                </a:lnTo>
                <a:lnTo>
                  <a:pt x="681" y="17204"/>
                </a:lnTo>
                <a:lnTo>
                  <a:pt x="560" y="17131"/>
                </a:lnTo>
                <a:lnTo>
                  <a:pt x="462" y="17034"/>
                </a:lnTo>
                <a:lnTo>
                  <a:pt x="754" y="16644"/>
                </a:lnTo>
                <a:lnTo>
                  <a:pt x="1046" y="16279"/>
                </a:lnTo>
                <a:lnTo>
                  <a:pt x="1363" y="15914"/>
                </a:lnTo>
                <a:lnTo>
                  <a:pt x="1703" y="15574"/>
                </a:lnTo>
                <a:lnTo>
                  <a:pt x="2044" y="15257"/>
                </a:lnTo>
                <a:lnTo>
                  <a:pt x="2409" y="14941"/>
                </a:lnTo>
                <a:lnTo>
                  <a:pt x="2798" y="14649"/>
                </a:lnTo>
                <a:lnTo>
                  <a:pt x="3212" y="14381"/>
                </a:lnTo>
                <a:lnTo>
                  <a:pt x="3699" y="14089"/>
                </a:lnTo>
                <a:lnTo>
                  <a:pt x="4185" y="13870"/>
                </a:lnTo>
                <a:lnTo>
                  <a:pt x="4721" y="13676"/>
                </a:lnTo>
                <a:lnTo>
                  <a:pt x="5232" y="13505"/>
                </a:lnTo>
                <a:lnTo>
                  <a:pt x="5767" y="13384"/>
                </a:lnTo>
                <a:lnTo>
                  <a:pt x="6327" y="13286"/>
                </a:lnTo>
                <a:lnTo>
                  <a:pt x="6862" y="13189"/>
                </a:lnTo>
                <a:lnTo>
                  <a:pt x="7421" y="13140"/>
                </a:lnTo>
                <a:lnTo>
                  <a:pt x="7373" y="13603"/>
                </a:lnTo>
                <a:lnTo>
                  <a:pt x="7276" y="14065"/>
                </a:lnTo>
                <a:lnTo>
                  <a:pt x="7276" y="14187"/>
                </a:lnTo>
                <a:lnTo>
                  <a:pt x="7324" y="14284"/>
                </a:lnTo>
                <a:lnTo>
                  <a:pt x="7397" y="14357"/>
                </a:lnTo>
                <a:lnTo>
                  <a:pt x="7494" y="14381"/>
                </a:lnTo>
                <a:lnTo>
                  <a:pt x="7592" y="14406"/>
                </a:lnTo>
                <a:lnTo>
                  <a:pt x="7689" y="14381"/>
                </a:lnTo>
                <a:lnTo>
                  <a:pt x="7762" y="14308"/>
                </a:lnTo>
                <a:lnTo>
                  <a:pt x="7811" y="14211"/>
                </a:lnTo>
                <a:lnTo>
                  <a:pt x="7884" y="13676"/>
                </a:lnTo>
                <a:lnTo>
                  <a:pt x="7957" y="13116"/>
                </a:lnTo>
                <a:close/>
                <a:moveTo>
                  <a:pt x="6886" y="1"/>
                </a:moveTo>
                <a:lnTo>
                  <a:pt x="6813" y="25"/>
                </a:lnTo>
                <a:lnTo>
                  <a:pt x="6765" y="25"/>
                </a:lnTo>
                <a:lnTo>
                  <a:pt x="6740" y="74"/>
                </a:lnTo>
                <a:lnTo>
                  <a:pt x="6740" y="98"/>
                </a:lnTo>
                <a:lnTo>
                  <a:pt x="6740" y="147"/>
                </a:lnTo>
                <a:lnTo>
                  <a:pt x="6862" y="536"/>
                </a:lnTo>
                <a:lnTo>
                  <a:pt x="7008" y="926"/>
                </a:lnTo>
                <a:lnTo>
                  <a:pt x="7130" y="1315"/>
                </a:lnTo>
                <a:lnTo>
                  <a:pt x="7227" y="1704"/>
                </a:lnTo>
                <a:lnTo>
                  <a:pt x="7300" y="2118"/>
                </a:lnTo>
                <a:lnTo>
                  <a:pt x="7349" y="2556"/>
                </a:lnTo>
                <a:lnTo>
                  <a:pt x="7373" y="2994"/>
                </a:lnTo>
                <a:lnTo>
                  <a:pt x="7373" y="3407"/>
                </a:lnTo>
                <a:lnTo>
                  <a:pt x="7324" y="3870"/>
                </a:lnTo>
                <a:lnTo>
                  <a:pt x="7276" y="4332"/>
                </a:lnTo>
                <a:lnTo>
                  <a:pt x="7105" y="5257"/>
                </a:lnTo>
                <a:lnTo>
                  <a:pt x="6911" y="6181"/>
                </a:lnTo>
                <a:lnTo>
                  <a:pt x="6838" y="6644"/>
                </a:lnTo>
                <a:lnTo>
                  <a:pt x="6765" y="7106"/>
                </a:lnTo>
                <a:lnTo>
                  <a:pt x="6716" y="7666"/>
                </a:lnTo>
                <a:lnTo>
                  <a:pt x="6716" y="8201"/>
                </a:lnTo>
                <a:lnTo>
                  <a:pt x="6765" y="8712"/>
                </a:lnTo>
                <a:lnTo>
                  <a:pt x="6838" y="9223"/>
                </a:lnTo>
                <a:lnTo>
                  <a:pt x="6424" y="9077"/>
                </a:lnTo>
                <a:lnTo>
                  <a:pt x="6497" y="8834"/>
                </a:lnTo>
                <a:lnTo>
                  <a:pt x="6570" y="8590"/>
                </a:lnTo>
                <a:lnTo>
                  <a:pt x="6594" y="8347"/>
                </a:lnTo>
                <a:lnTo>
                  <a:pt x="6594" y="8079"/>
                </a:lnTo>
                <a:lnTo>
                  <a:pt x="6570" y="7836"/>
                </a:lnTo>
                <a:lnTo>
                  <a:pt x="6521" y="7568"/>
                </a:lnTo>
                <a:lnTo>
                  <a:pt x="6448" y="7325"/>
                </a:lnTo>
                <a:lnTo>
                  <a:pt x="6351" y="7082"/>
                </a:lnTo>
                <a:lnTo>
                  <a:pt x="6254" y="6838"/>
                </a:lnTo>
                <a:lnTo>
                  <a:pt x="6132" y="6595"/>
                </a:lnTo>
                <a:lnTo>
                  <a:pt x="6010" y="6352"/>
                </a:lnTo>
                <a:lnTo>
                  <a:pt x="5864" y="6133"/>
                </a:lnTo>
                <a:lnTo>
                  <a:pt x="5694" y="5938"/>
                </a:lnTo>
                <a:lnTo>
                  <a:pt x="5548" y="5743"/>
                </a:lnTo>
                <a:lnTo>
                  <a:pt x="5378" y="5549"/>
                </a:lnTo>
                <a:lnTo>
                  <a:pt x="5207" y="5403"/>
                </a:lnTo>
                <a:lnTo>
                  <a:pt x="4964" y="5208"/>
                </a:lnTo>
                <a:lnTo>
                  <a:pt x="4696" y="5013"/>
                </a:lnTo>
                <a:lnTo>
                  <a:pt x="4429" y="4867"/>
                </a:lnTo>
                <a:lnTo>
                  <a:pt x="4161" y="4721"/>
                </a:lnTo>
                <a:lnTo>
                  <a:pt x="3869" y="4575"/>
                </a:lnTo>
                <a:lnTo>
                  <a:pt x="3577" y="4454"/>
                </a:lnTo>
                <a:lnTo>
                  <a:pt x="2993" y="4259"/>
                </a:lnTo>
                <a:lnTo>
                  <a:pt x="2506" y="4137"/>
                </a:lnTo>
                <a:lnTo>
                  <a:pt x="2239" y="4089"/>
                </a:lnTo>
                <a:lnTo>
                  <a:pt x="1971" y="4064"/>
                </a:lnTo>
                <a:lnTo>
                  <a:pt x="1679" y="4040"/>
                </a:lnTo>
                <a:lnTo>
                  <a:pt x="1411" y="4064"/>
                </a:lnTo>
                <a:lnTo>
                  <a:pt x="1168" y="4137"/>
                </a:lnTo>
                <a:lnTo>
                  <a:pt x="949" y="4235"/>
                </a:lnTo>
                <a:lnTo>
                  <a:pt x="900" y="4186"/>
                </a:lnTo>
                <a:lnTo>
                  <a:pt x="852" y="4137"/>
                </a:lnTo>
                <a:lnTo>
                  <a:pt x="803" y="4137"/>
                </a:lnTo>
                <a:lnTo>
                  <a:pt x="754" y="4186"/>
                </a:lnTo>
                <a:lnTo>
                  <a:pt x="681" y="4259"/>
                </a:lnTo>
                <a:lnTo>
                  <a:pt x="633" y="4356"/>
                </a:lnTo>
                <a:lnTo>
                  <a:pt x="608" y="4454"/>
                </a:lnTo>
                <a:lnTo>
                  <a:pt x="584" y="4575"/>
                </a:lnTo>
                <a:lnTo>
                  <a:pt x="584" y="4819"/>
                </a:lnTo>
                <a:lnTo>
                  <a:pt x="608" y="5062"/>
                </a:lnTo>
                <a:lnTo>
                  <a:pt x="657" y="5330"/>
                </a:lnTo>
                <a:lnTo>
                  <a:pt x="706" y="5597"/>
                </a:lnTo>
                <a:lnTo>
                  <a:pt x="803" y="6011"/>
                </a:lnTo>
                <a:lnTo>
                  <a:pt x="876" y="6352"/>
                </a:lnTo>
                <a:lnTo>
                  <a:pt x="973" y="6692"/>
                </a:lnTo>
                <a:lnTo>
                  <a:pt x="1071" y="7033"/>
                </a:lnTo>
                <a:lnTo>
                  <a:pt x="1192" y="7349"/>
                </a:lnTo>
                <a:lnTo>
                  <a:pt x="1338" y="7690"/>
                </a:lnTo>
                <a:lnTo>
                  <a:pt x="1484" y="8006"/>
                </a:lnTo>
                <a:lnTo>
                  <a:pt x="1679" y="8298"/>
                </a:lnTo>
                <a:lnTo>
                  <a:pt x="1874" y="8566"/>
                </a:lnTo>
                <a:lnTo>
                  <a:pt x="2068" y="8809"/>
                </a:lnTo>
                <a:lnTo>
                  <a:pt x="2287" y="9004"/>
                </a:lnTo>
                <a:lnTo>
                  <a:pt x="2531" y="9199"/>
                </a:lnTo>
                <a:lnTo>
                  <a:pt x="2774" y="9393"/>
                </a:lnTo>
                <a:lnTo>
                  <a:pt x="3042" y="9539"/>
                </a:lnTo>
                <a:lnTo>
                  <a:pt x="3309" y="9685"/>
                </a:lnTo>
                <a:lnTo>
                  <a:pt x="3577" y="9807"/>
                </a:lnTo>
                <a:lnTo>
                  <a:pt x="3869" y="9904"/>
                </a:lnTo>
                <a:lnTo>
                  <a:pt x="4161" y="9977"/>
                </a:lnTo>
                <a:lnTo>
                  <a:pt x="4453" y="10001"/>
                </a:lnTo>
                <a:lnTo>
                  <a:pt x="4745" y="10001"/>
                </a:lnTo>
                <a:lnTo>
                  <a:pt x="5013" y="9977"/>
                </a:lnTo>
                <a:lnTo>
                  <a:pt x="5280" y="9904"/>
                </a:lnTo>
                <a:lnTo>
                  <a:pt x="5548" y="9807"/>
                </a:lnTo>
                <a:lnTo>
                  <a:pt x="5816" y="9685"/>
                </a:lnTo>
                <a:lnTo>
                  <a:pt x="6059" y="9539"/>
                </a:lnTo>
                <a:lnTo>
                  <a:pt x="6278" y="9637"/>
                </a:lnTo>
                <a:lnTo>
                  <a:pt x="6521" y="9734"/>
                </a:lnTo>
                <a:lnTo>
                  <a:pt x="6740" y="9783"/>
                </a:lnTo>
                <a:lnTo>
                  <a:pt x="6984" y="9807"/>
                </a:lnTo>
                <a:lnTo>
                  <a:pt x="7203" y="10634"/>
                </a:lnTo>
                <a:lnTo>
                  <a:pt x="7324" y="11145"/>
                </a:lnTo>
                <a:lnTo>
                  <a:pt x="7421" y="11632"/>
                </a:lnTo>
                <a:lnTo>
                  <a:pt x="7446" y="12143"/>
                </a:lnTo>
                <a:lnTo>
                  <a:pt x="7446" y="12629"/>
                </a:lnTo>
                <a:lnTo>
                  <a:pt x="6886" y="12678"/>
                </a:lnTo>
                <a:lnTo>
                  <a:pt x="6327" y="12775"/>
                </a:lnTo>
                <a:lnTo>
                  <a:pt x="5767" y="12873"/>
                </a:lnTo>
                <a:lnTo>
                  <a:pt x="5207" y="12994"/>
                </a:lnTo>
                <a:lnTo>
                  <a:pt x="4648" y="13165"/>
                </a:lnTo>
                <a:lnTo>
                  <a:pt x="4112" y="13359"/>
                </a:lnTo>
                <a:lnTo>
                  <a:pt x="3601" y="13603"/>
                </a:lnTo>
                <a:lnTo>
                  <a:pt x="3090" y="13870"/>
                </a:lnTo>
                <a:lnTo>
                  <a:pt x="2652" y="14138"/>
                </a:lnTo>
                <a:lnTo>
                  <a:pt x="2239" y="14454"/>
                </a:lnTo>
                <a:lnTo>
                  <a:pt x="1825" y="14795"/>
                </a:lnTo>
                <a:lnTo>
                  <a:pt x="1411" y="15136"/>
                </a:lnTo>
                <a:lnTo>
                  <a:pt x="1046" y="15525"/>
                </a:lnTo>
                <a:lnTo>
                  <a:pt x="706" y="15939"/>
                </a:lnTo>
                <a:lnTo>
                  <a:pt x="414" y="16377"/>
                </a:lnTo>
                <a:lnTo>
                  <a:pt x="146" y="16839"/>
                </a:lnTo>
                <a:lnTo>
                  <a:pt x="73" y="16863"/>
                </a:lnTo>
                <a:lnTo>
                  <a:pt x="24" y="16912"/>
                </a:lnTo>
                <a:lnTo>
                  <a:pt x="0" y="16985"/>
                </a:lnTo>
                <a:lnTo>
                  <a:pt x="0" y="17058"/>
                </a:lnTo>
                <a:lnTo>
                  <a:pt x="73" y="17204"/>
                </a:lnTo>
                <a:lnTo>
                  <a:pt x="146" y="17326"/>
                </a:lnTo>
                <a:lnTo>
                  <a:pt x="219" y="17423"/>
                </a:lnTo>
                <a:lnTo>
                  <a:pt x="316" y="17520"/>
                </a:lnTo>
                <a:lnTo>
                  <a:pt x="438" y="17618"/>
                </a:lnTo>
                <a:lnTo>
                  <a:pt x="560" y="17691"/>
                </a:lnTo>
                <a:lnTo>
                  <a:pt x="852" y="17812"/>
                </a:lnTo>
                <a:lnTo>
                  <a:pt x="1144" y="17910"/>
                </a:lnTo>
                <a:lnTo>
                  <a:pt x="1460" y="17982"/>
                </a:lnTo>
                <a:lnTo>
                  <a:pt x="1995" y="18080"/>
                </a:lnTo>
                <a:lnTo>
                  <a:pt x="2725" y="18177"/>
                </a:lnTo>
                <a:lnTo>
                  <a:pt x="3455" y="18226"/>
                </a:lnTo>
                <a:lnTo>
                  <a:pt x="4940" y="18323"/>
                </a:lnTo>
                <a:lnTo>
                  <a:pt x="6205" y="18396"/>
                </a:lnTo>
                <a:lnTo>
                  <a:pt x="7470" y="18469"/>
                </a:lnTo>
                <a:lnTo>
                  <a:pt x="8078" y="18469"/>
                </a:lnTo>
                <a:lnTo>
                  <a:pt x="8711" y="18445"/>
                </a:lnTo>
                <a:lnTo>
                  <a:pt x="9344" y="18396"/>
                </a:lnTo>
                <a:lnTo>
                  <a:pt x="9976" y="18323"/>
                </a:lnTo>
                <a:lnTo>
                  <a:pt x="11339" y="18128"/>
                </a:lnTo>
                <a:lnTo>
                  <a:pt x="12726" y="17958"/>
                </a:lnTo>
                <a:lnTo>
                  <a:pt x="13140" y="17885"/>
                </a:lnTo>
                <a:lnTo>
                  <a:pt x="13553" y="17812"/>
                </a:lnTo>
                <a:lnTo>
                  <a:pt x="13967" y="17666"/>
                </a:lnTo>
                <a:lnTo>
                  <a:pt x="14162" y="17593"/>
                </a:lnTo>
                <a:lnTo>
                  <a:pt x="14356" y="17472"/>
                </a:lnTo>
                <a:lnTo>
                  <a:pt x="14429" y="17496"/>
                </a:lnTo>
                <a:lnTo>
                  <a:pt x="14502" y="17496"/>
                </a:lnTo>
                <a:lnTo>
                  <a:pt x="14575" y="17472"/>
                </a:lnTo>
                <a:lnTo>
                  <a:pt x="14624" y="17447"/>
                </a:lnTo>
                <a:lnTo>
                  <a:pt x="14673" y="17399"/>
                </a:lnTo>
                <a:lnTo>
                  <a:pt x="14721" y="17326"/>
                </a:lnTo>
                <a:lnTo>
                  <a:pt x="14721" y="17277"/>
                </a:lnTo>
                <a:lnTo>
                  <a:pt x="14697" y="17180"/>
                </a:lnTo>
                <a:lnTo>
                  <a:pt x="14600" y="16912"/>
                </a:lnTo>
                <a:lnTo>
                  <a:pt x="14454" y="16669"/>
                </a:lnTo>
                <a:lnTo>
                  <a:pt x="14283" y="16401"/>
                </a:lnTo>
                <a:lnTo>
                  <a:pt x="14113" y="16182"/>
                </a:lnTo>
                <a:lnTo>
                  <a:pt x="14137" y="16158"/>
                </a:lnTo>
                <a:lnTo>
                  <a:pt x="14137" y="16133"/>
                </a:lnTo>
                <a:lnTo>
                  <a:pt x="14137" y="16109"/>
                </a:lnTo>
                <a:lnTo>
                  <a:pt x="14113" y="16109"/>
                </a:lnTo>
                <a:lnTo>
                  <a:pt x="14040" y="16085"/>
                </a:lnTo>
                <a:lnTo>
                  <a:pt x="13699" y="15671"/>
                </a:lnTo>
                <a:lnTo>
                  <a:pt x="13553" y="15525"/>
                </a:lnTo>
                <a:lnTo>
                  <a:pt x="13626" y="15452"/>
                </a:lnTo>
                <a:lnTo>
                  <a:pt x="13626" y="15403"/>
                </a:lnTo>
                <a:lnTo>
                  <a:pt x="13626" y="15379"/>
                </a:lnTo>
                <a:lnTo>
                  <a:pt x="13602" y="15355"/>
                </a:lnTo>
                <a:lnTo>
                  <a:pt x="13553" y="15355"/>
                </a:lnTo>
                <a:lnTo>
                  <a:pt x="13432" y="15379"/>
                </a:lnTo>
                <a:lnTo>
                  <a:pt x="13188" y="15136"/>
                </a:lnTo>
                <a:lnTo>
                  <a:pt x="12945" y="14892"/>
                </a:lnTo>
                <a:lnTo>
                  <a:pt x="12385" y="14454"/>
                </a:lnTo>
                <a:lnTo>
                  <a:pt x="12361" y="14381"/>
                </a:lnTo>
                <a:lnTo>
                  <a:pt x="12312" y="14357"/>
                </a:lnTo>
                <a:lnTo>
                  <a:pt x="12264" y="14333"/>
                </a:lnTo>
                <a:lnTo>
                  <a:pt x="12069" y="14211"/>
                </a:lnTo>
                <a:lnTo>
                  <a:pt x="11582" y="13870"/>
                </a:lnTo>
                <a:lnTo>
                  <a:pt x="11071" y="13554"/>
                </a:lnTo>
                <a:lnTo>
                  <a:pt x="10560" y="13262"/>
                </a:lnTo>
                <a:lnTo>
                  <a:pt x="10025" y="12994"/>
                </a:lnTo>
                <a:lnTo>
                  <a:pt x="9782" y="12897"/>
                </a:lnTo>
                <a:lnTo>
                  <a:pt x="9538" y="12824"/>
                </a:lnTo>
                <a:lnTo>
                  <a:pt x="9295" y="12751"/>
                </a:lnTo>
                <a:lnTo>
                  <a:pt x="9027" y="12702"/>
                </a:lnTo>
                <a:lnTo>
                  <a:pt x="8516" y="12629"/>
                </a:lnTo>
                <a:lnTo>
                  <a:pt x="8005" y="12629"/>
                </a:lnTo>
                <a:lnTo>
                  <a:pt x="8005" y="12264"/>
                </a:lnTo>
                <a:lnTo>
                  <a:pt x="7981" y="11899"/>
                </a:lnTo>
                <a:lnTo>
                  <a:pt x="7957" y="11559"/>
                </a:lnTo>
                <a:lnTo>
                  <a:pt x="7884" y="11194"/>
                </a:lnTo>
                <a:lnTo>
                  <a:pt x="7786" y="10731"/>
                </a:lnTo>
                <a:lnTo>
                  <a:pt x="7640" y="10269"/>
                </a:lnTo>
                <a:lnTo>
                  <a:pt x="7494" y="9807"/>
                </a:lnTo>
                <a:lnTo>
                  <a:pt x="7349" y="9345"/>
                </a:lnTo>
                <a:lnTo>
                  <a:pt x="7300" y="9077"/>
                </a:lnTo>
                <a:lnTo>
                  <a:pt x="7251" y="8809"/>
                </a:lnTo>
                <a:lnTo>
                  <a:pt x="7203" y="8250"/>
                </a:lnTo>
                <a:lnTo>
                  <a:pt x="7203" y="7666"/>
                </a:lnTo>
                <a:lnTo>
                  <a:pt x="7251" y="7106"/>
                </a:lnTo>
                <a:lnTo>
                  <a:pt x="7324" y="6522"/>
                </a:lnTo>
                <a:lnTo>
                  <a:pt x="7421" y="5938"/>
                </a:lnTo>
                <a:lnTo>
                  <a:pt x="7616" y="4746"/>
                </a:lnTo>
                <a:lnTo>
                  <a:pt x="7884" y="4746"/>
                </a:lnTo>
                <a:lnTo>
                  <a:pt x="8127" y="4673"/>
                </a:lnTo>
                <a:lnTo>
                  <a:pt x="8370" y="4575"/>
                </a:lnTo>
                <a:lnTo>
                  <a:pt x="8638" y="4454"/>
                </a:lnTo>
                <a:lnTo>
                  <a:pt x="8760" y="4527"/>
                </a:lnTo>
                <a:lnTo>
                  <a:pt x="8906" y="4624"/>
                </a:lnTo>
                <a:lnTo>
                  <a:pt x="9076" y="4673"/>
                </a:lnTo>
                <a:lnTo>
                  <a:pt x="9246" y="4721"/>
                </a:lnTo>
                <a:lnTo>
                  <a:pt x="9587" y="4794"/>
                </a:lnTo>
                <a:lnTo>
                  <a:pt x="10122" y="4794"/>
                </a:lnTo>
                <a:lnTo>
                  <a:pt x="10366" y="4746"/>
                </a:lnTo>
                <a:lnTo>
                  <a:pt x="10609" y="4673"/>
                </a:lnTo>
                <a:lnTo>
                  <a:pt x="10828" y="4575"/>
                </a:lnTo>
                <a:lnTo>
                  <a:pt x="11071" y="4454"/>
                </a:lnTo>
                <a:lnTo>
                  <a:pt x="11266" y="4308"/>
                </a:lnTo>
                <a:lnTo>
                  <a:pt x="11461" y="4162"/>
                </a:lnTo>
                <a:lnTo>
                  <a:pt x="11607" y="3967"/>
                </a:lnTo>
                <a:lnTo>
                  <a:pt x="11728" y="3797"/>
                </a:lnTo>
                <a:lnTo>
                  <a:pt x="11850" y="3602"/>
                </a:lnTo>
                <a:lnTo>
                  <a:pt x="11947" y="3407"/>
                </a:lnTo>
                <a:lnTo>
                  <a:pt x="12020" y="3188"/>
                </a:lnTo>
                <a:lnTo>
                  <a:pt x="12142" y="2775"/>
                </a:lnTo>
                <a:lnTo>
                  <a:pt x="12215" y="2312"/>
                </a:lnTo>
                <a:lnTo>
                  <a:pt x="12288" y="1850"/>
                </a:lnTo>
                <a:lnTo>
                  <a:pt x="12312" y="1412"/>
                </a:lnTo>
                <a:lnTo>
                  <a:pt x="12361" y="512"/>
                </a:lnTo>
                <a:lnTo>
                  <a:pt x="12458" y="463"/>
                </a:lnTo>
                <a:lnTo>
                  <a:pt x="12507" y="390"/>
                </a:lnTo>
                <a:lnTo>
                  <a:pt x="12531" y="317"/>
                </a:lnTo>
                <a:lnTo>
                  <a:pt x="12507" y="220"/>
                </a:lnTo>
                <a:lnTo>
                  <a:pt x="12483" y="147"/>
                </a:lnTo>
                <a:lnTo>
                  <a:pt x="12434" y="98"/>
                </a:lnTo>
                <a:lnTo>
                  <a:pt x="12337" y="74"/>
                </a:lnTo>
                <a:lnTo>
                  <a:pt x="12264" y="98"/>
                </a:lnTo>
                <a:lnTo>
                  <a:pt x="12069" y="147"/>
                </a:lnTo>
                <a:lnTo>
                  <a:pt x="12045" y="147"/>
                </a:lnTo>
                <a:lnTo>
                  <a:pt x="11631" y="269"/>
                </a:lnTo>
                <a:lnTo>
                  <a:pt x="11217" y="366"/>
                </a:lnTo>
                <a:lnTo>
                  <a:pt x="10804" y="463"/>
                </a:lnTo>
                <a:lnTo>
                  <a:pt x="10390" y="561"/>
                </a:lnTo>
                <a:lnTo>
                  <a:pt x="10001" y="707"/>
                </a:lnTo>
                <a:lnTo>
                  <a:pt x="9611" y="877"/>
                </a:lnTo>
                <a:lnTo>
                  <a:pt x="9417" y="974"/>
                </a:lnTo>
                <a:lnTo>
                  <a:pt x="9246" y="1096"/>
                </a:lnTo>
                <a:lnTo>
                  <a:pt x="9076" y="1242"/>
                </a:lnTo>
                <a:lnTo>
                  <a:pt x="8906" y="1388"/>
                </a:lnTo>
                <a:lnTo>
                  <a:pt x="8735" y="1558"/>
                </a:lnTo>
                <a:lnTo>
                  <a:pt x="8614" y="1753"/>
                </a:lnTo>
                <a:lnTo>
                  <a:pt x="8492" y="1947"/>
                </a:lnTo>
                <a:lnTo>
                  <a:pt x="8395" y="2142"/>
                </a:lnTo>
                <a:lnTo>
                  <a:pt x="8297" y="2361"/>
                </a:lnTo>
                <a:lnTo>
                  <a:pt x="8249" y="2580"/>
                </a:lnTo>
                <a:lnTo>
                  <a:pt x="8200" y="2799"/>
                </a:lnTo>
                <a:lnTo>
                  <a:pt x="8151" y="3042"/>
                </a:lnTo>
                <a:lnTo>
                  <a:pt x="8151" y="3286"/>
                </a:lnTo>
                <a:lnTo>
                  <a:pt x="8200" y="3578"/>
                </a:lnTo>
                <a:lnTo>
                  <a:pt x="8224" y="3724"/>
                </a:lnTo>
                <a:lnTo>
                  <a:pt x="8297" y="3845"/>
                </a:lnTo>
                <a:lnTo>
                  <a:pt x="8370" y="3967"/>
                </a:lnTo>
                <a:lnTo>
                  <a:pt x="8443" y="4040"/>
                </a:lnTo>
                <a:lnTo>
                  <a:pt x="8443" y="4064"/>
                </a:lnTo>
                <a:lnTo>
                  <a:pt x="8370" y="4089"/>
                </a:lnTo>
                <a:lnTo>
                  <a:pt x="8200" y="4186"/>
                </a:lnTo>
                <a:lnTo>
                  <a:pt x="8030" y="4259"/>
                </a:lnTo>
                <a:lnTo>
                  <a:pt x="7689" y="4381"/>
                </a:lnTo>
                <a:lnTo>
                  <a:pt x="7762" y="3797"/>
                </a:lnTo>
                <a:lnTo>
                  <a:pt x="7811" y="3237"/>
                </a:lnTo>
                <a:lnTo>
                  <a:pt x="7811" y="2702"/>
                </a:lnTo>
                <a:lnTo>
                  <a:pt x="7786" y="2142"/>
                </a:lnTo>
                <a:lnTo>
                  <a:pt x="7738" y="1874"/>
                </a:lnTo>
                <a:lnTo>
                  <a:pt x="7689" y="1607"/>
                </a:lnTo>
                <a:lnTo>
                  <a:pt x="7616" y="1339"/>
                </a:lnTo>
                <a:lnTo>
                  <a:pt x="7519" y="1072"/>
                </a:lnTo>
                <a:lnTo>
                  <a:pt x="7421" y="828"/>
                </a:lnTo>
                <a:lnTo>
                  <a:pt x="7300" y="561"/>
                </a:lnTo>
                <a:lnTo>
                  <a:pt x="7130" y="317"/>
                </a:lnTo>
                <a:lnTo>
                  <a:pt x="6959" y="50"/>
                </a:lnTo>
                <a:lnTo>
                  <a:pt x="6935" y="25"/>
                </a:lnTo>
                <a:lnTo>
                  <a:pt x="688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153847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24</a:t>
            </a:fld>
            <a:endParaRPr lang="da-DK"/>
          </a:p>
        </p:txBody>
      </p:sp>
      <p:sp>
        <p:nvSpPr>
          <p:cNvPr id="3" name="Slide Number Placeholder 3">
            <a:extLst>
              <a:ext uri="{FF2B5EF4-FFF2-40B4-BE49-F238E27FC236}">
                <a16:creationId xmlns:a16="http://schemas.microsoft.com/office/drawing/2014/main" id="{D649DCE5-69AD-C1B0-9815-C2BE39487E43}"/>
              </a:ext>
            </a:extLst>
          </p:cNvPr>
          <p:cNvSpPr txBox="1">
            <a:spLocks/>
          </p:cNvSpPr>
          <p:nvPr/>
        </p:nvSpPr>
        <p:spPr>
          <a:xfrm>
            <a:off x="11206827" y="5223962"/>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6" name="Rectangle 15">
            <a:extLst>
              <a:ext uri="{FF2B5EF4-FFF2-40B4-BE49-F238E27FC236}">
                <a16:creationId xmlns:a16="http://schemas.microsoft.com/office/drawing/2014/main" id="{69E8CE64-0533-7299-077A-F5CBD4B386AF}"/>
              </a:ext>
            </a:extLst>
          </p:cNvPr>
          <p:cNvSpPr/>
          <p:nvPr/>
        </p:nvSpPr>
        <p:spPr>
          <a:xfrm>
            <a:off x="770411" y="1865191"/>
            <a:ext cx="6653049" cy="3968282"/>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2" name="Google Shape;846;p29">
            <a:extLst>
              <a:ext uri="{FF2B5EF4-FFF2-40B4-BE49-F238E27FC236}">
                <a16:creationId xmlns:a16="http://schemas.microsoft.com/office/drawing/2014/main" id="{15E4C8ED-7C1D-F41F-CFD3-DC21D4DDC86D}"/>
              </a:ext>
            </a:extLst>
          </p:cNvPr>
          <p:cNvSpPr/>
          <p:nvPr/>
        </p:nvSpPr>
        <p:spPr>
          <a:xfrm>
            <a:off x="0" y="346507"/>
            <a:ext cx="12192001" cy="854281"/>
          </a:xfrm>
          <a:prstGeom prst="rect">
            <a:avLst/>
          </a:prstGeom>
          <a:solidFill>
            <a:schemeClr val="accent6"/>
          </a:solidFill>
          <a:ln>
            <a:noFill/>
          </a:ln>
        </p:spPr>
        <p:txBody>
          <a:bodyPr spcFirstLastPara="1" wrap="square" lIns="396000" tIns="91425" rIns="91425" bIns="91425" anchor="ctr" anchorCtr="0">
            <a:noAutofit/>
          </a:bodyPr>
          <a:lstStyle/>
          <a:p>
            <a:pPr marL="0" lvl="0" indent="0" algn="ctr">
              <a:spcBef>
                <a:spcPts val="0"/>
              </a:spcBef>
              <a:spcAft>
                <a:spcPts val="0"/>
              </a:spcAft>
              <a:buNone/>
            </a:pPr>
            <a:r>
              <a:rPr lang="da-DK" sz="3200" b="1">
                <a:solidFill>
                  <a:schemeClr val="bg2"/>
                </a:solidFill>
                <a:latin typeface="Amatic SC" panose="00000500000000000000" pitchFamily="2" charset="-79"/>
                <a:cs typeface="Amatic SC" panose="00000500000000000000" pitchFamily="2" charset="-79"/>
              </a:rPr>
              <a:t>arbejde med aktionslæring styrker praksis, når det foregår systematisk</a:t>
            </a:r>
            <a:endParaRPr lang="da-DK" sz="3200" b="1">
              <a:solidFill>
                <a:schemeClr val="bg2"/>
              </a:solidFill>
              <a:latin typeface="Amatic SC"/>
              <a:ea typeface="Amatic SC"/>
              <a:cs typeface="Amatic SC"/>
              <a:sym typeface="Amatic SC"/>
            </a:endParaRPr>
          </a:p>
        </p:txBody>
      </p:sp>
      <p:sp>
        <p:nvSpPr>
          <p:cNvPr id="6" name="TextBox 5">
            <a:extLst>
              <a:ext uri="{FF2B5EF4-FFF2-40B4-BE49-F238E27FC236}">
                <a16:creationId xmlns:a16="http://schemas.microsoft.com/office/drawing/2014/main" id="{479CD88A-6E58-621F-7006-85774279DF87}"/>
              </a:ext>
            </a:extLst>
          </p:cNvPr>
          <p:cNvSpPr txBox="1"/>
          <p:nvPr/>
        </p:nvSpPr>
        <p:spPr>
          <a:xfrm>
            <a:off x="770411" y="1584585"/>
            <a:ext cx="6653049" cy="666246"/>
          </a:xfrm>
          <a:prstGeom prst="rect">
            <a:avLst/>
          </a:prstGeom>
          <a:solidFill>
            <a:schemeClr val="accent6"/>
          </a:solidFill>
          <a:ln w="28575">
            <a:solidFill>
              <a:schemeClr val="accent6"/>
            </a:solidFill>
          </a:ln>
        </p:spPr>
        <p:txBody>
          <a:bodyPr wrap="square" lIns="0" tIns="0" rIns="0" bIns="0" rtlCol="0" anchor="ctr">
            <a:noAutofit/>
          </a:bodyPr>
          <a:lstStyle/>
          <a:p>
            <a:pPr algn="ctr"/>
            <a:r>
              <a:rPr lang="da-DK" sz="2400" b="1">
                <a:latin typeface="Amatic SC" panose="00000500000000000000" pitchFamily="2" charset="-79"/>
                <a:cs typeface="Amatic SC" panose="00000500000000000000" pitchFamily="2" charset="-79"/>
              </a:rPr>
              <a:t>Aktionslæring er særligt motiverende, når…</a:t>
            </a:r>
          </a:p>
        </p:txBody>
      </p:sp>
      <p:sp>
        <p:nvSpPr>
          <p:cNvPr id="7" name="TextBox 6">
            <a:extLst>
              <a:ext uri="{FF2B5EF4-FFF2-40B4-BE49-F238E27FC236}">
                <a16:creationId xmlns:a16="http://schemas.microsoft.com/office/drawing/2014/main" id="{BD2606AB-11AB-17EB-93C7-331917089B99}"/>
              </a:ext>
            </a:extLst>
          </p:cNvPr>
          <p:cNvSpPr txBox="1"/>
          <p:nvPr/>
        </p:nvSpPr>
        <p:spPr>
          <a:xfrm>
            <a:off x="873235" y="2384883"/>
            <a:ext cx="6447399" cy="3323987"/>
          </a:xfrm>
          <a:prstGeom prst="rect">
            <a:avLst/>
          </a:prstGeom>
          <a:noFill/>
        </p:spPr>
        <p:txBody>
          <a:bodyPr wrap="square">
            <a:spAutoFit/>
          </a:bodyPr>
          <a:lstStyle/>
          <a:p>
            <a:pPr marL="360000" lvl="1"/>
            <a:r>
              <a:rPr lang="da-DK" sz="1400">
                <a:solidFill>
                  <a:schemeClr val="tx1"/>
                </a:solidFill>
                <a:latin typeface="Quicksand" panose="020B0604020202020204"/>
                <a:cs typeface="Amatic SC" panose="00000500000000000000" pitchFamily="2" charset="-79"/>
              </a:rPr>
              <a:t>… teamet arbejder med </a:t>
            </a:r>
            <a:r>
              <a:rPr lang="da-DK" sz="1400" b="1">
                <a:solidFill>
                  <a:schemeClr val="tx1"/>
                </a:solidFill>
                <a:latin typeface="Quicksand" panose="020B0604020202020204"/>
                <a:cs typeface="Amatic SC" panose="00000500000000000000" pitchFamily="2" charset="-79"/>
              </a:rPr>
              <a:t>egne aktuelle problemstillinger</a:t>
            </a:r>
            <a:r>
              <a:rPr lang="da-DK" sz="1400">
                <a:solidFill>
                  <a:schemeClr val="tx1"/>
                </a:solidFill>
                <a:latin typeface="Quicksand" panose="020B0604020202020204"/>
                <a:cs typeface="Amatic SC" panose="00000500000000000000" pitchFamily="2" charset="-79"/>
              </a:rPr>
              <a:t>.</a:t>
            </a:r>
          </a:p>
          <a:p>
            <a:pPr marL="360000" lvl="1"/>
            <a:endParaRPr lang="da-DK" sz="1400">
              <a:solidFill>
                <a:schemeClr val="tx1"/>
              </a:solidFill>
              <a:latin typeface="Quicksand" panose="020B0604020202020204"/>
              <a:cs typeface="Amatic SC" panose="00000500000000000000" pitchFamily="2" charset="-79"/>
            </a:endParaRPr>
          </a:p>
          <a:p>
            <a:pPr marL="360000" lvl="1"/>
            <a:r>
              <a:rPr lang="da-DK" sz="1400">
                <a:solidFill>
                  <a:schemeClr val="tx1"/>
                </a:solidFill>
                <a:latin typeface="Quicksand" panose="020B0604020202020204"/>
                <a:cs typeface="Amatic SC" panose="00000500000000000000" pitchFamily="2" charset="-79"/>
              </a:rPr>
              <a:t>… teamet får </a:t>
            </a:r>
            <a:r>
              <a:rPr lang="da-DK" sz="1400" b="1">
                <a:solidFill>
                  <a:schemeClr val="tx1"/>
                </a:solidFill>
                <a:latin typeface="Quicksand" panose="020B0604020202020204"/>
                <a:cs typeface="Amatic SC" panose="00000500000000000000" pitchFamily="2" charset="-79"/>
              </a:rPr>
              <a:t>succesoplevelser</a:t>
            </a:r>
            <a:r>
              <a:rPr lang="da-DK" sz="1400">
                <a:solidFill>
                  <a:schemeClr val="tx1"/>
                </a:solidFill>
                <a:latin typeface="Quicksand" panose="020B0604020202020204"/>
                <a:cs typeface="Amatic SC" panose="00000500000000000000" pitchFamily="2" charset="-79"/>
              </a:rPr>
              <a:t> og hurtigt kan se en positiv forskel.</a:t>
            </a:r>
          </a:p>
          <a:p>
            <a:pPr marL="360000" lvl="1"/>
            <a:endParaRPr lang="da-DK" sz="1400">
              <a:solidFill>
                <a:schemeClr val="tx1"/>
              </a:solidFill>
              <a:latin typeface="Quicksand" panose="020B0604020202020204"/>
              <a:cs typeface="Amatic SC" panose="00000500000000000000" pitchFamily="2" charset="-79"/>
            </a:endParaRPr>
          </a:p>
          <a:p>
            <a:pPr marL="360000" lvl="1"/>
            <a:r>
              <a:rPr lang="da-DK" sz="1400">
                <a:solidFill>
                  <a:schemeClr val="tx1"/>
                </a:solidFill>
                <a:latin typeface="Quicksand" panose="020B0604020202020204"/>
                <a:cs typeface="Amatic SC" panose="00000500000000000000" pitchFamily="2" charset="-79"/>
              </a:rPr>
              <a:t>… teamet har </a:t>
            </a:r>
            <a:r>
              <a:rPr lang="da-DK" sz="1400" b="1">
                <a:solidFill>
                  <a:schemeClr val="tx1"/>
                </a:solidFill>
                <a:latin typeface="Quicksand" panose="020B0604020202020204"/>
                <a:cs typeface="Amatic SC" panose="00000500000000000000" pitchFamily="2" charset="-79"/>
              </a:rPr>
              <a:t>fælles viden og børnesyn </a:t>
            </a:r>
            <a:r>
              <a:rPr lang="da-DK" sz="1400">
                <a:solidFill>
                  <a:schemeClr val="tx1"/>
                </a:solidFill>
                <a:latin typeface="Quicksand" panose="020B0604020202020204"/>
                <a:cs typeface="Amatic SC" panose="00000500000000000000" pitchFamily="2" charset="-79"/>
              </a:rPr>
              <a:t>som afsæt.</a:t>
            </a:r>
          </a:p>
          <a:p>
            <a:pPr marL="360000" lvl="1"/>
            <a:endParaRPr lang="da-DK" sz="1400">
              <a:solidFill>
                <a:schemeClr val="tx1"/>
              </a:solidFill>
              <a:latin typeface="Quicksand" panose="020B0604020202020204"/>
              <a:cs typeface="Amatic SC" panose="00000500000000000000" pitchFamily="2" charset="-79"/>
            </a:endParaRPr>
          </a:p>
          <a:p>
            <a:pPr marL="360000" lvl="1"/>
            <a:r>
              <a:rPr lang="da-DK" sz="1400">
                <a:solidFill>
                  <a:schemeClr val="tx1"/>
                </a:solidFill>
                <a:latin typeface="Quicksand" panose="020B0604020202020204"/>
                <a:cs typeface="Amatic SC" panose="00000500000000000000" pitchFamily="2" charset="-79"/>
              </a:rPr>
              <a:t>… teamet </a:t>
            </a:r>
            <a:r>
              <a:rPr lang="da-DK" sz="1400" b="1">
                <a:solidFill>
                  <a:schemeClr val="tx1"/>
                </a:solidFill>
                <a:latin typeface="Quicksand" panose="020B0604020202020204"/>
                <a:cs typeface="Amatic SC" panose="00000500000000000000" pitchFamily="2" charset="-79"/>
              </a:rPr>
              <a:t>følger op og evaluerer </a:t>
            </a:r>
            <a:r>
              <a:rPr lang="da-DK" sz="1400">
                <a:solidFill>
                  <a:schemeClr val="tx1"/>
                </a:solidFill>
                <a:latin typeface="Quicksand" panose="020B0604020202020204"/>
                <a:cs typeface="Amatic SC" panose="00000500000000000000" pitchFamily="2" charset="-79"/>
              </a:rPr>
              <a:t>på afprøvning i samarbejde med kollegaer.</a:t>
            </a:r>
          </a:p>
          <a:p>
            <a:pPr marL="360000" lvl="1"/>
            <a:endParaRPr lang="da-DK" sz="1400">
              <a:solidFill>
                <a:schemeClr val="tx1"/>
              </a:solidFill>
              <a:latin typeface="Quicksand" panose="020B0604020202020204"/>
              <a:cs typeface="Amatic SC" panose="00000500000000000000" pitchFamily="2" charset="-79"/>
            </a:endParaRPr>
          </a:p>
          <a:p>
            <a:pPr marL="360000" lvl="1"/>
            <a:r>
              <a:rPr lang="da-DK" sz="1400">
                <a:solidFill>
                  <a:schemeClr val="tx1"/>
                </a:solidFill>
                <a:latin typeface="Quicksand" panose="020B0604020202020204"/>
                <a:cs typeface="Amatic SC" panose="00000500000000000000" pitchFamily="2" charset="-79"/>
              </a:rPr>
              <a:t>… aktionslæring </a:t>
            </a:r>
            <a:r>
              <a:rPr lang="da-DK" sz="1400" b="1">
                <a:solidFill>
                  <a:schemeClr val="tx1"/>
                </a:solidFill>
                <a:latin typeface="Quicksand" panose="020B0604020202020204"/>
                <a:cs typeface="Amatic SC" panose="00000500000000000000" pitchFamily="2" charset="-79"/>
              </a:rPr>
              <a:t>kobles til eksisterende mødeaktiviteter </a:t>
            </a:r>
            <a:r>
              <a:rPr lang="da-DK" sz="1400">
                <a:solidFill>
                  <a:schemeClr val="tx1"/>
                </a:solidFill>
                <a:latin typeface="Quicksand" panose="020B0604020202020204"/>
                <a:cs typeface="Amatic SC" panose="00000500000000000000" pitchFamily="2" charset="-79"/>
              </a:rPr>
              <a:t>frem for at være noget ”ekstra”.</a:t>
            </a:r>
          </a:p>
          <a:p>
            <a:pPr marL="360000" lvl="1"/>
            <a:endParaRPr lang="da-DK" sz="1400">
              <a:solidFill>
                <a:schemeClr val="tx1"/>
              </a:solidFill>
              <a:latin typeface="Quicksand" panose="020B0604020202020204"/>
              <a:cs typeface="Amatic SC" panose="00000500000000000000" pitchFamily="2" charset="-79"/>
            </a:endParaRPr>
          </a:p>
          <a:p>
            <a:pPr marL="360000" lvl="1"/>
            <a:r>
              <a:rPr lang="da-DK" sz="1400">
                <a:solidFill>
                  <a:schemeClr val="tx1"/>
                </a:solidFill>
                <a:latin typeface="Quicksand" panose="020B0604020202020204"/>
                <a:cs typeface="Amatic SC" panose="00000500000000000000" pitchFamily="2" charset="-79"/>
              </a:rPr>
              <a:t>… </a:t>
            </a:r>
            <a:r>
              <a:rPr lang="da-DK" sz="1400">
                <a:latin typeface="Quicksand" panose="020B0604020202020204"/>
                <a:cs typeface="Amatic SC" panose="00000500000000000000" pitchFamily="2" charset="-79"/>
              </a:rPr>
              <a:t>teamet</a:t>
            </a:r>
            <a:r>
              <a:rPr lang="da-DK" sz="1400">
                <a:solidFill>
                  <a:schemeClr val="tx1"/>
                </a:solidFill>
                <a:latin typeface="Quicksand" panose="020B0604020202020204"/>
                <a:cs typeface="Amatic SC" panose="00000500000000000000" pitchFamily="2" charset="-79"/>
              </a:rPr>
              <a:t> får </a:t>
            </a:r>
            <a:r>
              <a:rPr lang="da-DK" sz="1400" b="1">
                <a:solidFill>
                  <a:schemeClr val="tx1"/>
                </a:solidFill>
                <a:latin typeface="Quicksand" panose="020B0604020202020204"/>
                <a:cs typeface="Amatic SC" panose="00000500000000000000" pitchFamily="2" charset="-79"/>
              </a:rPr>
              <a:t>inputs udefra </a:t>
            </a:r>
            <a:r>
              <a:rPr lang="da-DK" sz="1400">
                <a:solidFill>
                  <a:schemeClr val="tx1"/>
                </a:solidFill>
                <a:latin typeface="Quicksand" panose="020B0604020202020204"/>
                <a:cs typeface="Amatic SC" panose="00000500000000000000" pitchFamily="2" charset="-79"/>
              </a:rPr>
              <a:t>til at afprøve nye metoder</a:t>
            </a:r>
            <a:r>
              <a:rPr lang="da-DK" sz="1400" b="1">
                <a:solidFill>
                  <a:schemeClr val="tx1"/>
                </a:solidFill>
                <a:latin typeface="Quicksand" panose="020B0604020202020204"/>
                <a:cs typeface="Amatic SC" panose="00000500000000000000" pitchFamily="2" charset="-79"/>
              </a:rPr>
              <a:t> </a:t>
            </a:r>
            <a:r>
              <a:rPr lang="da-DK" sz="1400">
                <a:latin typeface="Quicksand" panose="020B0604020202020204"/>
                <a:cs typeface="Amatic SC" panose="00000500000000000000" pitchFamily="2" charset="-79"/>
              </a:rPr>
              <a:t>(fx fra UCN, PPR eller vejleder).</a:t>
            </a:r>
            <a:endParaRPr lang="da-DK" sz="1400" b="1">
              <a:solidFill>
                <a:schemeClr val="tx1"/>
              </a:solidFill>
              <a:latin typeface="Quicksand" panose="020B0604020202020204"/>
              <a:cs typeface="Amatic SC" panose="00000500000000000000" pitchFamily="2" charset="-79"/>
            </a:endParaRPr>
          </a:p>
          <a:p>
            <a:pPr marL="360000" lvl="1"/>
            <a:endParaRPr lang="da-DK" sz="1400">
              <a:solidFill>
                <a:schemeClr val="tx1"/>
              </a:solidFill>
              <a:latin typeface="Quicksand" panose="020B0604020202020204"/>
              <a:cs typeface="Amatic SC" panose="00000500000000000000" pitchFamily="2" charset="-79"/>
            </a:endParaRPr>
          </a:p>
          <a:p>
            <a:pPr marL="360000" lvl="1"/>
            <a:r>
              <a:rPr lang="da-DK" sz="1400">
                <a:latin typeface="Quicksand" panose="020B0604020202020204"/>
                <a:cs typeface="Amatic SC" panose="00000500000000000000" pitchFamily="2" charset="-79"/>
              </a:rPr>
              <a:t>…</a:t>
            </a:r>
            <a:r>
              <a:rPr lang="da-DK" sz="1400" b="1">
                <a:latin typeface="Quicksand" panose="020B0604020202020204"/>
                <a:cs typeface="Amatic SC" panose="00000500000000000000" pitchFamily="2" charset="-79"/>
              </a:rPr>
              <a:t> eksterne stiller spørgsmålstegn </a:t>
            </a:r>
            <a:r>
              <a:rPr lang="da-DK" sz="1400">
                <a:latin typeface="Quicksand" panose="020B0604020202020204"/>
                <a:cs typeface="Amatic SC" panose="00000500000000000000" pitchFamily="2" charset="-79"/>
              </a:rPr>
              <a:t>ved praksis. </a:t>
            </a:r>
            <a:endParaRPr lang="da-DK" sz="1400">
              <a:solidFill>
                <a:schemeClr val="tx1"/>
              </a:solidFill>
              <a:latin typeface="Quicksand" panose="020B0604020202020204"/>
              <a:cs typeface="Amatic SC" panose="00000500000000000000" pitchFamily="2" charset="-79"/>
            </a:endParaRPr>
          </a:p>
        </p:txBody>
      </p:sp>
      <p:sp>
        <p:nvSpPr>
          <p:cNvPr id="8" name="TextBox 7">
            <a:extLst>
              <a:ext uri="{FF2B5EF4-FFF2-40B4-BE49-F238E27FC236}">
                <a16:creationId xmlns:a16="http://schemas.microsoft.com/office/drawing/2014/main" id="{C17575AC-6326-264C-378F-10DE84939037}"/>
              </a:ext>
            </a:extLst>
          </p:cNvPr>
          <p:cNvSpPr txBox="1"/>
          <p:nvPr/>
        </p:nvSpPr>
        <p:spPr>
          <a:xfrm>
            <a:off x="8428258" y="2250831"/>
            <a:ext cx="2993331" cy="2215991"/>
          </a:xfrm>
          <a:prstGeom prst="rect">
            <a:avLst/>
          </a:prstGeom>
          <a:noFill/>
          <a:ln>
            <a:noFill/>
          </a:ln>
        </p:spPr>
        <p:txBody>
          <a:bodyPr wrap="square" lIns="0" tIns="0" rIns="0" bIns="0" rtlCol="0">
            <a:spAutoFit/>
          </a:bodyPr>
          <a:lstStyle/>
          <a:p>
            <a:r>
              <a:rPr lang="da-DK" sz="1400" dirty="0">
                <a:latin typeface="Quicksand" panose="020B0604020202020204" charset="0"/>
                <a:cs typeface="Quicksand" panose="020B0604020202020204" charset="0"/>
              </a:rPr>
              <a:t>Noget af det, som jeg synes øger motivationen, er, når det gør en forskel. Når vi kan se, at nogle af de prøvehandlinger, der sættes i værk, har en betydning. Nogle steder er der bedre blik for, om nogle af prøvehandlingerne skal justeres, men når man kan se, at noget af det man afprøver, virker, så skaber det motivation. </a:t>
            </a:r>
          </a:p>
          <a:p>
            <a:pPr algn="r"/>
            <a:r>
              <a:rPr lang="da-DK" sz="1000" i="1" dirty="0">
                <a:latin typeface="Quicksand" panose="020B0604020202020204" charset="0"/>
                <a:cs typeface="Quicksand" panose="020B0604020202020204" charset="0"/>
              </a:rPr>
              <a:t>Leder</a:t>
            </a:r>
          </a:p>
          <a:p>
            <a:endParaRPr lang="da-DK" sz="800" dirty="0">
              <a:latin typeface="Quicksand" panose="020B0604020202020204" charset="0"/>
              <a:cs typeface="Quicksand" panose="020B0604020202020204" charset="0"/>
            </a:endParaRPr>
          </a:p>
        </p:txBody>
      </p:sp>
      <p:sp>
        <p:nvSpPr>
          <p:cNvPr id="11" name="Google Shape;1251;p48">
            <a:extLst>
              <a:ext uri="{FF2B5EF4-FFF2-40B4-BE49-F238E27FC236}">
                <a16:creationId xmlns:a16="http://schemas.microsoft.com/office/drawing/2014/main" id="{9B502AFB-D63C-1840-C711-4239F459C481}"/>
              </a:ext>
            </a:extLst>
          </p:cNvPr>
          <p:cNvSpPr/>
          <p:nvPr/>
        </p:nvSpPr>
        <p:spPr>
          <a:xfrm>
            <a:off x="1603025" y="1710293"/>
            <a:ext cx="345681" cy="414830"/>
          </a:xfrm>
          <a:custGeom>
            <a:avLst/>
            <a:gdLst/>
            <a:ahLst/>
            <a:cxnLst/>
            <a:rect l="l" t="t" r="r" b="b"/>
            <a:pathLst>
              <a:path w="15817" h="18981" extrusionOk="0">
                <a:moveTo>
                  <a:pt x="11364" y="1"/>
                </a:moveTo>
                <a:lnTo>
                  <a:pt x="11242" y="25"/>
                </a:lnTo>
                <a:lnTo>
                  <a:pt x="11169" y="74"/>
                </a:lnTo>
                <a:lnTo>
                  <a:pt x="11096" y="171"/>
                </a:lnTo>
                <a:lnTo>
                  <a:pt x="10780" y="731"/>
                </a:lnTo>
                <a:lnTo>
                  <a:pt x="10634" y="999"/>
                </a:lnTo>
                <a:lnTo>
                  <a:pt x="10537" y="1315"/>
                </a:lnTo>
                <a:lnTo>
                  <a:pt x="10512" y="1388"/>
                </a:lnTo>
                <a:lnTo>
                  <a:pt x="10537" y="1461"/>
                </a:lnTo>
                <a:lnTo>
                  <a:pt x="10585" y="1534"/>
                </a:lnTo>
                <a:lnTo>
                  <a:pt x="10634" y="1583"/>
                </a:lnTo>
                <a:lnTo>
                  <a:pt x="10707" y="1607"/>
                </a:lnTo>
                <a:lnTo>
                  <a:pt x="10804" y="1631"/>
                </a:lnTo>
                <a:lnTo>
                  <a:pt x="10877" y="1607"/>
                </a:lnTo>
                <a:lnTo>
                  <a:pt x="10950" y="1558"/>
                </a:lnTo>
                <a:lnTo>
                  <a:pt x="11145" y="1315"/>
                </a:lnTo>
                <a:lnTo>
                  <a:pt x="11291" y="1047"/>
                </a:lnTo>
                <a:lnTo>
                  <a:pt x="11510" y="731"/>
                </a:lnTo>
                <a:lnTo>
                  <a:pt x="11583" y="682"/>
                </a:lnTo>
                <a:lnTo>
                  <a:pt x="11656" y="609"/>
                </a:lnTo>
                <a:lnTo>
                  <a:pt x="11705" y="463"/>
                </a:lnTo>
                <a:lnTo>
                  <a:pt x="11729" y="342"/>
                </a:lnTo>
                <a:lnTo>
                  <a:pt x="11705" y="220"/>
                </a:lnTo>
                <a:lnTo>
                  <a:pt x="11656" y="123"/>
                </a:lnTo>
                <a:lnTo>
                  <a:pt x="11583" y="50"/>
                </a:lnTo>
                <a:lnTo>
                  <a:pt x="11486" y="25"/>
                </a:lnTo>
                <a:lnTo>
                  <a:pt x="11461" y="1"/>
                </a:lnTo>
                <a:close/>
                <a:moveTo>
                  <a:pt x="3821" y="171"/>
                </a:moveTo>
                <a:lnTo>
                  <a:pt x="3748" y="196"/>
                </a:lnTo>
                <a:lnTo>
                  <a:pt x="3699" y="244"/>
                </a:lnTo>
                <a:lnTo>
                  <a:pt x="3651" y="317"/>
                </a:lnTo>
                <a:lnTo>
                  <a:pt x="3651" y="390"/>
                </a:lnTo>
                <a:lnTo>
                  <a:pt x="3651" y="463"/>
                </a:lnTo>
                <a:lnTo>
                  <a:pt x="3699" y="634"/>
                </a:lnTo>
                <a:lnTo>
                  <a:pt x="3772" y="804"/>
                </a:lnTo>
                <a:lnTo>
                  <a:pt x="3943" y="1120"/>
                </a:lnTo>
                <a:lnTo>
                  <a:pt x="4113" y="1461"/>
                </a:lnTo>
                <a:lnTo>
                  <a:pt x="4259" y="1802"/>
                </a:lnTo>
                <a:lnTo>
                  <a:pt x="4332" y="1923"/>
                </a:lnTo>
                <a:lnTo>
                  <a:pt x="4429" y="1996"/>
                </a:lnTo>
                <a:lnTo>
                  <a:pt x="4527" y="2021"/>
                </a:lnTo>
                <a:lnTo>
                  <a:pt x="4624" y="1996"/>
                </a:lnTo>
                <a:lnTo>
                  <a:pt x="4721" y="1972"/>
                </a:lnTo>
                <a:lnTo>
                  <a:pt x="4794" y="1899"/>
                </a:lnTo>
                <a:lnTo>
                  <a:pt x="4843" y="1777"/>
                </a:lnTo>
                <a:lnTo>
                  <a:pt x="4843" y="1656"/>
                </a:lnTo>
                <a:lnTo>
                  <a:pt x="4794" y="1461"/>
                </a:lnTo>
                <a:lnTo>
                  <a:pt x="4697" y="1266"/>
                </a:lnTo>
                <a:lnTo>
                  <a:pt x="4502" y="901"/>
                </a:lnTo>
                <a:lnTo>
                  <a:pt x="4283" y="536"/>
                </a:lnTo>
                <a:lnTo>
                  <a:pt x="4162" y="390"/>
                </a:lnTo>
                <a:lnTo>
                  <a:pt x="4040" y="244"/>
                </a:lnTo>
                <a:lnTo>
                  <a:pt x="3967" y="196"/>
                </a:lnTo>
                <a:lnTo>
                  <a:pt x="3894" y="171"/>
                </a:lnTo>
                <a:close/>
                <a:moveTo>
                  <a:pt x="15452" y="4405"/>
                </a:moveTo>
                <a:lnTo>
                  <a:pt x="15379" y="4429"/>
                </a:lnTo>
                <a:lnTo>
                  <a:pt x="15306" y="4454"/>
                </a:lnTo>
                <a:lnTo>
                  <a:pt x="15135" y="4551"/>
                </a:lnTo>
                <a:lnTo>
                  <a:pt x="14941" y="4600"/>
                </a:lnTo>
                <a:lnTo>
                  <a:pt x="14551" y="4697"/>
                </a:lnTo>
                <a:lnTo>
                  <a:pt x="14357" y="4746"/>
                </a:lnTo>
                <a:lnTo>
                  <a:pt x="14162" y="4819"/>
                </a:lnTo>
                <a:lnTo>
                  <a:pt x="14016" y="4916"/>
                </a:lnTo>
                <a:lnTo>
                  <a:pt x="13870" y="5062"/>
                </a:lnTo>
                <a:lnTo>
                  <a:pt x="13822" y="5135"/>
                </a:lnTo>
                <a:lnTo>
                  <a:pt x="13822" y="5232"/>
                </a:lnTo>
                <a:lnTo>
                  <a:pt x="13846" y="5330"/>
                </a:lnTo>
                <a:lnTo>
                  <a:pt x="13895" y="5354"/>
                </a:lnTo>
                <a:lnTo>
                  <a:pt x="13943" y="5354"/>
                </a:lnTo>
                <a:lnTo>
                  <a:pt x="14138" y="5378"/>
                </a:lnTo>
                <a:lnTo>
                  <a:pt x="14357" y="5378"/>
                </a:lnTo>
                <a:lnTo>
                  <a:pt x="14600" y="5354"/>
                </a:lnTo>
                <a:lnTo>
                  <a:pt x="14819" y="5330"/>
                </a:lnTo>
                <a:lnTo>
                  <a:pt x="15038" y="5257"/>
                </a:lnTo>
                <a:lnTo>
                  <a:pt x="15257" y="5208"/>
                </a:lnTo>
                <a:lnTo>
                  <a:pt x="15452" y="5111"/>
                </a:lnTo>
                <a:lnTo>
                  <a:pt x="15646" y="5038"/>
                </a:lnTo>
                <a:lnTo>
                  <a:pt x="15719" y="4989"/>
                </a:lnTo>
                <a:lnTo>
                  <a:pt x="15768" y="4940"/>
                </a:lnTo>
                <a:lnTo>
                  <a:pt x="15817" y="4819"/>
                </a:lnTo>
                <a:lnTo>
                  <a:pt x="15792" y="4697"/>
                </a:lnTo>
                <a:lnTo>
                  <a:pt x="15768" y="4575"/>
                </a:lnTo>
                <a:lnTo>
                  <a:pt x="15671" y="4478"/>
                </a:lnTo>
                <a:lnTo>
                  <a:pt x="15573" y="4429"/>
                </a:lnTo>
                <a:lnTo>
                  <a:pt x="15452" y="4405"/>
                </a:lnTo>
                <a:close/>
                <a:moveTo>
                  <a:pt x="317" y="4697"/>
                </a:moveTo>
                <a:lnTo>
                  <a:pt x="220" y="4721"/>
                </a:lnTo>
                <a:lnTo>
                  <a:pt x="122" y="4746"/>
                </a:lnTo>
                <a:lnTo>
                  <a:pt x="25" y="4794"/>
                </a:lnTo>
                <a:lnTo>
                  <a:pt x="1" y="4867"/>
                </a:lnTo>
                <a:lnTo>
                  <a:pt x="1" y="4965"/>
                </a:lnTo>
                <a:lnTo>
                  <a:pt x="49" y="5038"/>
                </a:lnTo>
                <a:lnTo>
                  <a:pt x="195" y="5184"/>
                </a:lnTo>
                <a:lnTo>
                  <a:pt x="390" y="5305"/>
                </a:lnTo>
                <a:lnTo>
                  <a:pt x="779" y="5524"/>
                </a:lnTo>
                <a:lnTo>
                  <a:pt x="1169" y="5743"/>
                </a:lnTo>
                <a:lnTo>
                  <a:pt x="1388" y="5841"/>
                </a:lnTo>
                <a:lnTo>
                  <a:pt x="1582" y="5938"/>
                </a:lnTo>
                <a:lnTo>
                  <a:pt x="1655" y="5962"/>
                </a:lnTo>
                <a:lnTo>
                  <a:pt x="1801" y="5962"/>
                </a:lnTo>
                <a:lnTo>
                  <a:pt x="1850" y="5938"/>
                </a:lnTo>
                <a:lnTo>
                  <a:pt x="1923" y="5841"/>
                </a:lnTo>
                <a:lnTo>
                  <a:pt x="1972" y="5743"/>
                </a:lnTo>
                <a:lnTo>
                  <a:pt x="1996" y="5622"/>
                </a:lnTo>
                <a:lnTo>
                  <a:pt x="1972" y="5476"/>
                </a:lnTo>
                <a:lnTo>
                  <a:pt x="1899" y="5378"/>
                </a:lnTo>
                <a:lnTo>
                  <a:pt x="1826" y="5330"/>
                </a:lnTo>
                <a:lnTo>
                  <a:pt x="1777" y="5305"/>
                </a:lnTo>
                <a:lnTo>
                  <a:pt x="1582" y="5208"/>
                </a:lnTo>
                <a:lnTo>
                  <a:pt x="1388" y="5111"/>
                </a:lnTo>
                <a:lnTo>
                  <a:pt x="974" y="4892"/>
                </a:lnTo>
                <a:lnTo>
                  <a:pt x="755" y="4794"/>
                </a:lnTo>
                <a:lnTo>
                  <a:pt x="536" y="4721"/>
                </a:lnTo>
                <a:lnTo>
                  <a:pt x="317" y="4697"/>
                </a:lnTo>
                <a:close/>
                <a:moveTo>
                  <a:pt x="8809" y="6936"/>
                </a:moveTo>
                <a:lnTo>
                  <a:pt x="8736" y="6984"/>
                </a:lnTo>
                <a:lnTo>
                  <a:pt x="8663" y="7057"/>
                </a:lnTo>
                <a:lnTo>
                  <a:pt x="8566" y="7252"/>
                </a:lnTo>
                <a:lnTo>
                  <a:pt x="8468" y="7495"/>
                </a:lnTo>
                <a:lnTo>
                  <a:pt x="8420" y="7739"/>
                </a:lnTo>
                <a:lnTo>
                  <a:pt x="8395" y="7958"/>
                </a:lnTo>
                <a:lnTo>
                  <a:pt x="8395" y="8128"/>
                </a:lnTo>
                <a:lnTo>
                  <a:pt x="8322" y="8177"/>
                </a:lnTo>
                <a:lnTo>
                  <a:pt x="8201" y="8225"/>
                </a:lnTo>
                <a:lnTo>
                  <a:pt x="8079" y="8250"/>
                </a:lnTo>
                <a:lnTo>
                  <a:pt x="7982" y="8225"/>
                </a:lnTo>
                <a:lnTo>
                  <a:pt x="7909" y="8201"/>
                </a:lnTo>
                <a:lnTo>
                  <a:pt x="7982" y="8079"/>
                </a:lnTo>
                <a:lnTo>
                  <a:pt x="8055" y="7933"/>
                </a:lnTo>
                <a:lnTo>
                  <a:pt x="8103" y="7812"/>
                </a:lnTo>
                <a:lnTo>
                  <a:pt x="8103" y="7666"/>
                </a:lnTo>
                <a:lnTo>
                  <a:pt x="8103" y="7520"/>
                </a:lnTo>
                <a:lnTo>
                  <a:pt x="8055" y="7398"/>
                </a:lnTo>
                <a:lnTo>
                  <a:pt x="7957" y="7252"/>
                </a:lnTo>
                <a:lnTo>
                  <a:pt x="7836" y="7130"/>
                </a:lnTo>
                <a:lnTo>
                  <a:pt x="7763" y="7082"/>
                </a:lnTo>
                <a:lnTo>
                  <a:pt x="7617" y="7082"/>
                </a:lnTo>
                <a:lnTo>
                  <a:pt x="7544" y="7130"/>
                </a:lnTo>
                <a:lnTo>
                  <a:pt x="7446" y="7252"/>
                </a:lnTo>
                <a:lnTo>
                  <a:pt x="7373" y="7374"/>
                </a:lnTo>
                <a:lnTo>
                  <a:pt x="7325" y="7495"/>
                </a:lnTo>
                <a:lnTo>
                  <a:pt x="7300" y="7641"/>
                </a:lnTo>
                <a:lnTo>
                  <a:pt x="7300" y="7787"/>
                </a:lnTo>
                <a:lnTo>
                  <a:pt x="7300" y="7909"/>
                </a:lnTo>
                <a:lnTo>
                  <a:pt x="7325" y="8055"/>
                </a:lnTo>
                <a:lnTo>
                  <a:pt x="7373" y="8177"/>
                </a:lnTo>
                <a:lnTo>
                  <a:pt x="7179" y="8298"/>
                </a:lnTo>
                <a:lnTo>
                  <a:pt x="7081" y="8323"/>
                </a:lnTo>
                <a:lnTo>
                  <a:pt x="6984" y="8347"/>
                </a:lnTo>
                <a:lnTo>
                  <a:pt x="6911" y="8371"/>
                </a:lnTo>
                <a:lnTo>
                  <a:pt x="6814" y="8347"/>
                </a:lnTo>
                <a:lnTo>
                  <a:pt x="6692" y="8298"/>
                </a:lnTo>
                <a:lnTo>
                  <a:pt x="6570" y="8201"/>
                </a:lnTo>
                <a:lnTo>
                  <a:pt x="6497" y="8055"/>
                </a:lnTo>
                <a:lnTo>
                  <a:pt x="6449" y="7909"/>
                </a:lnTo>
                <a:lnTo>
                  <a:pt x="6449" y="7739"/>
                </a:lnTo>
                <a:lnTo>
                  <a:pt x="6497" y="7544"/>
                </a:lnTo>
                <a:lnTo>
                  <a:pt x="6497" y="7520"/>
                </a:lnTo>
                <a:lnTo>
                  <a:pt x="6473" y="7520"/>
                </a:lnTo>
                <a:lnTo>
                  <a:pt x="6449" y="7495"/>
                </a:lnTo>
                <a:lnTo>
                  <a:pt x="6424" y="7520"/>
                </a:lnTo>
                <a:lnTo>
                  <a:pt x="6327" y="7617"/>
                </a:lnTo>
                <a:lnTo>
                  <a:pt x="6254" y="7739"/>
                </a:lnTo>
                <a:lnTo>
                  <a:pt x="6230" y="7836"/>
                </a:lnTo>
                <a:lnTo>
                  <a:pt x="6206" y="7958"/>
                </a:lnTo>
                <a:lnTo>
                  <a:pt x="6206" y="8055"/>
                </a:lnTo>
                <a:lnTo>
                  <a:pt x="6206" y="8177"/>
                </a:lnTo>
                <a:lnTo>
                  <a:pt x="6254" y="8274"/>
                </a:lnTo>
                <a:lnTo>
                  <a:pt x="6303" y="8371"/>
                </a:lnTo>
                <a:lnTo>
                  <a:pt x="6376" y="8469"/>
                </a:lnTo>
                <a:lnTo>
                  <a:pt x="6449" y="8542"/>
                </a:lnTo>
                <a:lnTo>
                  <a:pt x="6546" y="8615"/>
                </a:lnTo>
                <a:lnTo>
                  <a:pt x="6643" y="8663"/>
                </a:lnTo>
                <a:lnTo>
                  <a:pt x="6765" y="8712"/>
                </a:lnTo>
                <a:lnTo>
                  <a:pt x="6862" y="8736"/>
                </a:lnTo>
                <a:lnTo>
                  <a:pt x="7008" y="8736"/>
                </a:lnTo>
                <a:lnTo>
                  <a:pt x="7130" y="8712"/>
                </a:lnTo>
                <a:lnTo>
                  <a:pt x="7349" y="8615"/>
                </a:lnTo>
                <a:lnTo>
                  <a:pt x="7592" y="8493"/>
                </a:lnTo>
                <a:lnTo>
                  <a:pt x="7690" y="8566"/>
                </a:lnTo>
                <a:lnTo>
                  <a:pt x="7836" y="8639"/>
                </a:lnTo>
                <a:lnTo>
                  <a:pt x="7982" y="8663"/>
                </a:lnTo>
                <a:lnTo>
                  <a:pt x="8128" y="8688"/>
                </a:lnTo>
                <a:lnTo>
                  <a:pt x="8225" y="8688"/>
                </a:lnTo>
                <a:lnTo>
                  <a:pt x="8347" y="8663"/>
                </a:lnTo>
                <a:lnTo>
                  <a:pt x="8566" y="8566"/>
                </a:lnTo>
                <a:lnTo>
                  <a:pt x="8639" y="8663"/>
                </a:lnTo>
                <a:lnTo>
                  <a:pt x="8736" y="8736"/>
                </a:lnTo>
                <a:lnTo>
                  <a:pt x="8833" y="8809"/>
                </a:lnTo>
                <a:lnTo>
                  <a:pt x="8931" y="8858"/>
                </a:lnTo>
                <a:lnTo>
                  <a:pt x="9174" y="8907"/>
                </a:lnTo>
                <a:lnTo>
                  <a:pt x="9417" y="8931"/>
                </a:lnTo>
                <a:lnTo>
                  <a:pt x="9661" y="8882"/>
                </a:lnTo>
                <a:lnTo>
                  <a:pt x="9880" y="8809"/>
                </a:lnTo>
                <a:lnTo>
                  <a:pt x="9977" y="8736"/>
                </a:lnTo>
                <a:lnTo>
                  <a:pt x="10074" y="8663"/>
                </a:lnTo>
                <a:lnTo>
                  <a:pt x="10172" y="8566"/>
                </a:lnTo>
                <a:lnTo>
                  <a:pt x="10269" y="8469"/>
                </a:lnTo>
                <a:lnTo>
                  <a:pt x="10293" y="8396"/>
                </a:lnTo>
                <a:lnTo>
                  <a:pt x="10293" y="8347"/>
                </a:lnTo>
                <a:lnTo>
                  <a:pt x="10269" y="8298"/>
                </a:lnTo>
                <a:lnTo>
                  <a:pt x="10245" y="8250"/>
                </a:lnTo>
                <a:lnTo>
                  <a:pt x="10172" y="8225"/>
                </a:lnTo>
                <a:lnTo>
                  <a:pt x="10123" y="8201"/>
                </a:lnTo>
                <a:lnTo>
                  <a:pt x="10001" y="8201"/>
                </a:lnTo>
                <a:lnTo>
                  <a:pt x="9782" y="8323"/>
                </a:lnTo>
                <a:lnTo>
                  <a:pt x="9563" y="8420"/>
                </a:lnTo>
                <a:lnTo>
                  <a:pt x="9442" y="8444"/>
                </a:lnTo>
                <a:lnTo>
                  <a:pt x="9344" y="8469"/>
                </a:lnTo>
                <a:lnTo>
                  <a:pt x="9223" y="8469"/>
                </a:lnTo>
                <a:lnTo>
                  <a:pt x="9101" y="8420"/>
                </a:lnTo>
                <a:lnTo>
                  <a:pt x="9004" y="8347"/>
                </a:lnTo>
                <a:lnTo>
                  <a:pt x="8931" y="8274"/>
                </a:lnTo>
                <a:lnTo>
                  <a:pt x="9052" y="8128"/>
                </a:lnTo>
                <a:lnTo>
                  <a:pt x="9150" y="7982"/>
                </a:lnTo>
                <a:lnTo>
                  <a:pt x="9247" y="7836"/>
                </a:lnTo>
                <a:lnTo>
                  <a:pt x="9296" y="7666"/>
                </a:lnTo>
                <a:lnTo>
                  <a:pt x="9320" y="7495"/>
                </a:lnTo>
                <a:lnTo>
                  <a:pt x="9296" y="7349"/>
                </a:lnTo>
                <a:lnTo>
                  <a:pt x="9247" y="7203"/>
                </a:lnTo>
                <a:lnTo>
                  <a:pt x="9150" y="7057"/>
                </a:lnTo>
                <a:lnTo>
                  <a:pt x="9052" y="6984"/>
                </a:lnTo>
                <a:lnTo>
                  <a:pt x="8955" y="6936"/>
                </a:lnTo>
                <a:close/>
                <a:moveTo>
                  <a:pt x="1947" y="9710"/>
                </a:moveTo>
                <a:lnTo>
                  <a:pt x="1801" y="9758"/>
                </a:lnTo>
                <a:lnTo>
                  <a:pt x="1582" y="9856"/>
                </a:lnTo>
                <a:lnTo>
                  <a:pt x="1363" y="10002"/>
                </a:lnTo>
                <a:lnTo>
                  <a:pt x="925" y="10294"/>
                </a:lnTo>
                <a:lnTo>
                  <a:pt x="706" y="10415"/>
                </a:lnTo>
                <a:lnTo>
                  <a:pt x="585" y="10513"/>
                </a:lnTo>
                <a:lnTo>
                  <a:pt x="463" y="10610"/>
                </a:lnTo>
                <a:lnTo>
                  <a:pt x="366" y="10707"/>
                </a:lnTo>
                <a:lnTo>
                  <a:pt x="317" y="10829"/>
                </a:lnTo>
                <a:lnTo>
                  <a:pt x="317" y="10878"/>
                </a:lnTo>
                <a:lnTo>
                  <a:pt x="341" y="10926"/>
                </a:lnTo>
                <a:lnTo>
                  <a:pt x="366" y="10999"/>
                </a:lnTo>
                <a:lnTo>
                  <a:pt x="439" y="11048"/>
                </a:lnTo>
                <a:lnTo>
                  <a:pt x="536" y="11097"/>
                </a:lnTo>
                <a:lnTo>
                  <a:pt x="633" y="11097"/>
                </a:lnTo>
                <a:lnTo>
                  <a:pt x="755" y="11072"/>
                </a:lnTo>
                <a:lnTo>
                  <a:pt x="877" y="11048"/>
                </a:lnTo>
                <a:lnTo>
                  <a:pt x="1120" y="10926"/>
                </a:lnTo>
                <a:lnTo>
                  <a:pt x="1315" y="10829"/>
                </a:lnTo>
                <a:lnTo>
                  <a:pt x="1728" y="10610"/>
                </a:lnTo>
                <a:lnTo>
                  <a:pt x="1947" y="10488"/>
                </a:lnTo>
                <a:lnTo>
                  <a:pt x="2142" y="10342"/>
                </a:lnTo>
                <a:lnTo>
                  <a:pt x="2264" y="10245"/>
                </a:lnTo>
                <a:lnTo>
                  <a:pt x="2312" y="10123"/>
                </a:lnTo>
                <a:lnTo>
                  <a:pt x="2312" y="10002"/>
                </a:lnTo>
                <a:lnTo>
                  <a:pt x="2264" y="9880"/>
                </a:lnTo>
                <a:lnTo>
                  <a:pt x="2191" y="9783"/>
                </a:lnTo>
                <a:lnTo>
                  <a:pt x="2069" y="9734"/>
                </a:lnTo>
                <a:lnTo>
                  <a:pt x="1947" y="9710"/>
                </a:lnTo>
                <a:close/>
                <a:moveTo>
                  <a:pt x="14065" y="10026"/>
                </a:moveTo>
                <a:lnTo>
                  <a:pt x="13895" y="10050"/>
                </a:lnTo>
                <a:lnTo>
                  <a:pt x="13846" y="10075"/>
                </a:lnTo>
                <a:lnTo>
                  <a:pt x="13797" y="10123"/>
                </a:lnTo>
                <a:lnTo>
                  <a:pt x="13773" y="10172"/>
                </a:lnTo>
                <a:lnTo>
                  <a:pt x="13749" y="10221"/>
                </a:lnTo>
                <a:lnTo>
                  <a:pt x="13773" y="10318"/>
                </a:lnTo>
                <a:lnTo>
                  <a:pt x="13797" y="10367"/>
                </a:lnTo>
                <a:lnTo>
                  <a:pt x="13846" y="10415"/>
                </a:lnTo>
                <a:lnTo>
                  <a:pt x="14138" y="10586"/>
                </a:lnTo>
                <a:lnTo>
                  <a:pt x="14454" y="10756"/>
                </a:lnTo>
                <a:lnTo>
                  <a:pt x="14624" y="10878"/>
                </a:lnTo>
                <a:lnTo>
                  <a:pt x="14819" y="10975"/>
                </a:lnTo>
                <a:lnTo>
                  <a:pt x="15014" y="11048"/>
                </a:lnTo>
                <a:lnTo>
                  <a:pt x="15208" y="11097"/>
                </a:lnTo>
                <a:lnTo>
                  <a:pt x="15379" y="11097"/>
                </a:lnTo>
                <a:lnTo>
                  <a:pt x="15427" y="11072"/>
                </a:lnTo>
                <a:lnTo>
                  <a:pt x="15500" y="11024"/>
                </a:lnTo>
                <a:lnTo>
                  <a:pt x="15573" y="10951"/>
                </a:lnTo>
                <a:lnTo>
                  <a:pt x="15598" y="10829"/>
                </a:lnTo>
                <a:lnTo>
                  <a:pt x="15598" y="10707"/>
                </a:lnTo>
                <a:lnTo>
                  <a:pt x="15549" y="10586"/>
                </a:lnTo>
                <a:lnTo>
                  <a:pt x="15500" y="10537"/>
                </a:lnTo>
                <a:lnTo>
                  <a:pt x="15452" y="10513"/>
                </a:lnTo>
                <a:lnTo>
                  <a:pt x="15379" y="10464"/>
                </a:lnTo>
                <a:lnTo>
                  <a:pt x="15306" y="10464"/>
                </a:lnTo>
                <a:lnTo>
                  <a:pt x="15135" y="10415"/>
                </a:lnTo>
                <a:lnTo>
                  <a:pt x="14965" y="10367"/>
                </a:lnTo>
                <a:lnTo>
                  <a:pt x="14600" y="10196"/>
                </a:lnTo>
                <a:lnTo>
                  <a:pt x="14430" y="10099"/>
                </a:lnTo>
                <a:lnTo>
                  <a:pt x="14260" y="10050"/>
                </a:lnTo>
                <a:lnTo>
                  <a:pt x="14065" y="10026"/>
                </a:lnTo>
                <a:close/>
                <a:moveTo>
                  <a:pt x="8468" y="2605"/>
                </a:moveTo>
                <a:lnTo>
                  <a:pt x="8760" y="2629"/>
                </a:lnTo>
                <a:lnTo>
                  <a:pt x="9052" y="2678"/>
                </a:lnTo>
                <a:lnTo>
                  <a:pt x="9344" y="2726"/>
                </a:lnTo>
                <a:lnTo>
                  <a:pt x="9125" y="2799"/>
                </a:lnTo>
                <a:lnTo>
                  <a:pt x="9101" y="2824"/>
                </a:lnTo>
                <a:lnTo>
                  <a:pt x="9101" y="2848"/>
                </a:lnTo>
                <a:lnTo>
                  <a:pt x="9101" y="2872"/>
                </a:lnTo>
                <a:lnTo>
                  <a:pt x="9125" y="2897"/>
                </a:lnTo>
                <a:lnTo>
                  <a:pt x="9223" y="2945"/>
                </a:lnTo>
                <a:lnTo>
                  <a:pt x="9320" y="2970"/>
                </a:lnTo>
                <a:lnTo>
                  <a:pt x="9442" y="2945"/>
                </a:lnTo>
                <a:lnTo>
                  <a:pt x="9563" y="2921"/>
                </a:lnTo>
                <a:lnTo>
                  <a:pt x="9855" y="2872"/>
                </a:lnTo>
                <a:lnTo>
                  <a:pt x="10269" y="3043"/>
                </a:lnTo>
                <a:lnTo>
                  <a:pt x="10074" y="3067"/>
                </a:lnTo>
                <a:lnTo>
                  <a:pt x="9855" y="3116"/>
                </a:lnTo>
                <a:lnTo>
                  <a:pt x="9685" y="3189"/>
                </a:lnTo>
                <a:lnTo>
                  <a:pt x="9515" y="3262"/>
                </a:lnTo>
                <a:lnTo>
                  <a:pt x="9515" y="3286"/>
                </a:lnTo>
                <a:lnTo>
                  <a:pt x="9490" y="3310"/>
                </a:lnTo>
                <a:lnTo>
                  <a:pt x="9515" y="3335"/>
                </a:lnTo>
                <a:lnTo>
                  <a:pt x="9539" y="3359"/>
                </a:lnTo>
                <a:lnTo>
                  <a:pt x="9953" y="3335"/>
                </a:lnTo>
                <a:lnTo>
                  <a:pt x="10342" y="3310"/>
                </a:lnTo>
                <a:lnTo>
                  <a:pt x="10780" y="3310"/>
                </a:lnTo>
                <a:lnTo>
                  <a:pt x="11048" y="3505"/>
                </a:lnTo>
                <a:lnTo>
                  <a:pt x="10756" y="3578"/>
                </a:lnTo>
                <a:lnTo>
                  <a:pt x="10464" y="3675"/>
                </a:lnTo>
                <a:lnTo>
                  <a:pt x="10245" y="3797"/>
                </a:lnTo>
                <a:lnTo>
                  <a:pt x="10099" y="3918"/>
                </a:lnTo>
                <a:lnTo>
                  <a:pt x="10074" y="3943"/>
                </a:lnTo>
                <a:lnTo>
                  <a:pt x="10099" y="3943"/>
                </a:lnTo>
                <a:lnTo>
                  <a:pt x="10391" y="3918"/>
                </a:lnTo>
                <a:lnTo>
                  <a:pt x="10683" y="3870"/>
                </a:lnTo>
                <a:lnTo>
                  <a:pt x="10975" y="3821"/>
                </a:lnTo>
                <a:lnTo>
                  <a:pt x="11291" y="3773"/>
                </a:lnTo>
                <a:lnTo>
                  <a:pt x="11364" y="3773"/>
                </a:lnTo>
                <a:lnTo>
                  <a:pt x="11583" y="3967"/>
                </a:lnTo>
                <a:lnTo>
                  <a:pt x="11778" y="4186"/>
                </a:lnTo>
                <a:lnTo>
                  <a:pt x="11388" y="4210"/>
                </a:lnTo>
                <a:lnTo>
                  <a:pt x="10829" y="4259"/>
                </a:lnTo>
                <a:lnTo>
                  <a:pt x="10561" y="4283"/>
                </a:lnTo>
                <a:lnTo>
                  <a:pt x="10318" y="4381"/>
                </a:lnTo>
                <a:lnTo>
                  <a:pt x="10293" y="4405"/>
                </a:lnTo>
                <a:lnTo>
                  <a:pt x="10293" y="4429"/>
                </a:lnTo>
                <a:lnTo>
                  <a:pt x="10318" y="4454"/>
                </a:lnTo>
                <a:lnTo>
                  <a:pt x="10585" y="4527"/>
                </a:lnTo>
                <a:lnTo>
                  <a:pt x="11705" y="4527"/>
                </a:lnTo>
                <a:lnTo>
                  <a:pt x="11997" y="4502"/>
                </a:lnTo>
                <a:lnTo>
                  <a:pt x="12216" y="4867"/>
                </a:lnTo>
                <a:lnTo>
                  <a:pt x="11851" y="4867"/>
                </a:lnTo>
                <a:lnTo>
                  <a:pt x="11267" y="4892"/>
                </a:lnTo>
                <a:lnTo>
                  <a:pt x="10658" y="4940"/>
                </a:lnTo>
                <a:lnTo>
                  <a:pt x="10634" y="4940"/>
                </a:lnTo>
                <a:lnTo>
                  <a:pt x="10634" y="4965"/>
                </a:lnTo>
                <a:lnTo>
                  <a:pt x="10634" y="4989"/>
                </a:lnTo>
                <a:lnTo>
                  <a:pt x="10658" y="5013"/>
                </a:lnTo>
                <a:lnTo>
                  <a:pt x="10902" y="5086"/>
                </a:lnTo>
                <a:lnTo>
                  <a:pt x="11169" y="5111"/>
                </a:lnTo>
                <a:lnTo>
                  <a:pt x="12021" y="5111"/>
                </a:lnTo>
                <a:lnTo>
                  <a:pt x="12362" y="5135"/>
                </a:lnTo>
                <a:lnTo>
                  <a:pt x="12556" y="5622"/>
                </a:lnTo>
                <a:lnTo>
                  <a:pt x="11461" y="5622"/>
                </a:lnTo>
                <a:lnTo>
                  <a:pt x="11291" y="5646"/>
                </a:lnTo>
                <a:lnTo>
                  <a:pt x="11145" y="5695"/>
                </a:lnTo>
                <a:lnTo>
                  <a:pt x="10999" y="5768"/>
                </a:lnTo>
                <a:lnTo>
                  <a:pt x="10975" y="5792"/>
                </a:lnTo>
                <a:lnTo>
                  <a:pt x="10999" y="5841"/>
                </a:lnTo>
                <a:lnTo>
                  <a:pt x="11267" y="5889"/>
                </a:lnTo>
                <a:lnTo>
                  <a:pt x="11534" y="5889"/>
                </a:lnTo>
                <a:lnTo>
                  <a:pt x="12070" y="5914"/>
                </a:lnTo>
                <a:lnTo>
                  <a:pt x="12654" y="5938"/>
                </a:lnTo>
                <a:lnTo>
                  <a:pt x="12702" y="6060"/>
                </a:lnTo>
                <a:lnTo>
                  <a:pt x="12727" y="6181"/>
                </a:lnTo>
                <a:lnTo>
                  <a:pt x="12386" y="6181"/>
                </a:lnTo>
                <a:lnTo>
                  <a:pt x="11729" y="6254"/>
                </a:lnTo>
                <a:lnTo>
                  <a:pt x="11413" y="6279"/>
                </a:lnTo>
                <a:lnTo>
                  <a:pt x="11121" y="6352"/>
                </a:lnTo>
                <a:lnTo>
                  <a:pt x="11096" y="6352"/>
                </a:lnTo>
                <a:lnTo>
                  <a:pt x="11096" y="6376"/>
                </a:lnTo>
                <a:lnTo>
                  <a:pt x="11096" y="6400"/>
                </a:lnTo>
                <a:lnTo>
                  <a:pt x="11121" y="6425"/>
                </a:lnTo>
                <a:lnTo>
                  <a:pt x="11388" y="6473"/>
                </a:lnTo>
                <a:lnTo>
                  <a:pt x="11656" y="6498"/>
                </a:lnTo>
                <a:lnTo>
                  <a:pt x="12508" y="6498"/>
                </a:lnTo>
                <a:lnTo>
                  <a:pt x="12824" y="6522"/>
                </a:lnTo>
                <a:lnTo>
                  <a:pt x="12873" y="6838"/>
                </a:lnTo>
                <a:lnTo>
                  <a:pt x="12556" y="6838"/>
                </a:lnTo>
                <a:lnTo>
                  <a:pt x="12240" y="6863"/>
                </a:lnTo>
                <a:lnTo>
                  <a:pt x="11753" y="6887"/>
                </a:lnTo>
                <a:lnTo>
                  <a:pt x="11510" y="6911"/>
                </a:lnTo>
                <a:lnTo>
                  <a:pt x="11267" y="6936"/>
                </a:lnTo>
                <a:lnTo>
                  <a:pt x="11242" y="6936"/>
                </a:lnTo>
                <a:lnTo>
                  <a:pt x="11242" y="6960"/>
                </a:lnTo>
                <a:lnTo>
                  <a:pt x="11242" y="7009"/>
                </a:lnTo>
                <a:lnTo>
                  <a:pt x="11267" y="7009"/>
                </a:lnTo>
                <a:lnTo>
                  <a:pt x="11461" y="7082"/>
                </a:lnTo>
                <a:lnTo>
                  <a:pt x="11680" y="7130"/>
                </a:lnTo>
                <a:lnTo>
                  <a:pt x="12727" y="7130"/>
                </a:lnTo>
                <a:lnTo>
                  <a:pt x="12921" y="7106"/>
                </a:lnTo>
                <a:lnTo>
                  <a:pt x="12994" y="7593"/>
                </a:lnTo>
                <a:lnTo>
                  <a:pt x="12994" y="7593"/>
                </a:lnTo>
                <a:lnTo>
                  <a:pt x="12848" y="7568"/>
                </a:lnTo>
                <a:lnTo>
                  <a:pt x="12702" y="7568"/>
                </a:lnTo>
                <a:lnTo>
                  <a:pt x="12435" y="7593"/>
                </a:lnTo>
                <a:lnTo>
                  <a:pt x="11997" y="7593"/>
                </a:lnTo>
                <a:lnTo>
                  <a:pt x="11778" y="7617"/>
                </a:lnTo>
                <a:lnTo>
                  <a:pt x="11559" y="7690"/>
                </a:lnTo>
                <a:lnTo>
                  <a:pt x="11534" y="7690"/>
                </a:lnTo>
                <a:lnTo>
                  <a:pt x="11534" y="7739"/>
                </a:lnTo>
                <a:lnTo>
                  <a:pt x="11534" y="7763"/>
                </a:lnTo>
                <a:lnTo>
                  <a:pt x="11559" y="7787"/>
                </a:lnTo>
                <a:lnTo>
                  <a:pt x="11778" y="7836"/>
                </a:lnTo>
                <a:lnTo>
                  <a:pt x="11997" y="7860"/>
                </a:lnTo>
                <a:lnTo>
                  <a:pt x="12435" y="7860"/>
                </a:lnTo>
                <a:lnTo>
                  <a:pt x="12702" y="7885"/>
                </a:lnTo>
                <a:lnTo>
                  <a:pt x="12848" y="7885"/>
                </a:lnTo>
                <a:lnTo>
                  <a:pt x="12994" y="7860"/>
                </a:lnTo>
                <a:lnTo>
                  <a:pt x="12994" y="7909"/>
                </a:lnTo>
                <a:lnTo>
                  <a:pt x="12994" y="8250"/>
                </a:lnTo>
                <a:lnTo>
                  <a:pt x="12873" y="8201"/>
                </a:lnTo>
                <a:lnTo>
                  <a:pt x="12775" y="8201"/>
                </a:lnTo>
                <a:lnTo>
                  <a:pt x="12532" y="8177"/>
                </a:lnTo>
                <a:lnTo>
                  <a:pt x="12094" y="8177"/>
                </a:lnTo>
                <a:lnTo>
                  <a:pt x="11875" y="8201"/>
                </a:lnTo>
                <a:lnTo>
                  <a:pt x="11656" y="8250"/>
                </a:lnTo>
                <a:lnTo>
                  <a:pt x="11656" y="8274"/>
                </a:lnTo>
                <a:lnTo>
                  <a:pt x="11632" y="8298"/>
                </a:lnTo>
                <a:lnTo>
                  <a:pt x="11656" y="8298"/>
                </a:lnTo>
                <a:lnTo>
                  <a:pt x="11656" y="8323"/>
                </a:lnTo>
                <a:lnTo>
                  <a:pt x="12045" y="8396"/>
                </a:lnTo>
                <a:lnTo>
                  <a:pt x="12410" y="8444"/>
                </a:lnTo>
                <a:lnTo>
                  <a:pt x="12702" y="8469"/>
                </a:lnTo>
                <a:lnTo>
                  <a:pt x="12824" y="8493"/>
                </a:lnTo>
                <a:lnTo>
                  <a:pt x="12970" y="8469"/>
                </a:lnTo>
                <a:lnTo>
                  <a:pt x="12873" y="8858"/>
                </a:lnTo>
                <a:lnTo>
                  <a:pt x="12654" y="8809"/>
                </a:lnTo>
                <a:lnTo>
                  <a:pt x="12483" y="8785"/>
                </a:lnTo>
                <a:lnTo>
                  <a:pt x="12264" y="8736"/>
                </a:lnTo>
                <a:lnTo>
                  <a:pt x="11826" y="8736"/>
                </a:lnTo>
                <a:lnTo>
                  <a:pt x="11607" y="8809"/>
                </a:lnTo>
                <a:lnTo>
                  <a:pt x="11583" y="8834"/>
                </a:lnTo>
                <a:lnTo>
                  <a:pt x="11583" y="8858"/>
                </a:lnTo>
                <a:lnTo>
                  <a:pt x="11583" y="8882"/>
                </a:lnTo>
                <a:lnTo>
                  <a:pt x="11851" y="8882"/>
                </a:lnTo>
                <a:lnTo>
                  <a:pt x="12094" y="8931"/>
                </a:lnTo>
                <a:lnTo>
                  <a:pt x="12556" y="9053"/>
                </a:lnTo>
                <a:lnTo>
                  <a:pt x="12775" y="9126"/>
                </a:lnTo>
                <a:lnTo>
                  <a:pt x="12654" y="9345"/>
                </a:lnTo>
                <a:lnTo>
                  <a:pt x="12508" y="9296"/>
                </a:lnTo>
                <a:lnTo>
                  <a:pt x="12313" y="9272"/>
                </a:lnTo>
                <a:lnTo>
                  <a:pt x="12143" y="9223"/>
                </a:lnTo>
                <a:lnTo>
                  <a:pt x="11972" y="9199"/>
                </a:lnTo>
                <a:lnTo>
                  <a:pt x="11607" y="9199"/>
                </a:lnTo>
                <a:lnTo>
                  <a:pt x="11583" y="9223"/>
                </a:lnTo>
                <a:lnTo>
                  <a:pt x="11583" y="9247"/>
                </a:lnTo>
                <a:lnTo>
                  <a:pt x="11583" y="9272"/>
                </a:lnTo>
                <a:lnTo>
                  <a:pt x="11924" y="9418"/>
                </a:lnTo>
                <a:lnTo>
                  <a:pt x="12240" y="9564"/>
                </a:lnTo>
                <a:lnTo>
                  <a:pt x="12532" y="9637"/>
                </a:lnTo>
                <a:lnTo>
                  <a:pt x="12337" y="9929"/>
                </a:lnTo>
                <a:lnTo>
                  <a:pt x="12337" y="9977"/>
                </a:lnTo>
                <a:lnTo>
                  <a:pt x="12167" y="9904"/>
                </a:lnTo>
                <a:lnTo>
                  <a:pt x="11997" y="9880"/>
                </a:lnTo>
                <a:lnTo>
                  <a:pt x="11802" y="9831"/>
                </a:lnTo>
                <a:lnTo>
                  <a:pt x="11242" y="9831"/>
                </a:lnTo>
                <a:lnTo>
                  <a:pt x="11218" y="9856"/>
                </a:lnTo>
                <a:lnTo>
                  <a:pt x="11218" y="9880"/>
                </a:lnTo>
                <a:lnTo>
                  <a:pt x="11242" y="9880"/>
                </a:lnTo>
                <a:lnTo>
                  <a:pt x="11534" y="10002"/>
                </a:lnTo>
                <a:lnTo>
                  <a:pt x="11851" y="10123"/>
                </a:lnTo>
                <a:lnTo>
                  <a:pt x="12167" y="10245"/>
                </a:lnTo>
                <a:lnTo>
                  <a:pt x="11972" y="10513"/>
                </a:lnTo>
                <a:lnTo>
                  <a:pt x="11826" y="10488"/>
                </a:lnTo>
                <a:lnTo>
                  <a:pt x="11413" y="10391"/>
                </a:lnTo>
                <a:lnTo>
                  <a:pt x="11023" y="10342"/>
                </a:lnTo>
                <a:lnTo>
                  <a:pt x="10975" y="10342"/>
                </a:lnTo>
                <a:lnTo>
                  <a:pt x="10975" y="10367"/>
                </a:lnTo>
                <a:lnTo>
                  <a:pt x="10975" y="10391"/>
                </a:lnTo>
                <a:lnTo>
                  <a:pt x="10999" y="10440"/>
                </a:lnTo>
                <a:lnTo>
                  <a:pt x="11145" y="10537"/>
                </a:lnTo>
                <a:lnTo>
                  <a:pt x="11315" y="10610"/>
                </a:lnTo>
                <a:lnTo>
                  <a:pt x="11632" y="10732"/>
                </a:lnTo>
                <a:lnTo>
                  <a:pt x="11802" y="10780"/>
                </a:lnTo>
                <a:lnTo>
                  <a:pt x="11656" y="10999"/>
                </a:lnTo>
                <a:lnTo>
                  <a:pt x="11510" y="10951"/>
                </a:lnTo>
                <a:lnTo>
                  <a:pt x="11364" y="10926"/>
                </a:lnTo>
                <a:lnTo>
                  <a:pt x="11072" y="10853"/>
                </a:lnTo>
                <a:lnTo>
                  <a:pt x="10950" y="10853"/>
                </a:lnTo>
                <a:lnTo>
                  <a:pt x="10804" y="10902"/>
                </a:lnTo>
                <a:lnTo>
                  <a:pt x="10780" y="10926"/>
                </a:lnTo>
                <a:lnTo>
                  <a:pt x="10756" y="10951"/>
                </a:lnTo>
                <a:lnTo>
                  <a:pt x="10756" y="10999"/>
                </a:lnTo>
                <a:lnTo>
                  <a:pt x="10780" y="11048"/>
                </a:lnTo>
                <a:lnTo>
                  <a:pt x="10902" y="11121"/>
                </a:lnTo>
                <a:lnTo>
                  <a:pt x="11023" y="11170"/>
                </a:lnTo>
                <a:lnTo>
                  <a:pt x="11267" y="11243"/>
                </a:lnTo>
                <a:lnTo>
                  <a:pt x="11461" y="11291"/>
                </a:lnTo>
                <a:lnTo>
                  <a:pt x="11242" y="11583"/>
                </a:lnTo>
                <a:lnTo>
                  <a:pt x="11072" y="11535"/>
                </a:lnTo>
                <a:lnTo>
                  <a:pt x="10877" y="11535"/>
                </a:lnTo>
                <a:lnTo>
                  <a:pt x="10683" y="11583"/>
                </a:lnTo>
                <a:lnTo>
                  <a:pt x="10658" y="11608"/>
                </a:lnTo>
                <a:lnTo>
                  <a:pt x="10683" y="11632"/>
                </a:lnTo>
                <a:lnTo>
                  <a:pt x="10829" y="11681"/>
                </a:lnTo>
                <a:lnTo>
                  <a:pt x="10975" y="11729"/>
                </a:lnTo>
                <a:lnTo>
                  <a:pt x="11096" y="11778"/>
                </a:lnTo>
                <a:lnTo>
                  <a:pt x="10877" y="12143"/>
                </a:lnTo>
                <a:lnTo>
                  <a:pt x="10829" y="12118"/>
                </a:lnTo>
                <a:lnTo>
                  <a:pt x="10658" y="12045"/>
                </a:lnTo>
                <a:lnTo>
                  <a:pt x="10561" y="11997"/>
                </a:lnTo>
                <a:lnTo>
                  <a:pt x="10464" y="11972"/>
                </a:lnTo>
                <a:lnTo>
                  <a:pt x="10439" y="11997"/>
                </a:lnTo>
                <a:lnTo>
                  <a:pt x="10439" y="12045"/>
                </a:lnTo>
                <a:lnTo>
                  <a:pt x="10488" y="12118"/>
                </a:lnTo>
                <a:lnTo>
                  <a:pt x="10585" y="12191"/>
                </a:lnTo>
                <a:lnTo>
                  <a:pt x="10756" y="12313"/>
                </a:lnTo>
                <a:lnTo>
                  <a:pt x="10561" y="12654"/>
                </a:lnTo>
                <a:lnTo>
                  <a:pt x="10415" y="12629"/>
                </a:lnTo>
                <a:lnTo>
                  <a:pt x="10172" y="12629"/>
                </a:lnTo>
                <a:lnTo>
                  <a:pt x="10026" y="12654"/>
                </a:lnTo>
                <a:lnTo>
                  <a:pt x="10026" y="12678"/>
                </a:lnTo>
                <a:lnTo>
                  <a:pt x="10026" y="12702"/>
                </a:lnTo>
                <a:lnTo>
                  <a:pt x="10245" y="12800"/>
                </a:lnTo>
                <a:lnTo>
                  <a:pt x="10439" y="12897"/>
                </a:lnTo>
                <a:lnTo>
                  <a:pt x="10196" y="13384"/>
                </a:lnTo>
                <a:lnTo>
                  <a:pt x="9880" y="13384"/>
                </a:lnTo>
                <a:lnTo>
                  <a:pt x="9904" y="13432"/>
                </a:lnTo>
                <a:lnTo>
                  <a:pt x="10147" y="13505"/>
                </a:lnTo>
                <a:lnTo>
                  <a:pt x="10074" y="13700"/>
                </a:lnTo>
                <a:lnTo>
                  <a:pt x="10026" y="13895"/>
                </a:lnTo>
                <a:lnTo>
                  <a:pt x="9953" y="14284"/>
                </a:lnTo>
                <a:lnTo>
                  <a:pt x="9880" y="14673"/>
                </a:lnTo>
                <a:lnTo>
                  <a:pt x="9807" y="15087"/>
                </a:lnTo>
                <a:lnTo>
                  <a:pt x="9101" y="15111"/>
                </a:lnTo>
                <a:lnTo>
                  <a:pt x="9247" y="14673"/>
                </a:lnTo>
                <a:lnTo>
                  <a:pt x="9344" y="14235"/>
                </a:lnTo>
                <a:lnTo>
                  <a:pt x="9539" y="13359"/>
                </a:lnTo>
                <a:lnTo>
                  <a:pt x="9734" y="12459"/>
                </a:lnTo>
                <a:lnTo>
                  <a:pt x="9855" y="12021"/>
                </a:lnTo>
                <a:lnTo>
                  <a:pt x="9977" y="11583"/>
                </a:lnTo>
                <a:lnTo>
                  <a:pt x="10269" y="10659"/>
                </a:lnTo>
                <a:lnTo>
                  <a:pt x="10537" y="9734"/>
                </a:lnTo>
                <a:lnTo>
                  <a:pt x="10658" y="9320"/>
                </a:lnTo>
                <a:lnTo>
                  <a:pt x="10756" y="8858"/>
                </a:lnTo>
                <a:lnTo>
                  <a:pt x="10780" y="8639"/>
                </a:lnTo>
                <a:lnTo>
                  <a:pt x="10780" y="8396"/>
                </a:lnTo>
                <a:lnTo>
                  <a:pt x="10756" y="8177"/>
                </a:lnTo>
                <a:lnTo>
                  <a:pt x="10707" y="7958"/>
                </a:lnTo>
                <a:lnTo>
                  <a:pt x="10683" y="7933"/>
                </a:lnTo>
                <a:lnTo>
                  <a:pt x="10634" y="7933"/>
                </a:lnTo>
                <a:lnTo>
                  <a:pt x="10610" y="7958"/>
                </a:lnTo>
                <a:lnTo>
                  <a:pt x="10537" y="8177"/>
                </a:lnTo>
                <a:lnTo>
                  <a:pt x="10464" y="8420"/>
                </a:lnTo>
                <a:lnTo>
                  <a:pt x="10366" y="8882"/>
                </a:lnTo>
                <a:lnTo>
                  <a:pt x="10293" y="9369"/>
                </a:lnTo>
                <a:lnTo>
                  <a:pt x="10172" y="9831"/>
                </a:lnTo>
                <a:lnTo>
                  <a:pt x="9904" y="10756"/>
                </a:lnTo>
                <a:lnTo>
                  <a:pt x="9588" y="11656"/>
                </a:lnTo>
                <a:lnTo>
                  <a:pt x="9466" y="12094"/>
                </a:lnTo>
                <a:lnTo>
                  <a:pt x="9369" y="12532"/>
                </a:lnTo>
                <a:lnTo>
                  <a:pt x="9174" y="13384"/>
                </a:lnTo>
                <a:lnTo>
                  <a:pt x="8979" y="14260"/>
                </a:lnTo>
                <a:lnTo>
                  <a:pt x="8858" y="14698"/>
                </a:lnTo>
                <a:lnTo>
                  <a:pt x="8736" y="15111"/>
                </a:lnTo>
                <a:lnTo>
                  <a:pt x="8128" y="15136"/>
                </a:lnTo>
                <a:lnTo>
                  <a:pt x="7519" y="15087"/>
                </a:lnTo>
                <a:lnTo>
                  <a:pt x="7179" y="15063"/>
                </a:lnTo>
                <a:lnTo>
                  <a:pt x="7154" y="15038"/>
                </a:lnTo>
                <a:lnTo>
                  <a:pt x="7081" y="14698"/>
                </a:lnTo>
                <a:lnTo>
                  <a:pt x="7033" y="14357"/>
                </a:lnTo>
                <a:lnTo>
                  <a:pt x="6935" y="13651"/>
                </a:lnTo>
                <a:lnTo>
                  <a:pt x="6765" y="12605"/>
                </a:lnTo>
                <a:lnTo>
                  <a:pt x="6570" y="11583"/>
                </a:lnTo>
                <a:lnTo>
                  <a:pt x="6230" y="9880"/>
                </a:lnTo>
                <a:lnTo>
                  <a:pt x="6060" y="9028"/>
                </a:lnTo>
                <a:lnTo>
                  <a:pt x="5841" y="8177"/>
                </a:lnTo>
                <a:lnTo>
                  <a:pt x="5816" y="8152"/>
                </a:lnTo>
                <a:lnTo>
                  <a:pt x="5768" y="8128"/>
                </a:lnTo>
                <a:lnTo>
                  <a:pt x="5743" y="8128"/>
                </a:lnTo>
                <a:lnTo>
                  <a:pt x="5695" y="8152"/>
                </a:lnTo>
                <a:lnTo>
                  <a:pt x="5646" y="8298"/>
                </a:lnTo>
                <a:lnTo>
                  <a:pt x="5646" y="8420"/>
                </a:lnTo>
                <a:lnTo>
                  <a:pt x="5646" y="8542"/>
                </a:lnTo>
                <a:lnTo>
                  <a:pt x="5646" y="8663"/>
                </a:lnTo>
                <a:lnTo>
                  <a:pt x="5719" y="8931"/>
                </a:lnTo>
                <a:lnTo>
                  <a:pt x="5768" y="9199"/>
                </a:lnTo>
                <a:lnTo>
                  <a:pt x="5865" y="9734"/>
                </a:lnTo>
                <a:lnTo>
                  <a:pt x="5962" y="10245"/>
                </a:lnTo>
                <a:lnTo>
                  <a:pt x="6035" y="10780"/>
                </a:lnTo>
                <a:lnTo>
                  <a:pt x="6133" y="11316"/>
                </a:lnTo>
                <a:lnTo>
                  <a:pt x="6327" y="12337"/>
                </a:lnTo>
                <a:lnTo>
                  <a:pt x="6522" y="13384"/>
                </a:lnTo>
                <a:lnTo>
                  <a:pt x="6570" y="13773"/>
                </a:lnTo>
                <a:lnTo>
                  <a:pt x="6619" y="14211"/>
                </a:lnTo>
                <a:lnTo>
                  <a:pt x="6668" y="14625"/>
                </a:lnTo>
                <a:lnTo>
                  <a:pt x="6716" y="14819"/>
                </a:lnTo>
                <a:lnTo>
                  <a:pt x="6765" y="15014"/>
                </a:lnTo>
                <a:lnTo>
                  <a:pt x="6497" y="15038"/>
                </a:lnTo>
                <a:lnTo>
                  <a:pt x="6473" y="14625"/>
                </a:lnTo>
                <a:lnTo>
                  <a:pt x="6400" y="14235"/>
                </a:lnTo>
                <a:lnTo>
                  <a:pt x="6279" y="13846"/>
                </a:lnTo>
                <a:lnTo>
                  <a:pt x="6133" y="13481"/>
                </a:lnTo>
                <a:lnTo>
                  <a:pt x="5938" y="13116"/>
                </a:lnTo>
                <a:lnTo>
                  <a:pt x="5743" y="12775"/>
                </a:lnTo>
                <a:lnTo>
                  <a:pt x="5281" y="12070"/>
                </a:lnTo>
                <a:lnTo>
                  <a:pt x="4746" y="11267"/>
                </a:lnTo>
                <a:lnTo>
                  <a:pt x="4210" y="10415"/>
                </a:lnTo>
                <a:lnTo>
                  <a:pt x="3967" y="9977"/>
                </a:lnTo>
                <a:lnTo>
                  <a:pt x="3724" y="9539"/>
                </a:lnTo>
                <a:lnTo>
                  <a:pt x="3529" y="9077"/>
                </a:lnTo>
                <a:lnTo>
                  <a:pt x="3359" y="8615"/>
                </a:lnTo>
                <a:lnTo>
                  <a:pt x="3286" y="8396"/>
                </a:lnTo>
                <a:lnTo>
                  <a:pt x="3261" y="8152"/>
                </a:lnTo>
                <a:lnTo>
                  <a:pt x="3237" y="7909"/>
                </a:lnTo>
                <a:lnTo>
                  <a:pt x="3237" y="7666"/>
                </a:lnTo>
                <a:lnTo>
                  <a:pt x="3261" y="7155"/>
                </a:lnTo>
                <a:lnTo>
                  <a:pt x="3310" y="6668"/>
                </a:lnTo>
                <a:lnTo>
                  <a:pt x="3334" y="6376"/>
                </a:lnTo>
                <a:lnTo>
                  <a:pt x="3407" y="6108"/>
                </a:lnTo>
                <a:lnTo>
                  <a:pt x="3480" y="5841"/>
                </a:lnTo>
                <a:lnTo>
                  <a:pt x="3578" y="5597"/>
                </a:lnTo>
                <a:lnTo>
                  <a:pt x="3699" y="5354"/>
                </a:lnTo>
                <a:lnTo>
                  <a:pt x="3845" y="5111"/>
                </a:lnTo>
                <a:lnTo>
                  <a:pt x="4016" y="4892"/>
                </a:lnTo>
                <a:lnTo>
                  <a:pt x="4186" y="4673"/>
                </a:lnTo>
                <a:lnTo>
                  <a:pt x="4648" y="4162"/>
                </a:lnTo>
                <a:lnTo>
                  <a:pt x="5062" y="3748"/>
                </a:lnTo>
                <a:lnTo>
                  <a:pt x="5403" y="3432"/>
                </a:lnTo>
                <a:lnTo>
                  <a:pt x="5743" y="3189"/>
                </a:lnTo>
                <a:lnTo>
                  <a:pt x="6060" y="3018"/>
                </a:lnTo>
                <a:lnTo>
                  <a:pt x="6352" y="2872"/>
                </a:lnTo>
                <a:lnTo>
                  <a:pt x="6668" y="2775"/>
                </a:lnTo>
                <a:lnTo>
                  <a:pt x="6984" y="2702"/>
                </a:lnTo>
                <a:lnTo>
                  <a:pt x="7276" y="2653"/>
                </a:lnTo>
                <a:lnTo>
                  <a:pt x="7568" y="2629"/>
                </a:lnTo>
                <a:lnTo>
                  <a:pt x="7860" y="2605"/>
                </a:lnTo>
                <a:close/>
                <a:moveTo>
                  <a:pt x="6716" y="15525"/>
                </a:moveTo>
                <a:lnTo>
                  <a:pt x="6619" y="15720"/>
                </a:lnTo>
                <a:lnTo>
                  <a:pt x="6352" y="16158"/>
                </a:lnTo>
                <a:lnTo>
                  <a:pt x="6279" y="16109"/>
                </a:lnTo>
                <a:lnTo>
                  <a:pt x="6230" y="16060"/>
                </a:lnTo>
                <a:lnTo>
                  <a:pt x="6206" y="15963"/>
                </a:lnTo>
                <a:lnTo>
                  <a:pt x="6206" y="15866"/>
                </a:lnTo>
                <a:lnTo>
                  <a:pt x="6206" y="15768"/>
                </a:lnTo>
                <a:lnTo>
                  <a:pt x="6230" y="15695"/>
                </a:lnTo>
                <a:lnTo>
                  <a:pt x="6279" y="15598"/>
                </a:lnTo>
                <a:lnTo>
                  <a:pt x="6327" y="15549"/>
                </a:lnTo>
                <a:lnTo>
                  <a:pt x="6595" y="15525"/>
                </a:lnTo>
                <a:close/>
                <a:moveTo>
                  <a:pt x="6887" y="15525"/>
                </a:moveTo>
                <a:lnTo>
                  <a:pt x="7276" y="15549"/>
                </a:lnTo>
                <a:lnTo>
                  <a:pt x="7641" y="15598"/>
                </a:lnTo>
                <a:lnTo>
                  <a:pt x="8225" y="15647"/>
                </a:lnTo>
                <a:lnTo>
                  <a:pt x="8809" y="15671"/>
                </a:lnTo>
                <a:lnTo>
                  <a:pt x="8541" y="15963"/>
                </a:lnTo>
                <a:lnTo>
                  <a:pt x="8298" y="16255"/>
                </a:lnTo>
                <a:lnTo>
                  <a:pt x="7909" y="16231"/>
                </a:lnTo>
                <a:lnTo>
                  <a:pt x="8249" y="15744"/>
                </a:lnTo>
                <a:lnTo>
                  <a:pt x="8249" y="15720"/>
                </a:lnTo>
                <a:lnTo>
                  <a:pt x="8225" y="15695"/>
                </a:lnTo>
                <a:lnTo>
                  <a:pt x="8201" y="15671"/>
                </a:lnTo>
                <a:lnTo>
                  <a:pt x="8176" y="15695"/>
                </a:lnTo>
                <a:lnTo>
                  <a:pt x="7690" y="16231"/>
                </a:lnTo>
                <a:lnTo>
                  <a:pt x="7179" y="16182"/>
                </a:lnTo>
                <a:lnTo>
                  <a:pt x="7325" y="15939"/>
                </a:lnTo>
                <a:lnTo>
                  <a:pt x="7471" y="15671"/>
                </a:lnTo>
                <a:lnTo>
                  <a:pt x="7471" y="15647"/>
                </a:lnTo>
                <a:lnTo>
                  <a:pt x="7446" y="15622"/>
                </a:lnTo>
                <a:lnTo>
                  <a:pt x="7422" y="15647"/>
                </a:lnTo>
                <a:lnTo>
                  <a:pt x="7203" y="15890"/>
                </a:lnTo>
                <a:lnTo>
                  <a:pt x="6935" y="16182"/>
                </a:lnTo>
                <a:lnTo>
                  <a:pt x="6741" y="16206"/>
                </a:lnTo>
                <a:lnTo>
                  <a:pt x="6570" y="16255"/>
                </a:lnTo>
                <a:lnTo>
                  <a:pt x="6668" y="16060"/>
                </a:lnTo>
                <a:lnTo>
                  <a:pt x="6814" y="15817"/>
                </a:lnTo>
                <a:lnTo>
                  <a:pt x="6862" y="15671"/>
                </a:lnTo>
                <a:lnTo>
                  <a:pt x="6887" y="15525"/>
                </a:lnTo>
                <a:close/>
                <a:moveTo>
                  <a:pt x="9661" y="15622"/>
                </a:moveTo>
                <a:lnTo>
                  <a:pt x="9734" y="15671"/>
                </a:lnTo>
                <a:lnTo>
                  <a:pt x="9807" y="15695"/>
                </a:lnTo>
                <a:lnTo>
                  <a:pt x="9953" y="15695"/>
                </a:lnTo>
                <a:lnTo>
                  <a:pt x="9782" y="15793"/>
                </a:lnTo>
                <a:lnTo>
                  <a:pt x="9661" y="15939"/>
                </a:lnTo>
                <a:lnTo>
                  <a:pt x="9539" y="16085"/>
                </a:lnTo>
                <a:lnTo>
                  <a:pt x="9417" y="16279"/>
                </a:lnTo>
                <a:lnTo>
                  <a:pt x="9271" y="16279"/>
                </a:lnTo>
                <a:lnTo>
                  <a:pt x="9612" y="15817"/>
                </a:lnTo>
                <a:lnTo>
                  <a:pt x="9612" y="15793"/>
                </a:lnTo>
                <a:lnTo>
                  <a:pt x="9612" y="15768"/>
                </a:lnTo>
                <a:lnTo>
                  <a:pt x="9563" y="15768"/>
                </a:lnTo>
                <a:lnTo>
                  <a:pt x="9320" y="16012"/>
                </a:lnTo>
                <a:lnTo>
                  <a:pt x="9077" y="16255"/>
                </a:lnTo>
                <a:lnTo>
                  <a:pt x="8517" y="16255"/>
                </a:lnTo>
                <a:lnTo>
                  <a:pt x="8882" y="15720"/>
                </a:lnTo>
                <a:lnTo>
                  <a:pt x="8906" y="15695"/>
                </a:lnTo>
                <a:lnTo>
                  <a:pt x="8882" y="15671"/>
                </a:lnTo>
                <a:lnTo>
                  <a:pt x="9271" y="15671"/>
                </a:lnTo>
                <a:lnTo>
                  <a:pt x="9661" y="15622"/>
                </a:lnTo>
                <a:close/>
                <a:moveTo>
                  <a:pt x="10074" y="15768"/>
                </a:moveTo>
                <a:lnTo>
                  <a:pt x="10074" y="15841"/>
                </a:lnTo>
                <a:lnTo>
                  <a:pt x="10099" y="15939"/>
                </a:lnTo>
                <a:lnTo>
                  <a:pt x="10074" y="16060"/>
                </a:lnTo>
                <a:lnTo>
                  <a:pt x="10050" y="16182"/>
                </a:lnTo>
                <a:lnTo>
                  <a:pt x="9977" y="16304"/>
                </a:lnTo>
                <a:lnTo>
                  <a:pt x="9758" y="16279"/>
                </a:lnTo>
                <a:lnTo>
                  <a:pt x="9880" y="16012"/>
                </a:lnTo>
                <a:lnTo>
                  <a:pt x="9977" y="15890"/>
                </a:lnTo>
                <a:lnTo>
                  <a:pt x="10074" y="15768"/>
                </a:lnTo>
                <a:close/>
                <a:moveTo>
                  <a:pt x="6522" y="16571"/>
                </a:moveTo>
                <a:lnTo>
                  <a:pt x="6595" y="16620"/>
                </a:lnTo>
                <a:lnTo>
                  <a:pt x="6424" y="16888"/>
                </a:lnTo>
                <a:lnTo>
                  <a:pt x="6376" y="17034"/>
                </a:lnTo>
                <a:lnTo>
                  <a:pt x="6327" y="17180"/>
                </a:lnTo>
                <a:lnTo>
                  <a:pt x="6254" y="17082"/>
                </a:lnTo>
                <a:lnTo>
                  <a:pt x="6230" y="16985"/>
                </a:lnTo>
                <a:lnTo>
                  <a:pt x="6206" y="16912"/>
                </a:lnTo>
                <a:lnTo>
                  <a:pt x="6230" y="16815"/>
                </a:lnTo>
                <a:lnTo>
                  <a:pt x="6254" y="16839"/>
                </a:lnTo>
                <a:lnTo>
                  <a:pt x="6303" y="16839"/>
                </a:lnTo>
                <a:lnTo>
                  <a:pt x="6352" y="16815"/>
                </a:lnTo>
                <a:lnTo>
                  <a:pt x="6376" y="16766"/>
                </a:lnTo>
                <a:lnTo>
                  <a:pt x="6424" y="16596"/>
                </a:lnTo>
                <a:lnTo>
                  <a:pt x="6449" y="16596"/>
                </a:lnTo>
                <a:lnTo>
                  <a:pt x="6522" y="16571"/>
                </a:lnTo>
                <a:close/>
                <a:moveTo>
                  <a:pt x="7884" y="16693"/>
                </a:moveTo>
                <a:lnTo>
                  <a:pt x="7957" y="16717"/>
                </a:lnTo>
                <a:lnTo>
                  <a:pt x="7787" y="16985"/>
                </a:lnTo>
                <a:lnTo>
                  <a:pt x="7617" y="17253"/>
                </a:lnTo>
                <a:lnTo>
                  <a:pt x="7592" y="17326"/>
                </a:lnTo>
                <a:lnTo>
                  <a:pt x="7300" y="17326"/>
                </a:lnTo>
                <a:lnTo>
                  <a:pt x="7398" y="17107"/>
                </a:lnTo>
                <a:lnTo>
                  <a:pt x="7519" y="16888"/>
                </a:lnTo>
                <a:lnTo>
                  <a:pt x="7617" y="16717"/>
                </a:lnTo>
                <a:lnTo>
                  <a:pt x="7884" y="16693"/>
                </a:lnTo>
                <a:close/>
                <a:moveTo>
                  <a:pt x="8225" y="16717"/>
                </a:moveTo>
                <a:lnTo>
                  <a:pt x="8736" y="16742"/>
                </a:lnTo>
                <a:lnTo>
                  <a:pt x="8541" y="17034"/>
                </a:lnTo>
                <a:lnTo>
                  <a:pt x="8371" y="17326"/>
                </a:lnTo>
                <a:lnTo>
                  <a:pt x="7909" y="17326"/>
                </a:lnTo>
                <a:lnTo>
                  <a:pt x="7933" y="17277"/>
                </a:lnTo>
                <a:lnTo>
                  <a:pt x="8225" y="16717"/>
                </a:lnTo>
                <a:close/>
                <a:moveTo>
                  <a:pt x="9223" y="16742"/>
                </a:moveTo>
                <a:lnTo>
                  <a:pt x="8979" y="17350"/>
                </a:lnTo>
                <a:lnTo>
                  <a:pt x="8663" y="17350"/>
                </a:lnTo>
                <a:lnTo>
                  <a:pt x="8979" y="16742"/>
                </a:lnTo>
                <a:close/>
                <a:moveTo>
                  <a:pt x="9928" y="16742"/>
                </a:moveTo>
                <a:lnTo>
                  <a:pt x="9661" y="17253"/>
                </a:lnTo>
                <a:lnTo>
                  <a:pt x="9612" y="17350"/>
                </a:lnTo>
                <a:lnTo>
                  <a:pt x="9320" y="17350"/>
                </a:lnTo>
                <a:lnTo>
                  <a:pt x="9563" y="16742"/>
                </a:lnTo>
                <a:close/>
                <a:moveTo>
                  <a:pt x="10147" y="16839"/>
                </a:moveTo>
                <a:lnTo>
                  <a:pt x="10220" y="16961"/>
                </a:lnTo>
                <a:lnTo>
                  <a:pt x="10245" y="17107"/>
                </a:lnTo>
                <a:lnTo>
                  <a:pt x="10220" y="17228"/>
                </a:lnTo>
                <a:lnTo>
                  <a:pt x="10147" y="17350"/>
                </a:lnTo>
                <a:lnTo>
                  <a:pt x="9928" y="17350"/>
                </a:lnTo>
                <a:lnTo>
                  <a:pt x="9953" y="17277"/>
                </a:lnTo>
                <a:lnTo>
                  <a:pt x="10050" y="17082"/>
                </a:lnTo>
                <a:lnTo>
                  <a:pt x="10147" y="16839"/>
                </a:lnTo>
                <a:close/>
                <a:moveTo>
                  <a:pt x="6862" y="16693"/>
                </a:moveTo>
                <a:lnTo>
                  <a:pt x="7081" y="16717"/>
                </a:lnTo>
                <a:lnTo>
                  <a:pt x="7300" y="16717"/>
                </a:lnTo>
                <a:lnTo>
                  <a:pt x="7106" y="17009"/>
                </a:lnTo>
                <a:lnTo>
                  <a:pt x="6935" y="17326"/>
                </a:lnTo>
                <a:lnTo>
                  <a:pt x="6741" y="17350"/>
                </a:lnTo>
                <a:lnTo>
                  <a:pt x="6570" y="17399"/>
                </a:lnTo>
                <a:lnTo>
                  <a:pt x="6619" y="17204"/>
                </a:lnTo>
                <a:lnTo>
                  <a:pt x="6692" y="17034"/>
                </a:lnTo>
                <a:lnTo>
                  <a:pt x="6862" y="16693"/>
                </a:lnTo>
                <a:close/>
                <a:moveTo>
                  <a:pt x="6473" y="17618"/>
                </a:moveTo>
                <a:lnTo>
                  <a:pt x="6643" y="17691"/>
                </a:lnTo>
                <a:lnTo>
                  <a:pt x="6814" y="17715"/>
                </a:lnTo>
                <a:lnTo>
                  <a:pt x="6789" y="17910"/>
                </a:lnTo>
                <a:lnTo>
                  <a:pt x="6765" y="18080"/>
                </a:lnTo>
                <a:lnTo>
                  <a:pt x="6643" y="17983"/>
                </a:lnTo>
                <a:lnTo>
                  <a:pt x="6546" y="17861"/>
                </a:lnTo>
                <a:lnTo>
                  <a:pt x="6352" y="17642"/>
                </a:lnTo>
                <a:lnTo>
                  <a:pt x="6376" y="17618"/>
                </a:lnTo>
                <a:lnTo>
                  <a:pt x="6424" y="17642"/>
                </a:lnTo>
                <a:lnTo>
                  <a:pt x="6473" y="17618"/>
                </a:lnTo>
                <a:close/>
                <a:moveTo>
                  <a:pt x="7398" y="17739"/>
                </a:moveTo>
                <a:lnTo>
                  <a:pt x="7300" y="18031"/>
                </a:lnTo>
                <a:lnTo>
                  <a:pt x="7252" y="18177"/>
                </a:lnTo>
                <a:lnTo>
                  <a:pt x="7252" y="18299"/>
                </a:lnTo>
                <a:lnTo>
                  <a:pt x="7008" y="18202"/>
                </a:lnTo>
                <a:lnTo>
                  <a:pt x="7154" y="17739"/>
                </a:lnTo>
                <a:close/>
                <a:moveTo>
                  <a:pt x="8833" y="17715"/>
                </a:moveTo>
                <a:lnTo>
                  <a:pt x="8785" y="17837"/>
                </a:lnTo>
                <a:lnTo>
                  <a:pt x="8736" y="17983"/>
                </a:lnTo>
                <a:lnTo>
                  <a:pt x="8712" y="18104"/>
                </a:lnTo>
                <a:lnTo>
                  <a:pt x="8736" y="18153"/>
                </a:lnTo>
                <a:lnTo>
                  <a:pt x="8736" y="18202"/>
                </a:lnTo>
                <a:lnTo>
                  <a:pt x="8809" y="18250"/>
                </a:lnTo>
                <a:lnTo>
                  <a:pt x="8882" y="18250"/>
                </a:lnTo>
                <a:lnTo>
                  <a:pt x="8931" y="18226"/>
                </a:lnTo>
                <a:lnTo>
                  <a:pt x="9004" y="18153"/>
                </a:lnTo>
                <a:lnTo>
                  <a:pt x="9125" y="17958"/>
                </a:lnTo>
                <a:lnTo>
                  <a:pt x="9198" y="17739"/>
                </a:lnTo>
                <a:lnTo>
                  <a:pt x="9393" y="17739"/>
                </a:lnTo>
                <a:lnTo>
                  <a:pt x="9369" y="17861"/>
                </a:lnTo>
                <a:lnTo>
                  <a:pt x="9369" y="18007"/>
                </a:lnTo>
                <a:lnTo>
                  <a:pt x="9125" y="18153"/>
                </a:lnTo>
                <a:lnTo>
                  <a:pt x="8833" y="18275"/>
                </a:lnTo>
                <a:lnTo>
                  <a:pt x="8566" y="18372"/>
                </a:lnTo>
                <a:lnTo>
                  <a:pt x="8249" y="18421"/>
                </a:lnTo>
                <a:lnTo>
                  <a:pt x="8274" y="18275"/>
                </a:lnTo>
                <a:lnTo>
                  <a:pt x="8371" y="17983"/>
                </a:lnTo>
                <a:lnTo>
                  <a:pt x="8468" y="17715"/>
                </a:lnTo>
                <a:close/>
                <a:moveTo>
                  <a:pt x="8176" y="17715"/>
                </a:moveTo>
                <a:lnTo>
                  <a:pt x="8030" y="18056"/>
                </a:lnTo>
                <a:lnTo>
                  <a:pt x="7957" y="18250"/>
                </a:lnTo>
                <a:lnTo>
                  <a:pt x="7933" y="18445"/>
                </a:lnTo>
                <a:lnTo>
                  <a:pt x="7738" y="18421"/>
                </a:lnTo>
                <a:lnTo>
                  <a:pt x="7568" y="18396"/>
                </a:lnTo>
                <a:lnTo>
                  <a:pt x="7568" y="18226"/>
                </a:lnTo>
                <a:lnTo>
                  <a:pt x="7641" y="17983"/>
                </a:lnTo>
                <a:lnTo>
                  <a:pt x="7738" y="17715"/>
                </a:lnTo>
                <a:close/>
                <a:moveTo>
                  <a:pt x="8128" y="2094"/>
                </a:moveTo>
                <a:lnTo>
                  <a:pt x="7714" y="2142"/>
                </a:lnTo>
                <a:lnTo>
                  <a:pt x="7325" y="2191"/>
                </a:lnTo>
                <a:lnTo>
                  <a:pt x="6935" y="2264"/>
                </a:lnTo>
                <a:lnTo>
                  <a:pt x="6546" y="2386"/>
                </a:lnTo>
                <a:lnTo>
                  <a:pt x="6181" y="2507"/>
                </a:lnTo>
                <a:lnTo>
                  <a:pt x="5841" y="2653"/>
                </a:lnTo>
                <a:lnTo>
                  <a:pt x="5500" y="2824"/>
                </a:lnTo>
                <a:lnTo>
                  <a:pt x="5184" y="3018"/>
                </a:lnTo>
                <a:lnTo>
                  <a:pt x="4892" y="3237"/>
                </a:lnTo>
                <a:lnTo>
                  <a:pt x="4551" y="3554"/>
                </a:lnTo>
                <a:lnTo>
                  <a:pt x="4210" y="3918"/>
                </a:lnTo>
                <a:lnTo>
                  <a:pt x="3918" y="4332"/>
                </a:lnTo>
                <a:lnTo>
                  <a:pt x="3626" y="4746"/>
                </a:lnTo>
                <a:lnTo>
                  <a:pt x="3383" y="5159"/>
                </a:lnTo>
                <a:lnTo>
                  <a:pt x="3164" y="5549"/>
                </a:lnTo>
                <a:lnTo>
                  <a:pt x="3018" y="5889"/>
                </a:lnTo>
                <a:lnTo>
                  <a:pt x="2921" y="6157"/>
                </a:lnTo>
                <a:lnTo>
                  <a:pt x="2823" y="6595"/>
                </a:lnTo>
                <a:lnTo>
                  <a:pt x="2775" y="7057"/>
                </a:lnTo>
                <a:lnTo>
                  <a:pt x="2750" y="7495"/>
                </a:lnTo>
                <a:lnTo>
                  <a:pt x="2775" y="7958"/>
                </a:lnTo>
                <a:lnTo>
                  <a:pt x="2823" y="8396"/>
                </a:lnTo>
                <a:lnTo>
                  <a:pt x="2921" y="8834"/>
                </a:lnTo>
                <a:lnTo>
                  <a:pt x="3067" y="9272"/>
                </a:lnTo>
                <a:lnTo>
                  <a:pt x="3237" y="9685"/>
                </a:lnTo>
                <a:lnTo>
                  <a:pt x="3602" y="10367"/>
                </a:lnTo>
                <a:lnTo>
                  <a:pt x="3991" y="11024"/>
                </a:lnTo>
                <a:lnTo>
                  <a:pt x="4843" y="12337"/>
                </a:lnTo>
                <a:lnTo>
                  <a:pt x="5281" y="13019"/>
                </a:lnTo>
                <a:lnTo>
                  <a:pt x="5476" y="13384"/>
                </a:lnTo>
                <a:lnTo>
                  <a:pt x="5646" y="13724"/>
                </a:lnTo>
                <a:lnTo>
                  <a:pt x="5792" y="14089"/>
                </a:lnTo>
                <a:lnTo>
                  <a:pt x="5914" y="14454"/>
                </a:lnTo>
                <a:lnTo>
                  <a:pt x="5987" y="14844"/>
                </a:lnTo>
                <a:lnTo>
                  <a:pt x="5987" y="15282"/>
                </a:lnTo>
                <a:lnTo>
                  <a:pt x="5962" y="15379"/>
                </a:lnTo>
                <a:lnTo>
                  <a:pt x="5962" y="15428"/>
                </a:lnTo>
                <a:lnTo>
                  <a:pt x="5889" y="15525"/>
                </a:lnTo>
                <a:lnTo>
                  <a:pt x="5841" y="15647"/>
                </a:lnTo>
                <a:lnTo>
                  <a:pt x="5816" y="15768"/>
                </a:lnTo>
                <a:lnTo>
                  <a:pt x="5792" y="15914"/>
                </a:lnTo>
                <a:lnTo>
                  <a:pt x="5816" y="16036"/>
                </a:lnTo>
                <a:lnTo>
                  <a:pt x="5841" y="16158"/>
                </a:lnTo>
                <a:lnTo>
                  <a:pt x="5889" y="16279"/>
                </a:lnTo>
                <a:lnTo>
                  <a:pt x="5962" y="16377"/>
                </a:lnTo>
                <a:lnTo>
                  <a:pt x="5865" y="16474"/>
                </a:lnTo>
                <a:lnTo>
                  <a:pt x="5792" y="16620"/>
                </a:lnTo>
                <a:lnTo>
                  <a:pt x="5768" y="16766"/>
                </a:lnTo>
                <a:lnTo>
                  <a:pt x="5768" y="16912"/>
                </a:lnTo>
                <a:lnTo>
                  <a:pt x="5768" y="17058"/>
                </a:lnTo>
                <a:lnTo>
                  <a:pt x="5816" y="17204"/>
                </a:lnTo>
                <a:lnTo>
                  <a:pt x="5889" y="17350"/>
                </a:lnTo>
                <a:lnTo>
                  <a:pt x="5987" y="17472"/>
                </a:lnTo>
                <a:lnTo>
                  <a:pt x="5962" y="17496"/>
                </a:lnTo>
                <a:lnTo>
                  <a:pt x="5914" y="17618"/>
                </a:lnTo>
                <a:lnTo>
                  <a:pt x="5914" y="17715"/>
                </a:lnTo>
                <a:lnTo>
                  <a:pt x="5938" y="17837"/>
                </a:lnTo>
                <a:lnTo>
                  <a:pt x="5987" y="17934"/>
                </a:lnTo>
                <a:lnTo>
                  <a:pt x="6133" y="18129"/>
                </a:lnTo>
                <a:lnTo>
                  <a:pt x="6303" y="18299"/>
                </a:lnTo>
                <a:lnTo>
                  <a:pt x="6424" y="18421"/>
                </a:lnTo>
                <a:lnTo>
                  <a:pt x="6570" y="18518"/>
                </a:lnTo>
                <a:lnTo>
                  <a:pt x="6862" y="18688"/>
                </a:lnTo>
                <a:lnTo>
                  <a:pt x="7179" y="18810"/>
                </a:lnTo>
                <a:lnTo>
                  <a:pt x="7495" y="18859"/>
                </a:lnTo>
                <a:lnTo>
                  <a:pt x="7738" y="18883"/>
                </a:lnTo>
                <a:lnTo>
                  <a:pt x="7982" y="18883"/>
                </a:lnTo>
                <a:lnTo>
                  <a:pt x="8030" y="18956"/>
                </a:lnTo>
                <a:lnTo>
                  <a:pt x="8079" y="18980"/>
                </a:lnTo>
                <a:lnTo>
                  <a:pt x="8128" y="18980"/>
                </a:lnTo>
                <a:lnTo>
                  <a:pt x="8176" y="18956"/>
                </a:lnTo>
                <a:lnTo>
                  <a:pt x="8201" y="18907"/>
                </a:lnTo>
                <a:lnTo>
                  <a:pt x="8201" y="18883"/>
                </a:lnTo>
                <a:lnTo>
                  <a:pt x="8493" y="18834"/>
                </a:lnTo>
                <a:lnTo>
                  <a:pt x="8785" y="18761"/>
                </a:lnTo>
                <a:lnTo>
                  <a:pt x="9052" y="18664"/>
                </a:lnTo>
                <a:lnTo>
                  <a:pt x="9320" y="18542"/>
                </a:lnTo>
                <a:lnTo>
                  <a:pt x="9563" y="18396"/>
                </a:lnTo>
                <a:lnTo>
                  <a:pt x="9807" y="18226"/>
                </a:lnTo>
                <a:lnTo>
                  <a:pt x="10050" y="18056"/>
                </a:lnTo>
                <a:lnTo>
                  <a:pt x="10269" y="17837"/>
                </a:lnTo>
                <a:lnTo>
                  <a:pt x="10318" y="17764"/>
                </a:lnTo>
                <a:lnTo>
                  <a:pt x="10342" y="17691"/>
                </a:lnTo>
                <a:lnTo>
                  <a:pt x="10464" y="17593"/>
                </a:lnTo>
                <a:lnTo>
                  <a:pt x="10537" y="17447"/>
                </a:lnTo>
                <a:lnTo>
                  <a:pt x="10585" y="17301"/>
                </a:lnTo>
                <a:lnTo>
                  <a:pt x="10634" y="17107"/>
                </a:lnTo>
                <a:lnTo>
                  <a:pt x="10634" y="16936"/>
                </a:lnTo>
                <a:lnTo>
                  <a:pt x="10585" y="16742"/>
                </a:lnTo>
                <a:lnTo>
                  <a:pt x="10512" y="16596"/>
                </a:lnTo>
                <a:lnTo>
                  <a:pt x="10391" y="16474"/>
                </a:lnTo>
                <a:lnTo>
                  <a:pt x="10488" y="16255"/>
                </a:lnTo>
                <a:lnTo>
                  <a:pt x="10537" y="16036"/>
                </a:lnTo>
                <a:lnTo>
                  <a:pt x="10537" y="15817"/>
                </a:lnTo>
                <a:lnTo>
                  <a:pt x="10488" y="15574"/>
                </a:lnTo>
                <a:lnTo>
                  <a:pt x="10415" y="15476"/>
                </a:lnTo>
                <a:lnTo>
                  <a:pt x="10342" y="15379"/>
                </a:lnTo>
                <a:lnTo>
                  <a:pt x="10342" y="15306"/>
                </a:lnTo>
                <a:lnTo>
                  <a:pt x="10415" y="14965"/>
                </a:lnTo>
                <a:lnTo>
                  <a:pt x="10464" y="14625"/>
                </a:lnTo>
                <a:lnTo>
                  <a:pt x="10512" y="14284"/>
                </a:lnTo>
                <a:lnTo>
                  <a:pt x="10585" y="13943"/>
                </a:lnTo>
                <a:lnTo>
                  <a:pt x="10658" y="13700"/>
                </a:lnTo>
                <a:lnTo>
                  <a:pt x="10756" y="13457"/>
                </a:lnTo>
                <a:lnTo>
                  <a:pt x="10999" y="12994"/>
                </a:lnTo>
                <a:lnTo>
                  <a:pt x="11023" y="12970"/>
                </a:lnTo>
                <a:lnTo>
                  <a:pt x="11023" y="12946"/>
                </a:lnTo>
                <a:lnTo>
                  <a:pt x="11340" y="12459"/>
                </a:lnTo>
                <a:lnTo>
                  <a:pt x="11632" y="11972"/>
                </a:lnTo>
                <a:lnTo>
                  <a:pt x="12191" y="11194"/>
                </a:lnTo>
                <a:lnTo>
                  <a:pt x="12483" y="10780"/>
                </a:lnTo>
                <a:lnTo>
                  <a:pt x="12751" y="10367"/>
                </a:lnTo>
                <a:lnTo>
                  <a:pt x="12994" y="9953"/>
                </a:lnTo>
                <a:lnTo>
                  <a:pt x="13213" y="9515"/>
                </a:lnTo>
                <a:lnTo>
                  <a:pt x="13384" y="9053"/>
                </a:lnTo>
                <a:lnTo>
                  <a:pt x="13457" y="8809"/>
                </a:lnTo>
                <a:lnTo>
                  <a:pt x="13505" y="8590"/>
                </a:lnTo>
                <a:lnTo>
                  <a:pt x="13554" y="8152"/>
                </a:lnTo>
                <a:lnTo>
                  <a:pt x="13554" y="7714"/>
                </a:lnTo>
                <a:lnTo>
                  <a:pt x="13505" y="7276"/>
                </a:lnTo>
                <a:lnTo>
                  <a:pt x="13432" y="6838"/>
                </a:lnTo>
                <a:lnTo>
                  <a:pt x="13335" y="6400"/>
                </a:lnTo>
                <a:lnTo>
                  <a:pt x="13213" y="5962"/>
                </a:lnTo>
                <a:lnTo>
                  <a:pt x="12946" y="5135"/>
                </a:lnTo>
                <a:lnTo>
                  <a:pt x="12800" y="4770"/>
                </a:lnTo>
                <a:lnTo>
                  <a:pt x="12605" y="4429"/>
                </a:lnTo>
                <a:lnTo>
                  <a:pt x="12386" y="4113"/>
                </a:lnTo>
                <a:lnTo>
                  <a:pt x="12143" y="3797"/>
                </a:lnTo>
                <a:lnTo>
                  <a:pt x="12143" y="3773"/>
                </a:lnTo>
                <a:lnTo>
                  <a:pt x="12094" y="3675"/>
                </a:lnTo>
                <a:lnTo>
                  <a:pt x="12021" y="3602"/>
                </a:lnTo>
                <a:lnTo>
                  <a:pt x="11948" y="3554"/>
                </a:lnTo>
                <a:lnTo>
                  <a:pt x="11851" y="3505"/>
                </a:lnTo>
                <a:lnTo>
                  <a:pt x="11607" y="3286"/>
                </a:lnTo>
                <a:lnTo>
                  <a:pt x="11340" y="3091"/>
                </a:lnTo>
                <a:lnTo>
                  <a:pt x="11072" y="2897"/>
                </a:lnTo>
                <a:lnTo>
                  <a:pt x="10804" y="2726"/>
                </a:lnTo>
                <a:lnTo>
                  <a:pt x="10464" y="2556"/>
                </a:lnTo>
                <a:lnTo>
                  <a:pt x="10099" y="2386"/>
                </a:lnTo>
                <a:lnTo>
                  <a:pt x="9709" y="2264"/>
                </a:lnTo>
                <a:lnTo>
                  <a:pt x="9320" y="2191"/>
                </a:lnTo>
                <a:lnTo>
                  <a:pt x="8931" y="2142"/>
                </a:lnTo>
                <a:lnTo>
                  <a:pt x="8517" y="2094"/>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2" name="Graphic 11" descr="Open quotation mark with solid fill">
            <a:extLst>
              <a:ext uri="{FF2B5EF4-FFF2-40B4-BE49-F238E27FC236}">
                <a16:creationId xmlns:a16="http://schemas.microsoft.com/office/drawing/2014/main" id="{7A72D52A-C663-0E7E-C0A0-230351798EC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14722" y="1442113"/>
            <a:ext cx="914400" cy="914400"/>
          </a:xfrm>
          <a:prstGeom prst="rect">
            <a:avLst/>
          </a:prstGeom>
        </p:spPr>
      </p:pic>
    </p:spTree>
    <p:extLst>
      <p:ext uri="{BB962C8B-B14F-4D97-AF65-F5344CB8AC3E}">
        <p14:creationId xmlns:p14="http://schemas.microsoft.com/office/powerpoint/2010/main" val="568914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25</a:t>
            </a:fld>
            <a:endParaRPr lang="da-DK"/>
          </a:p>
        </p:txBody>
      </p:sp>
      <p:sp>
        <p:nvSpPr>
          <p:cNvPr id="3" name="Slide Number Placeholder 3">
            <a:extLst>
              <a:ext uri="{FF2B5EF4-FFF2-40B4-BE49-F238E27FC236}">
                <a16:creationId xmlns:a16="http://schemas.microsoft.com/office/drawing/2014/main" id="{D649DCE5-69AD-C1B0-9815-C2BE39487E43}"/>
              </a:ext>
            </a:extLst>
          </p:cNvPr>
          <p:cNvSpPr txBox="1">
            <a:spLocks/>
          </p:cNvSpPr>
          <p:nvPr/>
        </p:nvSpPr>
        <p:spPr>
          <a:xfrm>
            <a:off x="11206827" y="5223962"/>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6" name="Rectangle 15">
            <a:extLst>
              <a:ext uri="{FF2B5EF4-FFF2-40B4-BE49-F238E27FC236}">
                <a16:creationId xmlns:a16="http://schemas.microsoft.com/office/drawing/2014/main" id="{69E8CE64-0533-7299-077A-F5CBD4B386AF}"/>
              </a:ext>
            </a:extLst>
          </p:cNvPr>
          <p:cNvSpPr/>
          <p:nvPr/>
        </p:nvSpPr>
        <p:spPr>
          <a:xfrm>
            <a:off x="770411" y="1865191"/>
            <a:ext cx="6653049" cy="3941584"/>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2" name="Google Shape;846;p29">
            <a:extLst>
              <a:ext uri="{FF2B5EF4-FFF2-40B4-BE49-F238E27FC236}">
                <a16:creationId xmlns:a16="http://schemas.microsoft.com/office/drawing/2014/main" id="{15E4C8ED-7C1D-F41F-CFD3-DC21D4DDC86D}"/>
              </a:ext>
            </a:extLst>
          </p:cNvPr>
          <p:cNvSpPr/>
          <p:nvPr/>
        </p:nvSpPr>
        <p:spPr>
          <a:xfrm>
            <a:off x="0" y="346507"/>
            <a:ext cx="12192001" cy="854281"/>
          </a:xfrm>
          <a:prstGeom prst="rect">
            <a:avLst/>
          </a:prstGeom>
          <a:solidFill>
            <a:schemeClr val="accent6"/>
          </a:solidFill>
          <a:ln>
            <a:noFill/>
          </a:ln>
        </p:spPr>
        <p:txBody>
          <a:bodyPr spcFirstLastPara="1" wrap="square" lIns="396000" tIns="91425" rIns="91425" bIns="91425" anchor="ctr" anchorCtr="0">
            <a:noAutofit/>
          </a:bodyPr>
          <a:lstStyle/>
          <a:p>
            <a:pPr marL="0" lvl="0" indent="0" algn="ctr">
              <a:spcBef>
                <a:spcPts val="0"/>
              </a:spcBef>
              <a:spcAft>
                <a:spcPts val="0"/>
              </a:spcAft>
              <a:buNone/>
            </a:pPr>
            <a:r>
              <a:rPr lang="da-DK" sz="3200" b="1">
                <a:solidFill>
                  <a:schemeClr val="bg2"/>
                </a:solidFill>
                <a:latin typeface="Amatic SC" panose="00000500000000000000" pitchFamily="2" charset="-79"/>
                <a:cs typeface="Amatic SC" panose="00000500000000000000" pitchFamily="2" charset="-79"/>
              </a:rPr>
              <a:t>arbejde med aktionslæring styrker praksis, når det foregår systematisk</a:t>
            </a:r>
            <a:endParaRPr lang="da-DK" sz="3200" b="1">
              <a:solidFill>
                <a:schemeClr val="bg2"/>
              </a:solidFill>
              <a:latin typeface="Amatic SC"/>
              <a:ea typeface="Amatic SC"/>
              <a:cs typeface="Amatic SC"/>
              <a:sym typeface="Amatic SC"/>
            </a:endParaRPr>
          </a:p>
        </p:txBody>
      </p:sp>
      <p:sp>
        <p:nvSpPr>
          <p:cNvPr id="6" name="TextBox 5">
            <a:extLst>
              <a:ext uri="{FF2B5EF4-FFF2-40B4-BE49-F238E27FC236}">
                <a16:creationId xmlns:a16="http://schemas.microsoft.com/office/drawing/2014/main" id="{479CD88A-6E58-621F-7006-85774279DF87}"/>
              </a:ext>
            </a:extLst>
          </p:cNvPr>
          <p:cNvSpPr txBox="1"/>
          <p:nvPr/>
        </p:nvSpPr>
        <p:spPr>
          <a:xfrm>
            <a:off x="770411" y="1584585"/>
            <a:ext cx="6653049" cy="666246"/>
          </a:xfrm>
          <a:prstGeom prst="rect">
            <a:avLst/>
          </a:prstGeom>
          <a:solidFill>
            <a:schemeClr val="accent6"/>
          </a:solidFill>
          <a:ln w="28575">
            <a:solidFill>
              <a:schemeClr val="accent6"/>
            </a:solidFill>
          </a:ln>
        </p:spPr>
        <p:txBody>
          <a:bodyPr wrap="square" lIns="0" tIns="0" rIns="0" bIns="0" rtlCol="0" anchor="ctr">
            <a:noAutofit/>
          </a:bodyPr>
          <a:lstStyle/>
          <a:p>
            <a:pPr algn="ctr"/>
            <a:r>
              <a:rPr lang="da-DK" sz="2400" b="1">
                <a:latin typeface="Amatic SC" panose="00000500000000000000" pitchFamily="2" charset="-79"/>
                <a:cs typeface="Amatic SC" panose="00000500000000000000" pitchFamily="2" charset="-79"/>
              </a:rPr>
              <a:t>Det kan udfordre udbytte af aktionslæring, når…</a:t>
            </a:r>
          </a:p>
        </p:txBody>
      </p:sp>
      <p:sp>
        <p:nvSpPr>
          <p:cNvPr id="7" name="TextBox 6">
            <a:extLst>
              <a:ext uri="{FF2B5EF4-FFF2-40B4-BE49-F238E27FC236}">
                <a16:creationId xmlns:a16="http://schemas.microsoft.com/office/drawing/2014/main" id="{BD2606AB-11AB-17EB-93C7-331917089B99}"/>
              </a:ext>
            </a:extLst>
          </p:cNvPr>
          <p:cNvSpPr txBox="1"/>
          <p:nvPr/>
        </p:nvSpPr>
        <p:spPr>
          <a:xfrm>
            <a:off x="873235" y="2384883"/>
            <a:ext cx="6361872" cy="3323987"/>
          </a:xfrm>
          <a:prstGeom prst="rect">
            <a:avLst/>
          </a:prstGeom>
          <a:noFill/>
        </p:spPr>
        <p:txBody>
          <a:bodyPr wrap="square">
            <a:spAutoFit/>
          </a:bodyPr>
          <a:lstStyle/>
          <a:p>
            <a:pPr marL="360000" lvl="1"/>
            <a:r>
              <a:rPr lang="da-DK" sz="1400">
                <a:latin typeface="Quicksand" panose="020B0604020202020204" charset="0"/>
                <a:cs typeface="Quicksand" panose="020B0604020202020204" charset="0"/>
              </a:rPr>
              <a:t>… processen opfattes som </a:t>
            </a:r>
            <a:r>
              <a:rPr lang="da-DK" sz="1400" b="1">
                <a:latin typeface="Quicksand" panose="020B0604020202020204" charset="0"/>
                <a:cs typeface="Quicksand" panose="020B0604020202020204" charset="0"/>
              </a:rPr>
              <a:t>unødvendigt kompliceret eller opstillet.</a:t>
            </a:r>
          </a:p>
          <a:p>
            <a:pPr marL="360000" lvl="1"/>
            <a:endParaRPr lang="da-DK" sz="1400">
              <a:solidFill>
                <a:schemeClr val="tx1"/>
              </a:solidFill>
              <a:latin typeface="Quicksand" panose="020B0604020202020204"/>
              <a:cs typeface="Amatic SC" panose="00000500000000000000" pitchFamily="2" charset="-79"/>
            </a:endParaRPr>
          </a:p>
          <a:p>
            <a:pPr marL="360000" lvl="1"/>
            <a:r>
              <a:rPr lang="da-DK" sz="1400">
                <a:solidFill>
                  <a:schemeClr val="tx1"/>
                </a:solidFill>
                <a:latin typeface="Quicksand" panose="020B0604020202020204"/>
                <a:cs typeface="Amatic SC" panose="00000500000000000000" pitchFamily="2" charset="-79"/>
              </a:rPr>
              <a:t>… </a:t>
            </a:r>
            <a:r>
              <a:rPr lang="da-DK" sz="1400">
                <a:latin typeface="Quicksand" panose="020B0604020202020204" charset="0"/>
                <a:cs typeface="Amatic SC" panose="00000500000000000000" pitchFamily="2" charset="-79"/>
              </a:rPr>
              <a:t>d</a:t>
            </a:r>
            <a:r>
              <a:rPr lang="da-DK" sz="1400">
                <a:latin typeface="Quicksand" panose="020B0604020202020204" charset="0"/>
                <a:cs typeface="Quicksand" panose="020B0604020202020204" charset="0"/>
              </a:rPr>
              <a:t>er ikke er sammenhængende tid til at </a:t>
            </a:r>
            <a:r>
              <a:rPr lang="da-DK" sz="1400" b="1">
                <a:latin typeface="Quicksand" panose="020B0604020202020204" charset="0"/>
                <a:cs typeface="Quicksand" panose="020B0604020202020204" charset="0"/>
              </a:rPr>
              <a:t>forberede prøvehandlinger.</a:t>
            </a:r>
          </a:p>
          <a:p>
            <a:pPr marL="360000" lvl="1"/>
            <a:endParaRPr lang="da-DK" sz="1400" b="1">
              <a:solidFill>
                <a:schemeClr val="tx1"/>
              </a:solidFill>
              <a:latin typeface="Quicksand" panose="020B0604020202020204" charset="0"/>
              <a:cs typeface="Amatic SC" panose="00000500000000000000" pitchFamily="2" charset="-79"/>
            </a:endParaRPr>
          </a:p>
          <a:p>
            <a:pPr marL="360000" lvl="1"/>
            <a:r>
              <a:rPr lang="da-DK" sz="1400">
                <a:latin typeface="Quicksand" panose="020B0604020202020204" charset="0"/>
                <a:cs typeface="Amatic SC" panose="00000500000000000000" pitchFamily="2" charset="-79"/>
              </a:rPr>
              <a:t>… m</a:t>
            </a:r>
            <a:r>
              <a:rPr lang="da-DK" sz="1400">
                <a:latin typeface="Quicksand" panose="020B0604020202020204" charset="0"/>
                <a:cs typeface="Quicksand" panose="020B0604020202020204" charset="0"/>
              </a:rPr>
              <a:t>an efterfølgende </a:t>
            </a:r>
            <a:r>
              <a:rPr lang="da-DK" sz="1400" b="1">
                <a:latin typeface="Quicksand" panose="020B0604020202020204" charset="0"/>
                <a:cs typeface="Quicksand" panose="020B0604020202020204" charset="0"/>
              </a:rPr>
              <a:t>falder tilbage i ‘plejer’.</a:t>
            </a:r>
          </a:p>
          <a:p>
            <a:pPr marL="360000" lvl="1"/>
            <a:endParaRPr lang="da-DK" sz="1400" b="1">
              <a:latin typeface="Quicksand" panose="020B0604020202020204" charset="0"/>
              <a:cs typeface="Quicksand" panose="020B0604020202020204" charset="0"/>
            </a:endParaRPr>
          </a:p>
          <a:p>
            <a:pPr marL="360000" lvl="1"/>
            <a:r>
              <a:rPr lang="da-DK" sz="1400">
                <a:latin typeface="Quicksand" panose="020B0604020202020204" charset="0"/>
                <a:cs typeface="Quicksand" panose="020B0604020202020204" charset="0"/>
              </a:rPr>
              <a:t>… refleksion </a:t>
            </a:r>
            <a:r>
              <a:rPr lang="da-DK" sz="1400" b="1">
                <a:latin typeface="Quicksand" panose="020B0604020202020204" charset="0"/>
                <a:cs typeface="Quicksand" panose="020B0604020202020204" charset="0"/>
              </a:rPr>
              <a:t>opfattes som langtrukkent.</a:t>
            </a:r>
          </a:p>
          <a:p>
            <a:pPr marL="360000" lvl="1"/>
            <a:endParaRPr lang="da-DK" sz="1400" b="1">
              <a:latin typeface="Quicksand" panose="020B0604020202020204" charset="0"/>
              <a:cs typeface="Quicksand" panose="020B0604020202020204" charset="0"/>
            </a:endParaRPr>
          </a:p>
          <a:p>
            <a:pPr marL="360000" lvl="1"/>
            <a:r>
              <a:rPr lang="da-DK" sz="1400">
                <a:latin typeface="Quicksand" panose="020B0604020202020204" charset="0"/>
                <a:cs typeface="Quicksand" panose="020B0604020202020204" charset="0"/>
              </a:rPr>
              <a:t>… genstandsfeltet opleves som </a:t>
            </a:r>
            <a:r>
              <a:rPr lang="da-DK" sz="1400" b="1">
                <a:latin typeface="Quicksand" panose="020B0604020202020204" charset="0"/>
                <a:cs typeface="Quicksand" panose="020B0604020202020204" charset="0"/>
              </a:rPr>
              <a:t>uvedkommende. </a:t>
            </a:r>
          </a:p>
          <a:p>
            <a:pPr marL="360000" lvl="1"/>
            <a:endParaRPr lang="da-DK" sz="1400" b="1">
              <a:latin typeface="Quicksand" panose="020B0604020202020204" charset="0"/>
              <a:cs typeface="Quicksand" panose="020B0604020202020204" charset="0"/>
            </a:endParaRPr>
          </a:p>
          <a:p>
            <a:pPr marL="360000" lvl="1"/>
            <a:r>
              <a:rPr lang="da-DK" sz="1400">
                <a:latin typeface="Quicksand" panose="020B0604020202020204" charset="0"/>
                <a:cs typeface="Quicksand" panose="020B0604020202020204" charset="0"/>
              </a:rPr>
              <a:t>… de </a:t>
            </a:r>
            <a:r>
              <a:rPr lang="da-DK" sz="1400" b="1">
                <a:latin typeface="Quicksand" panose="020B0604020202020204" charset="0"/>
                <a:cs typeface="Quicksand" panose="020B0604020202020204" charset="0"/>
              </a:rPr>
              <a:t>fysiske rammer på skolen opleves at skabe begrænsninger </a:t>
            </a:r>
            <a:r>
              <a:rPr lang="da-DK" sz="1400">
                <a:latin typeface="Quicksand" panose="020B0604020202020204" charset="0"/>
                <a:cs typeface="Quicksand" panose="020B0604020202020204" charset="0"/>
              </a:rPr>
              <a:t>for kreativitet og variation.</a:t>
            </a:r>
          </a:p>
          <a:p>
            <a:pPr marL="360000" lvl="1"/>
            <a:endParaRPr lang="da-DK" sz="1400">
              <a:latin typeface="Quicksand" panose="020B0604020202020204" charset="0"/>
              <a:cs typeface="Quicksand" panose="020B0604020202020204" charset="0"/>
            </a:endParaRPr>
          </a:p>
          <a:p>
            <a:pPr marL="360000" lvl="1"/>
            <a:r>
              <a:rPr lang="da-DK" sz="1400">
                <a:latin typeface="Quicksand" panose="020B0604020202020204" charset="0"/>
                <a:cs typeface="Quicksand" panose="020B0604020202020204" charset="0"/>
              </a:rPr>
              <a:t>… teamet </a:t>
            </a:r>
            <a:r>
              <a:rPr lang="da-DK" sz="1400" b="1">
                <a:latin typeface="Quicksand" panose="020B0604020202020204" charset="0"/>
                <a:cs typeface="Quicksand" panose="020B0604020202020204" charset="0"/>
              </a:rPr>
              <a:t>ikke oplever fremgang </a:t>
            </a:r>
            <a:r>
              <a:rPr lang="da-DK" sz="1400">
                <a:latin typeface="Quicksand" panose="020B0604020202020204" charset="0"/>
                <a:cs typeface="Quicksand" panose="020B0604020202020204" charset="0"/>
              </a:rPr>
              <a:t>hos eleverne trods forsøg på at skabe flere deltagelsesmuligheder.</a:t>
            </a:r>
          </a:p>
        </p:txBody>
      </p:sp>
      <p:sp>
        <p:nvSpPr>
          <p:cNvPr id="8" name="TextBox 7">
            <a:extLst>
              <a:ext uri="{FF2B5EF4-FFF2-40B4-BE49-F238E27FC236}">
                <a16:creationId xmlns:a16="http://schemas.microsoft.com/office/drawing/2014/main" id="{C17575AC-6326-264C-378F-10DE84939037}"/>
              </a:ext>
            </a:extLst>
          </p:cNvPr>
          <p:cNvSpPr txBox="1"/>
          <p:nvPr/>
        </p:nvSpPr>
        <p:spPr>
          <a:xfrm>
            <a:off x="8428257" y="2250831"/>
            <a:ext cx="2993331" cy="1723549"/>
          </a:xfrm>
          <a:prstGeom prst="rect">
            <a:avLst/>
          </a:prstGeom>
          <a:noFill/>
          <a:ln>
            <a:noFill/>
          </a:ln>
        </p:spPr>
        <p:txBody>
          <a:bodyPr wrap="square" lIns="0" tIns="0" rIns="0" bIns="0" rtlCol="0">
            <a:spAutoFit/>
          </a:bodyPr>
          <a:lstStyle/>
          <a:p>
            <a:r>
              <a:rPr lang="da-DK" sz="1400" dirty="0">
                <a:latin typeface="Quicksand" panose="020B0604020202020204" charset="0"/>
                <a:cs typeface="Quicksand" panose="020B0604020202020204" charset="0"/>
              </a:rPr>
              <a:t>Når vi arbejder med aktionslæring, skal vi finde en problemstilling, der er stor nok til, at vi kan snakke om det. Det bliver så søgt ellers. Men hvis nogle kollegaer brænder for, at et problem bliver løst, så føler jeg, at jeg hjælper dem.</a:t>
            </a:r>
            <a:endParaRPr lang="da-DK" sz="1400" i="1" dirty="0">
              <a:latin typeface="Quicksand" panose="020B0604020202020204" charset="0"/>
              <a:cs typeface="Quicksand" panose="020B0604020202020204" charset="0"/>
            </a:endParaRPr>
          </a:p>
          <a:p>
            <a:pPr algn="r"/>
            <a:endParaRPr lang="da-DK" sz="1000" i="1" dirty="0">
              <a:latin typeface="Quicksand" panose="020B0604020202020204" charset="0"/>
              <a:cs typeface="Quicksand" panose="020B0604020202020204" charset="0"/>
            </a:endParaRPr>
          </a:p>
          <a:p>
            <a:pPr algn="r"/>
            <a:r>
              <a:rPr lang="da-DK" sz="1000" i="1" dirty="0">
                <a:latin typeface="Quicksand" panose="020B0604020202020204" charset="0"/>
                <a:cs typeface="Quicksand" panose="020B0604020202020204" charset="0"/>
              </a:rPr>
              <a:t>Pædagogisk personale</a:t>
            </a:r>
          </a:p>
          <a:p>
            <a:endParaRPr lang="da-DK" sz="800" dirty="0">
              <a:latin typeface="Quicksand" panose="020B0604020202020204" charset="0"/>
              <a:cs typeface="Quicksand" panose="020B0604020202020204" charset="0"/>
            </a:endParaRPr>
          </a:p>
        </p:txBody>
      </p:sp>
      <p:sp>
        <p:nvSpPr>
          <p:cNvPr id="10" name="Google Shape;1276;p48">
            <a:extLst>
              <a:ext uri="{FF2B5EF4-FFF2-40B4-BE49-F238E27FC236}">
                <a16:creationId xmlns:a16="http://schemas.microsoft.com/office/drawing/2014/main" id="{BDA74826-B33A-DB57-0881-1E4419EC027C}"/>
              </a:ext>
            </a:extLst>
          </p:cNvPr>
          <p:cNvSpPr/>
          <p:nvPr/>
        </p:nvSpPr>
        <p:spPr>
          <a:xfrm>
            <a:off x="1450957" y="1760297"/>
            <a:ext cx="362159" cy="314821"/>
          </a:xfrm>
          <a:custGeom>
            <a:avLst/>
            <a:gdLst/>
            <a:ahLst/>
            <a:cxnLst/>
            <a:rect l="l" t="t" r="r" b="b"/>
            <a:pathLst>
              <a:path w="16571" h="14405" extrusionOk="0">
                <a:moveTo>
                  <a:pt x="8103" y="4623"/>
                </a:moveTo>
                <a:lnTo>
                  <a:pt x="7811" y="4818"/>
                </a:lnTo>
                <a:lnTo>
                  <a:pt x="7665" y="4915"/>
                </a:lnTo>
                <a:lnTo>
                  <a:pt x="7519" y="5013"/>
                </a:lnTo>
                <a:lnTo>
                  <a:pt x="7470" y="4623"/>
                </a:lnTo>
                <a:close/>
                <a:moveTo>
                  <a:pt x="8516" y="4599"/>
                </a:moveTo>
                <a:lnTo>
                  <a:pt x="8760" y="4623"/>
                </a:lnTo>
                <a:lnTo>
                  <a:pt x="9003" y="4648"/>
                </a:lnTo>
                <a:lnTo>
                  <a:pt x="9027" y="4648"/>
                </a:lnTo>
                <a:lnTo>
                  <a:pt x="8979" y="4672"/>
                </a:lnTo>
                <a:lnTo>
                  <a:pt x="8930" y="4721"/>
                </a:lnTo>
                <a:lnTo>
                  <a:pt x="8930" y="4696"/>
                </a:lnTo>
                <a:lnTo>
                  <a:pt x="8857" y="4769"/>
                </a:lnTo>
                <a:lnTo>
                  <a:pt x="8735" y="4818"/>
                </a:lnTo>
                <a:lnTo>
                  <a:pt x="8541" y="4940"/>
                </a:lnTo>
                <a:lnTo>
                  <a:pt x="8273" y="5134"/>
                </a:lnTo>
                <a:lnTo>
                  <a:pt x="8030" y="5329"/>
                </a:lnTo>
                <a:lnTo>
                  <a:pt x="7811" y="5475"/>
                </a:lnTo>
                <a:lnTo>
                  <a:pt x="7567" y="5621"/>
                </a:lnTo>
                <a:lnTo>
                  <a:pt x="7543" y="5256"/>
                </a:lnTo>
                <a:lnTo>
                  <a:pt x="7665" y="5232"/>
                </a:lnTo>
                <a:lnTo>
                  <a:pt x="7786" y="5159"/>
                </a:lnTo>
                <a:lnTo>
                  <a:pt x="8005" y="5037"/>
                </a:lnTo>
                <a:lnTo>
                  <a:pt x="8297" y="4842"/>
                </a:lnTo>
                <a:lnTo>
                  <a:pt x="8443" y="4745"/>
                </a:lnTo>
                <a:lnTo>
                  <a:pt x="8516" y="4599"/>
                </a:lnTo>
                <a:close/>
                <a:moveTo>
                  <a:pt x="9003" y="5086"/>
                </a:moveTo>
                <a:lnTo>
                  <a:pt x="8930" y="5572"/>
                </a:lnTo>
                <a:lnTo>
                  <a:pt x="8881" y="5572"/>
                </a:lnTo>
                <a:lnTo>
                  <a:pt x="8833" y="5597"/>
                </a:lnTo>
                <a:lnTo>
                  <a:pt x="8419" y="5864"/>
                </a:lnTo>
                <a:lnTo>
                  <a:pt x="8005" y="6108"/>
                </a:lnTo>
                <a:lnTo>
                  <a:pt x="7835" y="6181"/>
                </a:lnTo>
                <a:lnTo>
                  <a:pt x="7640" y="6278"/>
                </a:lnTo>
                <a:lnTo>
                  <a:pt x="7616" y="5889"/>
                </a:lnTo>
                <a:lnTo>
                  <a:pt x="7738" y="5840"/>
                </a:lnTo>
                <a:lnTo>
                  <a:pt x="7859" y="5791"/>
                </a:lnTo>
                <a:lnTo>
                  <a:pt x="8103" y="5645"/>
                </a:lnTo>
                <a:lnTo>
                  <a:pt x="9003" y="5086"/>
                </a:lnTo>
                <a:close/>
                <a:moveTo>
                  <a:pt x="8881" y="6010"/>
                </a:moveTo>
                <a:lnTo>
                  <a:pt x="8857" y="6181"/>
                </a:lnTo>
                <a:lnTo>
                  <a:pt x="8857" y="6254"/>
                </a:lnTo>
                <a:lnTo>
                  <a:pt x="8784" y="6254"/>
                </a:lnTo>
                <a:lnTo>
                  <a:pt x="8735" y="6278"/>
                </a:lnTo>
                <a:lnTo>
                  <a:pt x="8200" y="6570"/>
                </a:lnTo>
                <a:lnTo>
                  <a:pt x="7689" y="6862"/>
                </a:lnTo>
                <a:lnTo>
                  <a:pt x="7665" y="6594"/>
                </a:lnTo>
                <a:lnTo>
                  <a:pt x="7811" y="6570"/>
                </a:lnTo>
                <a:lnTo>
                  <a:pt x="7932" y="6521"/>
                </a:lnTo>
                <a:lnTo>
                  <a:pt x="8176" y="6400"/>
                </a:lnTo>
                <a:lnTo>
                  <a:pt x="8541" y="6229"/>
                </a:lnTo>
                <a:lnTo>
                  <a:pt x="8711" y="6132"/>
                </a:lnTo>
                <a:lnTo>
                  <a:pt x="8881" y="6010"/>
                </a:lnTo>
                <a:close/>
                <a:moveTo>
                  <a:pt x="8833" y="6594"/>
                </a:moveTo>
                <a:lnTo>
                  <a:pt x="8808" y="6765"/>
                </a:lnTo>
                <a:lnTo>
                  <a:pt x="8760" y="6789"/>
                </a:lnTo>
                <a:lnTo>
                  <a:pt x="8565" y="6862"/>
                </a:lnTo>
                <a:lnTo>
                  <a:pt x="8395" y="6959"/>
                </a:lnTo>
                <a:lnTo>
                  <a:pt x="8054" y="7178"/>
                </a:lnTo>
                <a:lnTo>
                  <a:pt x="7859" y="7300"/>
                </a:lnTo>
                <a:lnTo>
                  <a:pt x="7689" y="7446"/>
                </a:lnTo>
                <a:lnTo>
                  <a:pt x="7689" y="7105"/>
                </a:lnTo>
                <a:lnTo>
                  <a:pt x="8273" y="6862"/>
                </a:lnTo>
                <a:lnTo>
                  <a:pt x="8833" y="6594"/>
                </a:lnTo>
                <a:close/>
                <a:moveTo>
                  <a:pt x="8784" y="7154"/>
                </a:moveTo>
                <a:lnTo>
                  <a:pt x="8760" y="7470"/>
                </a:lnTo>
                <a:lnTo>
                  <a:pt x="8687" y="7495"/>
                </a:lnTo>
                <a:lnTo>
                  <a:pt x="8516" y="7568"/>
                </a:lnTo>
                <a:lnTo>
                  <a:pt x="8370" y="7665"/>
                </a:lnTo>
                <a:lnTo>
                  <a:pt x="8103" y="7884"/>
                </a:lnTo>
                <a:lnTo>
                  <a:pt x="7908" y="8030"/>
                </a:lnTo>
                <a:lnTo>
                  <a:pt x="7713" y="8200"/>
                </a:lnTo>
                <a:lnTo>
                  <a:pt x="7689" y="7787"/>
                </a:lnTo>
                <a:lnTo>
                  <a:pt x="7835" y="7714"/>
                </a:lnTo>
                <a:lnTo>
                  <a:pt x="7981" y="7641"/>
                </a:lnTo>
                <a:lnTo>
                  <a:pt x="8249" y="7470"/>
                </a:lnTo>
                <a:lnTo>
                  <a:pt x="8516" y="7300"/>
                </a:lnTo>
                <a:lnTo>
                  <a:pt x="8784" y="7154"/>
                </a:lnTo>
                <a:close/>
                <a:moveTo>
                  <a:pt x="8735" y="7835"/>
                </a:moveTo>
                <a:lnTo>
                  <a:pt x="8711" y="8103"/>
                </a:lnTo>
                <a:lnTo>
                  <a:pt x="8638" y="8127"/>
                </a:lnTo>
                <a:lnTo>
                  <a:pt x="8468" y="8249"/>
                </a:lnTo>
                <a:lnTo>
                  <a:pt x="8322" y="8371"/>
                </a:lnTo>
                <a:lnTo>
                  <a:pt x="8030" y="8662"/>
                </a:lnTo>
                <a:lnTo>
                  <a:pt x="7811" y="8857"/>
                </a:lnTo>
                <a:lnTo>
                  <a:pt x="7738" y="8444"/>
                </a:lnTo>
                <a:lnTo>
                  <a:pt x="7859" y="8395"/>
                </a:lnTo>
                <a:lnTo>
                  <a:pt x="8005" y="8322"/>
                </a:lnTo>
                <a:lnTo>
                  <a:pt x="8249" y="8176"/>
                </a:lnTo>
                <a:lnTo>
                  <a:pt x="8492" y="8006"/>
                </a:lnTo>
                <a:lnTo>
                  <a:pt x="8735" y="7835"/>
                </a:lnTo>
                <a:close/>
                <a:moveTo>
                  <a:pt x="8662" y="8687"/>
                </a:moveTo>
                <a:lnTo>
                  <a:pt x="8589" y="9198"/>
                </a:lnTo>
                <a:lnTo>
                  <a:pt x="8346" y="9125"/>
                </a:lnTo>
                <a:lnTo>
                  <a:pt x="8103" y="9100"/>
                </a:lnTo>
                <a:lnTo>
                  <a:pt x="8273" y="8979"/>
                </a:lnTo>
                <a:lnTo>
                  <a:pt x="8468" y="8833"/>
                </a:lnTo>
                <a:lnTo>
                  <a:pt x="8662" y="8687"/>
                </a:lnTo>
                <a:close/>
                <a:moveTo>
                  <a:pt x="7981" y="4088"/>
                </a:moveTo>
                <a:lnTo>
                  <a:pt x="7713" y="4112"/>
                </a:lnTo>
                <a:lnTo>
                  <a:pt x="7421" y="4137"/>
                </a:lnTo>
                <a:lnTo>
                  <a:pt x="7324" y="4137"/>
                </a:lnTo>
                <a:lnTo>
                  <a:pt x="7300" y="4161"/>
                </a:lnTo>
                <a:lnTo>
                  <a:pt x="7348" y="4210"/>
                </a:lnTo>
                <a:lnTo>
                  <a:pt x="7348" y="4210"/>
                </a:lnTo>
                <a:lnTo>
                  <a:pt x="7275" y="4185"/>
                </a:lnTo>
                <a:lnTo>
                  <a:pt x="7178" y="4185"/>
                </a:lnTo>
                <a:lnTo>
                  <a:pt x="7081" y="4234"/>
                </a:lnTo>
                <a:lnTo>
                  <a:pt x="7056" y="4283"/>
                </a:lnTo>
                <a:lnTo>
                  <a:pt x="7032" y="4331"/>
                </a:lnTo>
                <a:lnTo>
                  <a:pt x="7008" y="4502"/>
                </a:lnTo>
                <a:lnTo>
                  <a:pt x="6983" y="4672"/>
                </a:lnTo>
                <a:lnTo>
                  <a:pt x="6983" y="5037"/>
                </a:lnTo>
                <a:lnTo>
                  <a:pt x="7056" y="5743"/>
                </a:lnTo>
                <a:lnTo>
                  <a:pt x="7105" y="6448"/>
                </a:lnTo>
                <a:lnTo>
                  <a:pt x="7105" y="7154"/>
                </a:lnTo>
                <a:lnTo>
                  <a:pt x="7105" y="7738"/>
                </a:lnTo>
                <a:lnTo>
                  <a:pt x="7129" y="8322"/>
                </a:lnTo>
                <a:lnTo>
                  <a:pt x="7154" y="8638"/>
                </a:lnTo>
                <a:lnTo>
                  <a:pt x="7202" y="8930"/>
                </a:lnTo>
                <a:lnTo>
                  <a:pt x="7275" y="9198"/>
                </a:lnTo>
                <a:lnTo>
                  <a:pt x="7397" y="9465"/>
                </a:lnTo>
                <a:lnTo>
                  <a:pt x="7446" y="9538"/>
                </a:lnTo>
                <a:lnTo>
                  <a:pt x="7519" y="9587"/>
                </a:lnTo>
                <a:lnTo>
                  <a:pt x="7567" y="9636"/>
                </a:lnTo>
                <a:lnTo>
                  <a:pt x="7592" y="9660"/>
                </a:lnTo>
                <a:lnTo>
                  <a:pt x="7713" y="9660"/>
                </a:lnTo>
                <a:lnTo>
                  <a:pt x="7932" y="9563"/>
                </a:lnTo>
                <a:lnTo>
                  <a:pt x="8054" y="9538"/>
                </a:lnTo>
                <a:lnTo>
                  <a:pt x="8176" y="9538"/>
                </a:lnTo>
                <a:lnTo>
                  <a:pt x="8297" y="9587"/>
                </a:lnTo>
                <a:lnTo>
                  <a:pt x="8419" y="9636"/>
                </a:lnTo>
                <a:lnTo>
                  <a:pt x="8541" y="9684"/>
                </a:lnTo>
                <a:lnTo>
                  <a:pt x="8687" y="9709"/>
                </a:lnTo>
                <a:lnTo>
                  <a:pt x="8760" y="9709"/>
                </a:lnTo>
                <a:lnTo>
                  <a:pt x="8833" y="9684"/>
                </a:lnTo>
                <a:lnTo>
                  <a:pt x="8906" y="9636"/>
                </a:lnTo>
                <a:lnTo>
                  <a:pt x="8930" y="9563"/>
                </a:lnTo>
                <a:lnTo>
                  <a:pt x="9027" y="9490"/>
                </a:lnTo>
                <a:lnTo>
                  <a:pt x="9052" y="9441"/>
                </a:lnTo>
                <a:lnTo>
                  <a:pt x="9076" y="9392"/>
                </a:lnTo>
                <a:lnTo>
                  <a:pt x="9198" y="8760"/>
                </a:lnTo>
                <a:lnTo>
                  <a:pt x="9246" y="8127"/>
                </a:lnTo>
                <a:lnTo>
                  <a:pt x="9295" y="7495"/>
                </a:lnTo>
                <a:lnTo>
                  <a:pt x="9319" y="6886"/>
                </a:lnTo>
                <a:lnTo>
                  <a:pt x="9368" y="6278"/>
                </a:lnTo>
                <a:lnTo>
                  <a:pt x="9417" y="5694"/>
                </a:lnTo>
                <a:lnTo>
                  <a:pt x="9490" y="5110"/>
                </a:lnTo>
                <a:lnTo>
                  <a:pt x="9514" y="4526"/>
                </a:lnTo>
                <a:lnTo>
                  <a:pt x="9514" y="4453"/>
                </a:lnTo>
                <a:lnTo>
                  <a:pt x="9490" y="4404"/>
                </a:lnTo>
                <a:lnTo>
                  <a:pt x="9465" y="4356"/>
                </a:lnTo>
                <a:lnTo>
                  <a:pt x="9417" y="4331"/>
                </a:lnTo>
                <a:lnTo>
                  <a:pt x="9319" y="4307"/>
                </a:lnTo>
                <a:lnTo>
                  <a:pt x="9246" y="4210"/>
                </a:lnTo>
                <a:lnTo>
                  <a:pt x="9198" y="4185"/>
                </a:lnTo>
                <a:lnTo>
                  <a:pt x="9149" y="4161"/>
                </a:lnTo>
                <a:lnTo>
                  <a:pt x="8857" y="4112"/>
                </a:lnTo>
                <a:lnTo>
                  <a:pt x="8565" y="4088"/>
                </a:lnTo>
                <a:close/>
                <a:moveTo>
                  <a:pt x="8176" y="10585"/>
                </a:moveTo>
                <a:lnTo>
                  <a:pt x="7932" y="10804"/>
                </a:lnTo>
                <a:lnTo>
                  <a:pt x="7689" y="10974"/>
                </a:lnTo>
                <a:lnTo>
                  <a:pt x="7738" y="10877"/>
                </a:lnTo>
                <a:lnTo>
                  <a:pt x="7786" y="10755"/>
                </a:lnTo>
                <a:lnTo>
                  <a:pt x="7859" y="10658"/>
                </a:lnTo>
                <a:lnTo>
                  <a:pt x="7957" y="10585"/>
                </a:lnTo>
                <a:lnTo>
                  <a:pt x="8030" y="10609"/>
                </a:lnTo>
                <a:lnTo>
                  <a:pt x="8103" y="10585"/>
                </a:lnTo>
                <a:close/>
                <a:moveTo>
                  <a:pt x="8614" y="10682"/>
                </a:moveTo>
                <a:lnTo>
                  <a:pt x="8687" y="10779"/>
                </a:lnTo>
                <a:lnTo>
                  <a:pt x="8760" y="10877"/>
                </a:lnTo>
                <a:lnTo>
                  <a:pt x="8565" y="10998"/>
                </a:lnTo>
                <a:lnTo>
                  <a:pt x="8395" y="11144"/>
                </a:lnTo>
                <a:lnTo>
                  <a:pt x="8078" y="11436"/>
                </a:lnTo>
                <a:lnTo>
                  <a:pt x="7957" y="11582"/>
                </a:lnTo>
                <a:lnTo>
                  <a:pt x="7859" y="11704"/>
                </a:lnTo>
                <a:lnTo>
                  <a:pt x="7786" y="11826"/>
                </a:lnTo>
                <a:lnTo>
                  <a:pt x="7713" y="11728"/>
                </a:lnTo>
                <a:lnTo>
                  <a:pt x="7665" y="11607"/>
                </a:lnTo>
                <a:lnTo>
                  <a:pt x="7640" y="11485"/>
                </a:lnTo>
                <a:lnTo>
                  <a:pt x="7640" y="11363"/>
                </a:lnTo>
                <a:lnTo>
                  <a:pt x="7786" y="11315"/>
                </a:lnTo>
                <a:lnTo>
                  <a:pt x="7908" y="11242"/>
                </a:lnTo>
                <a:lnTo>
                  <a:pt x="8176" y="11071"/>
                </a:lnTo>
                <a:lnTo>
                  <a:pt x="8395" y="10901"/>
                </a:lnTo>
                <a:lnTo>
                  <a:pt x="8614" y="10682"/>
                </a:lnTo>
                <a:close/>
                <a:moveTo>
                  <a:pt x="8857" y="11266"/>
                </a:moveTo>
                <a:lnTo>
                  <a:pt x="8833" y="11412"/>
                </a:lnTo>
                <a:lnTo>
                  <a:pt x="8784" y="11558"/>
                </a:lnTo>
                <a:lnTo>
                  <a:pt x="8711" y="11655"/>
                </a:lnTo>
                <a:lnTo>
                  <a:pt x="8614" y="11753"/>
                </a:lnTo>
                <a:lnTo>
                  <a:pt x="8492" y="11826"/>
                </a:lnTo>
                <a:lnTo>
                  <a:pt x="8370" y="11899"/>
                </a:lnTo>
                <a:lnTo>
                  <a:pt x="8200" y="11923"/>
                </a:lnTo>
                <a:lnTo>
                  <a:pt x="8030" y="11923"/>
                </a:lnTo>
                <a:lnTo>
                  <a:pt x="8176" y="11801"/>
                </a:lnTo>
                <a:lnTo>
                  <a:pt x="8273" y="11728"/>
                </a:lnTo>
                <a:lnTo>
                  <a:pt x="8565" y="11485"/>
                </a:lnTo>
                <a:lnTo>
                  <a:pt x="8857" y="11266"/>
                </a:lnTo>
                <a:close/>
                <a:moveTo>
                  <a:pt x="8176" y="10049"/>
                </a:moveTo>
                <a:lnTo>
                  <a:pt x="8054" y="10074"/>
                </a:lnTo>
                <a:lnTo>
                  <a:pt x="7957" y="10122"/>
                </a:lnTo>
                <a:lnTo>
                  <a:pt x="7811" y="10171"/>
                </a:lnTo>
                <a:lnTo>
                  <a:pt x="7689" y="10220"/>
                </a:lnTo>
                <a:lnTo>
                  <a:pt x="7592" y="10268"/>
                </a:lnTo>
                <a:lnTo>
                  <a:pt x="7519" y="10366"/>
                </a:lnTo>
                <a:lnTo>
                  <a:pt x="7373" y="10536"/>
                </a:lnTo>
                <a:lnTo>
                  <a:pt x="7275" y="10755"/>
                </a:lnTo>
                <a:lnTo>
                  <a:pt x="7202" y="10974"/>
                </a:lnTo>
                <a:lnTo>
                  <a:pt x="7154" y="11242"/>
                </a:lnTo>
                <a:lnTo>
                  <a:pt x="7154" y="11509"/>
                </a:lnTo>
                <a:lnTo>
                  <a:pt x="7202" y="11753"/>
                </a:lnTo>
                <a:lnTo>
                  <a:pt x="7324" y="11972"/>
                </a:lnTo>
                <a:lnTo>
                  <a:pt x="7397" y="12069"/>
                </a:lnTo>
                <a:lnTo>
                  <a:pt x="7470" y="12142"/>
                </a:lnTo>
                <a:lnTo>
                  <a:pt x="7567" y="12215"/>
                </a:lnTo>
                <a:lnTo>
                  <a:pt x="7689" y="12288"/>
                </a:lnTo>
                <a:lnTo>
                  <a:pt x="7786" y="12337"/>
                </a:lnTo>
                <a:lnTo>
                  <a:pt x="7932" y="12385"/>
                </a:lnTo>
                <a:lnTo>
                  <a:pt x="8054" y="12410"/>
                </a:lnTo>
                <a:lnTo>
                  <a:pt x="8346" y="12410"/>
                </a:lnTo>
                <a:lnTo>
                  <a:pt x="8492" y="12385"/>
                </a:lnTo>
                <a:lnTo>
                  <a:pt x="8614" y="12337"/>
                </a:lnTo>
                <a:lnTo>
                  <a:pt x="8711" y="12288"/>
                </a:lnTo>
                <a:lnTo>
                  <a:pt x="8833" y="12215"/>
                </a:lnTo>
                <a:lnTo>
                  <a:pt x="8930" y="12142"/>
                </a:lnTo>
                <a:lnTo>
                  <a:pt x="9076" y="11972"/>
                </a:lnTo>
                <a:lnTo>
                  <a:pt x="9198" y="11753"/>
                </a:lnTo>
                <a:lnTo>
                  <a:pt x="9295" y="11534"/>
                </a:lnTo>
                <a:lnTo>
                  <a:pt x="9319" y="11266"/>
                </a:lnTo>
                <a:lnTo>
                  <a:pt x="9319" y="10998"/>
                </a:lnTo>
                <a:lnTo>
                  <a:pt x="9246" y="10779"/>
                </a:lnTo>
                <a:lnTo>
                  <a:pt x="9149" y="10560"/>
                </a:lnTo>
                <a:lnTo>
                  <a:pt x="9003" y="10366"/>
                </a:lnTo>
                <a:lnTo>
                  <a:pt x="8833" y="10220"/>
                </a:lnTo>
                <a:lnTo>
                  <a:pt x="8735" y="10171"/>
                </a:lnTo>
                <a:lnTo>
                  <a:pt x="8638" y="10122"/>
                </a:lnTo>
                <a:lnTo>
                  <a:pt x="8395" y="10049"/>
                </a:lnTo>
                <a:close/>
                <a:moveTo>
                  <a:pt x="8322" y="535"/>
                </a:moveTo>
                <a:lnTo>
                  <a:pt x="8443" y="560"/>
                </a:lnTo>
                <a:lnTo>
                  <a:pt x="8638" y="657"/>
                </a:lnTo>
                <a:lnTo>
                  <a:pt x="8833" y="803"/>
                </a:lnTo>
                <a:lnTo>
                  <a:pt x="9003" y="973"/>
                </a:lnTo>
                <a:lnTo>
                  <a:pt x="9344" y="1338"/>
                </a:lnTo>
                <a:lnTo>
                  <a:pt x="9757" y="1971"/>
                </a:lnTo>
                <a:lnTo>
                  <a:pt x="10147" y="2652"/>
                </a:lnTo>
                <a:lnTo>
                  <a:pt x="10901" y="4015"/>
                </a:lnTo>
                <a:lnTo>
                  <a:pt x="11655" y="5402"/>
                </a:lnTo>
                <a:lnTo>
                  <a:pt x="12045" y="6083"/>
                </a:lnTo>
                <a:lnTo>
                  <a:pt x="12434" y="6740"/>
                </a:lnTo>
                <a:lnTo>
                  <a:pt x="13164" y="7957"/>
                </a:lnTo>
                <a:lnTo>
                  <a:pt x="13918" y="9173"/>
                </a:lnTo>
                <a:lnTo>
                  <a:pt x="14672" y="10366"/>
                </a:lnTo>
                <a:lnTo>
                  <a:pt x="15427" y="11582"/>
                </a:lnTo>
                <a:lnTo>
                  <a:pt x="15402" y="11655"/>
                </a:lnTo>
                <a:lnTo>
                  <a:pt x="15402" y="11704"/>
                </a:lnTo>
                <a:lnTo>
                  <a:pt x="15427" y="11777"/>
                </a:lnTo>
                <a:lnTo>
                  <a:pt x="15475" y="11826"/>
                </a:lnTo>
                <a:lnTo>
                  <a:pt x="15646" y="11972"/>
                </a:lnTo>
                <a:lnTo>
                  <a:pt x="15792" y="12191"/>
                </a:lnTo>
                <a:lnTo>
                  <a:pt x="15913" y="12434"/>
                </a:lnTo>
                <a:lnTo>
                  <a:pt x="16011" y="12677"/>
                </a:lnTo>
                <a:lnTo>
                  <a:pt x="16059" y="12945"/>
                </a:lnTo>
                <a:lnTo>
                  <a:pt x="16035" y="13067"/>
                </a:lnTo>
                <a:lnTo>
                  <a:pt x="16035" y="13188"/>
                </a:lnTo>
                <a:lnTo>
                  <a:pt x="15986" y="13286"/>
                </a:lnTo>
                <a:lnTo>
                  <a:pt x="15938" y="13407"/>
                </a:lnTo>
                <a:lnTo>
                  <a:pt x="15865" y="13505"/>
                </a:lnTo>
                <a:lnTo>
                  <a:pt x="15792" y="13578"/>
                </a:lnTo>
                <a:lnTo>
                  <a:pt x="15597" y="13699"/>
                </a:lnTo>
                <a:lnTo>
                  <a:pt x="15402" y="13772"/>
                </a:lnTo>
                <a:lnTo>
                  <a:pt x="15159" y="13821"/>
                </a:lnTo>
                <a:lnTo>
                  <a:pt x="14940" y="13845"/>
                </a:lnTo>
                <a:lnTo>
                  <a:pt x="14040" y="13845"/>
                </a:lnTo>
                <a:lnTo>
                  <a:pt x="11023" y="13821"/>
                </a:lnTo>
                <a:lnTo>
                  <a:pt x="9514" y="13797"/>
                </a:lnTo>
                <a:lnTo>
                  <a:pt x="8005" y="13797"/>
                </a:lnTo>
                <a:lnTo>
                  <a:pt x="5159" y="13821"/>
                </a:lnTo>
                <a:lnTo>
                  <a:pt x="3723" y="13870"/>
                </a:lnTo>
                <a:lnTo>
                  <a:pt x="2312" y="13918"/>
                </a:lnTo>
                <a:lnTo>
                  <a:pt x="1630" y="13918"/>
                </a:lnTo>
                <a:lnTo>
                  <a:pt x="1411" y="13894"/>
                </a:lnTo>
                <a:lnTo>
                  <a:pt x="1192" y="13845"/>
                </a:lnTo>
                <a:lnTo>
                  <a:pt x="998" y="13772"/>
                </a:lnTo>
                <a:lnTo>
                  <a:pt x="803" y="13675"/>
                </a:lnTo>
                <a:lnTo>
                  <a:pt x="633" y="13529"/>
                </a:lnTo>
                <a:lnTo>
                  <a:pt x="535" y="13432"/>
                </a:lnTo>
                <a:lnTo>
                  <a:pt x="487" y="13334"/>
                </a:lnTo>
                <a:lnTo>
                  <a:pt x="462" y="13261"/>
                </a:lnTo>
                <a:lnTo>
                  <a:pt x="438" y="13164"/>
                </a:lnTo>
                <a:lnTo>
                  <a:pt x="438" y="12969"/>
                </a:lnTo>
                <a:lnTo>
                  <a:pt x="511" y="12799"/>
                </a:lnTo>
                <a:lnTo>
                  <a:pt x="657" y="12434"/>
                </a:lnTo>
                <a:lnTo>
                  <a:pt x="730" y="12239"/>
                </a:lnTo>
                <a:lnTo>
                  <a:pt x="779" y="12045"/>
                </a:lnTo>
                <a:lnTo>
                  <a:pt x="998" y="11680"/>
                </a:lnTo>
                <a:lnTo>
                  <a:pt x="1217" y="11290"/>
                </a:lnTo>
                <a:lnTo>
                  <a:pt x="1630" y="10512"/>
                </a:lnTo>
                <a:lnTo>
                  <a:pt x="2141" y="9684"/>
                </a:lnTo>
                <a:lnTo>
                  <a:pt x="2652" y="8833"/>
                </a:lnTo>
                <a:lnTo>
                  <a:pt x="3674" y="7081"/>
                </a:lnTo>
                <a:lnTo>
                  <a:pt x="4696" y="5329"/>
                </a:lnTo>
                <a:lnTo>
                  <a:pt x="5207" y="4477"/>
                </a:lnTo>
                <a:lnTo>
                  <a:pt x="5742" y="3650"/>
                </a:lnTo>
                <a:lnTo>
                  <a:pt x="6813" y="2020"/>
                </a:lnTo>
                <a:lnTo>
                  <a:pt x="7251" y="1338"/>
                </a:lnTo>
                <a:lnTo>
                  <a:pt x="7494" y="1022"/>
                </a:lnTo>
                <a:lnTo>
                  <a:pt x="7640" y="876"/>
                </a:lnTo>
                <a:lnTo>
                  <a:pt x="7786" y="730"/>
                </a:lnTo>
                <a:lnTo>
                  <a:pt x="7884" y="633"/>
                </a:lnTo>
                <a:lnTo>
                  <a:pt x="8005" y="584"/>
                </a:lnTo>
                <a:lnTo>
                  <a:pt x="8103" y="535"/>
                </a:lnTo>
                <a:close/>
                <a:moveTo>
                  <a:pt x="8346" y="0"/>
                </a:moveTo>
                <a:lnTo>
                  <a:pt x="8176" y="25"/>
                </a:lnTo>
                <a:lnTo>
                  <a:pt x="8005" y="73"/>
                </a:lnTo>
                <a:lnTo>
                  <a:pt x="7835" y="146"/>
                </a:lnTo>
                <a:lnTo>
                  <a:pt x="7665" y="219"/>
                </a:lnTo>
                <a:lnTo>
                  <a:pt x="7519" y="341"/>
                </a:lnTo>
                <a:lnTo>
                  <a:pt x="7251" y="584"/>
                </a:lnTo>
                <a:lnTo>
                  <a:pt x="7105" y="730"/>
                </a:lnTo>
                <a:lnTo>
                  <a:pt x="6983" y="900"/>
                </a:lnTo>
                <a:lnTo>
                  <a:pt x="6740" y="1265"/>
                </a:lnTo>
                <a:lnTo>
                  <a:pt x="6497" y="1630"/>
                </a:lnTo>
                <a:lnTo>
                  <a:pt x="6278" y="1995"/>
                </a:lnTo>
                <a:lnTo>
                  <a:pt x="5596" y="2969"/>
                </a:lnTo>
                <a:lnTo>
                  <a:pt x="4964" y="3966"/>
                </a:lnTo>
                <a:lnTo>
                  <a:pt x="4331" y="4988"/>
                </a:lnTo>
                <a:lnTo>
                  <a:pt x="3723" y="6035"/>
                </a:lnTo>
                <a:lnTo>
                  <a:pt x="2506" y="8127"/>
                </a:lnTo>
                <a:lnTo>
                  <a:pt x="1363" y="10147"/>
                </a:lnTo>
                <a:lnTo>
                  <a:pt x="900" y="10925"/>
                </a:lnTo>
                <a:lnTo>
                  <a:pt x="706" y="11339"/>
                </a:lnTo>
                <a:lnTo>
                  <a:pt x="535" y="11753"/>
                </a:lnTo>
                <a:lnTo>
                  <a:pt x="487" y="11801"/>
                </a:lnTo>
                <a:lnTo>
                  <a:pt x="462" y="11850"/>
                </a:lnTo>
                <a:lnTo>
                  <a:pt x="389" y="12069"/>
                </a:lnTo>
                <a:lnTo>
                  <a:pt x="268" y="12288"/>
                </a:lnTo>
                <a:lnTo>
                  <a:pt x="170" y="12507"/>
                </a:lnTo>
                <a:lnTo>
                  <a:pt x="49" y="12726"/>
                </a:lnTo>
                <a:lnTo>
                  <a:pt x="24" y="12823"/>
                </a:lnTo>
                <a:lnTo>
                  <a:pt x="0" y="12945"/>
                </a:lnTo>
                <a:lnTo>
                  <a:pt x="0" y="13067"/>
                </a:lnTo>
                <a:lnTo>
                  <a:pt x="0" y="13188"/>
                </a:lnTo>
                <a:lnTo>
                  <a:pt x="73" y="13407"/>
                </a:lnTo>
                <a:lnTo>
                  <a:pt x="146" y="13651"/>
                </a:lnTo>
                <a:lnTo>
                  <a:pt x="292" y="13845"/>
                </a:lnTo>
                <a:lnTo>
                  <a:pt x="438" y="13991"/>
                </a:lnTo>
                <a:lnTo>
                  <a:pt x="633" y="14113"/>
                </a:lnTo>
                <a:lnTo>
                  <a:pt x="852" y="14210"/>
                </a:lnTo>
                <a:lnTo>
                  <a:pt x="1095" y="14283"/>
                </a:lnTo>
                <a:lnTo>
                  <a:pt x="1314" y="14332"/>
                </a:lnTo>
                <a:lnTo>
                  <a:pt x="1776" y="14381"/>
                </a:lnTo>
                <a:lnTo>
                  <a:pt x="2141" y="14405"/>
                </a:lnTo>
                <a:lnTo>
                  <a:pt x="3309" y="14405"/>
                </a:lnTo>
                <a:lnTo>
                  <a:pt x="4064" y="14356"/>
                </a:lnTo>
                <a:lnTo>
                  <a:pt x="4842" y="14332"/>
                </a:lnTo>
                <a:lnTo>
                  <a:pt x="6691" y="14308"/>
                </a:lnTo>
                <a:lnTo>
                  <a:pt x="8565" y="14283"/>
                </a:lnTo>
                <a:lnTo>
                  <a:pt x="10439" y="14283"/>
                </a:lnTo>
                <a:lnTo>
                  <a:pt x="12337" y="14308"/>
                </a:lnTo>
                <a:lnTo>
                  <a:pt x="13748" y="14356"/>
                </a:lnTo>
                <a:lnTo>
                  <a:pt x="14478" y="14356"/>
                </a:lnTo>
                <a:lnTo>
                  <a:pt x="14818" y="14332"/>
                </a:lnTo>
                <a:lnTo>
                  <a:pt x="15159" y="14308"/>
                </a:lnTo>
                <a:lnTo>
                  <a:pt x="15402" y="14259"/>
                </a:lnTo>
                <a:lnTo>
                  <a:pt x="15621" y="14210"/>
                </a:lnTo>
                <a:lnTo>
                  <a:pt x="15840" y="14113"/>
                </a:lnTo>
                <a:lnTo>
                  <a:pt x="16059" y="13991"/>
                </a:lnTo>
                <a:lnTo>
                  <a:pt x="16230" y="13845"/>
                </a:lnTo>
                <a:lnTo>
                  <a:pt x="16400" y="13675"/>
                </a:lnTo>
                <a:lnTo>
                  <a:pt x="16497" y="13480"/>
                </a:lnTo>
                <a:lnTo>
                  <a:pt x="16522" y="13359"/>
                </a:lnTo>
                <a:lnTo>
                  <a:pt x="16546" y="13237"/>
                </a:lnTo>
                <a:lnTo>
                  <a:pt x="16570" y="13042"/>
                </a:lnTo>
                <a:lnTo>
                  <a:pt x="16546" y="12848"/>
                </a:lnTo>
                <a:lnTo>
                  <a:pt x="16522" y="12653"/>
                </a:lnTo>
                <a:lnTo>
                  <a:pt x="16473" y="12458"/>
                </a:lnTo>
                <a:lnTo>
                  <a:pt x="16400" y="12264"/>
                </a:lnTo>
                <a:lnTo>
                  <a:pt x="16303" y="12069"/>
                </a:lnTo>
                <a:lnTo>
                  <a:pt x="16205" y="11899"/>
                </a:lnTo>
                <a:lnTo>
                  <a:pt x="16084" y="11728"/>
                </a:lnTo>
                <a:lnTo>
                  <a:pt x="15281" y="10414"/>
                </a:lnTo>
                <a:lnTo>
                  <a:pt x="14478" y="9100"/>
                </a:lnTo>
                <a:lnTo>
                  <a:pt x="12848" y="6497"/>
                </a:lnTo>
                <a:lnTo>
                  <a:pt x="12458" y="5840"/>
                </a:lnTo>
                <a:lnTo>
                  <a:pt x="12069" y="5159"/>
                </a:lnTo>
                <a:lnTo>
                  <a:pt x="11315" y="3747"/>
                </a:lnTo>
                <a:lnTo>
                  <a:pt x="10536" y="2336"/>
                </a:lnTo>
                <a:lnTo>
                  <a:pt x="10147" y="1655"/>
                </a:lnTo>
                <a:lnTo>
                  <a:pt x="9757" y="998"/>
                </a:lnTo>
                <a:lnTo>
                  <a:pt x="9709" y="925"/>
                </a:lnTo>
                <a:lnTo>
                  <a:pt x="9636" y="876"/>
                </a:lnTo>
                <a:lnTo>
                  <a:pt x="9417" y="608"/>
                </a:lnTo>
                <a:lnTo>
                  <a:pt x="9149" y="341"/>
                </a:lnTo>
                <a:lnTo>
                  <a:pt x="9003" y="219"/>
                </a:lnTo>
                <a:lnTo>
                  <a:pt x="8857" y="98"/>
                </a:lnTo>
                <a:lnTo>
                  <a:pt x="8687" y="25"/>
                </a:lnTo>
                <a:lnTo>
                  <a:pt x="854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3" name="Graphic 12" descr="Open quotation mark with solid fill">
            <a:extLst>
              <a:ext uri="{FF2B5EF4-FFF2-40B4-BE49-F238E27FC236}">
                <a16:creationId xmlns:a16="http://schemas.microsoft.com/office/drawing/2014/main" id="{EFDBF90E-A585-DB13-D524-647449668C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14722" y="1442113"/>
            <a:ext cx="914400" cy="914400"/>
          </a:xfrm>
          <a:prstGeom prst="rect">
            <a:avLst/>
          </a:prstGeom>
        </p:spPr>
      </p:pic>
    </p:spTree>
    <p:extLst>
      <p:ext uri="{BB962C8B-B14F-4D97-AF65-F5344CB8AC3E}">
        <p14:creationId xmlns:p14="http://schemas.microsoft.com/office/powerpoint/2010/main" val="12750101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26</a:t>
            </a:fld>
            <a:endParaRPr lang="da-DK"/>
          </a:p>
        </p:txBody>
      </p:sp>
      <p:sp>
        <p:nvSpPr>
          <p:cNvPr id="3" name="Slide Number Placeholder 3">
            <a:extLst>
              <a:ext uri="{FF2B5EF4-FFF2-40B4-BE49-F238E27FC236}">
                <a16:creationId xmlns:a16="http://schemas.microsoft.com/office/drawing/2014/main" id="{D649DCE5-69AD-C1B0-9815-C2BE39487E43}"/>
              </a:ext>
            </a:extLst>
          </p:cNvPr>
          <p:cNvSpPr txBox="1">
            <a:spLocks/>
          </p:cNvSpPr>
          <p:nvPr/>
        </p:nvSpPr>
        <p:spPr>
          <a:xfrm>
            <a:off x="11206827" y="5223962"/>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6" name="Rectangle 15">
            <a:extLst>
              <a:ext uri="{FF2B5EF4-FFF2-40B4-BE49-F238E27FC236}">
                <a16:creationId xmlns:a16="http://schemas.microsoft.com/office/drawing/2014/main" id="{69E8CE64-0533-7299-077A-F5CBD4B386AF}"/>
              </a:ext>
            </a:extLst>
          </p:cNvPr>
          <p:cNvSpPr/>
          <p:nvPr/>
        </p:nvSpPr>
        <p:spPr>
          <a:xfrm>
            <a:off x="770411" y="1865190"/>
            <a:ext cx="6653049" cy="2980463"/>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2" name="Google Shape;846;p29">
            <a:extLst>
              <a:ext uri="{FF2B5EF4-FFF2-40B4-BE49-F238E27FC236}">
                <a16:creationId xmlns:a16="http://schemas.microsoft.com/office/drawing/2014/main" id="{15E4C8ED-7C1D-F41F-CFD3-DC21D4DDC86D}"/>
              </a:ext>
            </a:extLst>
          </p:cNvPr>
          <p:cNvSpPr/>
          <p:nvPr/>
        </p:nvSpPr>
        <p:spPr>
          <a:xfrm>
            <a:off x="0" y="346507"/>
            <a:ext cx="12192001" cy="854281"/>
          </a:xfrm>
          <a:prstGeom prst="rect">
            <a:avLst/>
          </a:prstGeom>
          <a:solidFill>
            <a:schemeClr val="accent6"/>
          </a:solidFill>
          <a:ln>
            <a:noFill/>
          </a:ln>
        </p:spPr>
        <p:txBody>
          <a:bodyPr spcFirstLastPara="1" wrap="square" lIns="396000" tIns="91425" rIns="91425" bIns="91425" anchor="ctr" anchorCtr="0">
            <a:noAutofit/>
          </a:bodyPr>
          <a:lstStyle/>
          <a:p>
            <a:pPr marL="0" lvl="0" indent="0" algn="ctr">
              <a:spcBef>
                <a:spcPts val="0"/>
              </a:spcBef>
              <a:spcAft>
                <a:spcPts val="0"/>
              </a:spcAft>
              <a:buNone/>
            </a:pPr>
            <a:r>
              <a:rPr lang="da-DK" sz="3200" b="1">
                <a:solidFill>
                  <a:schemeClr val="bg2"/>
                </a:solidFill>
                <a:latin typeface="Amatic SC" panose="00000500000000000000" pitchFamily="2" charset="-79"/>
                <a:cs typeface="Amatic SC" panose="00000500000000000000" pitchFamily="2" charset="-79"/>
              </a:rPr>
              <a:t>arbejde med aktionslæring styrker praksis, når det foregår systematisk</a:t>
            </a:r>
            <a:endParaRPr lang="da-DK" sz="3200" b="1">
              <a:solidFill>
                <a:schemeClr val="bg2"/>
              </a:solidFill>
              <a:latin typeface="Amatic SC"/>
              <a:ea typeface="Amatic SC"/>
              <a:cs typeface="Amatic SC"/>
              <a:sym typeface="Amatic SC"/>
            </a:endParaRPr>
          </a:p>
        </p:txBody>
      </p:sp>
      <p:sp>
        <p:nvSpPr>
          <p:cNvPr id="6" name="TextBox 5">
            <a:extLst>
              <a:ext uri="{FF2B5EF4-FFF2-40B4-BE49-F238E27FC236}">
                <a16:creationId xmlns:a16="http://schemas.microsoft.com/office/drawing/2014/main" id="{479CD88A-6E58-621F-7006-85774279DF87}"/>
              </a:ext>
            </a:extLst>
          </p:cNvPr>
          <p:cNvSpPr txBox="1"/>
          <p:nvPr/>
        </p:nvSpPr>
        <p:spPr>
          <a:xfrm>
            <a:off x="770411" y="1584585"/>
            <a:ext cx="6653049" cy="666246"/>
          </a:xfrm>
          <a:prstGeom prst="rect">
            <a:avLst/>
          </a:prstGeom>
          <a:solidFill>
            <a:schemeClr val="accent6"/>
          </a:solidFill>
          <a:ln w="28575">
            <a:solidFill>
              <a:schemeClr val="accent6"/>
            </a:solidFill>
          </a:ln>
        </p:spPr>
        <p:txBody>
          <a:bodyPr wrap="square" lIns="0" tIns="0" rIns="0" bIns="0" rtlCol="0" anchor="ctr">
            <a:noAutofit/>
          </a:bodyPr>
          <a:lstStyle/>
          <a:p>
            <a:pPr algn="ctr"/>
            <a:r>
              <a:rPr lang="da-DK" sz="2400" b="1">
                <a:latin typeface="Amatic SC" panose="00000500000000000000" pitchFamily="2" charset="-79"/>
                <a:cs typeface="Amatic SC" panose="00000500000000000000" pitchFamily="2" charset="-79"/>
              </a:rPr>
              <a:t>fremadrettet kan arbejdet med aktionslæring styrkes ved at…</a:t>
            </a:r>
          </a:p>
        </p:txBody>
      </p:sp>
      <p:sp>
        <p:nvSpPr>
          <p:cNvPr id="7" name="TextBox 6">
            <a:extLst>
              <a:ext uri="{FF2B5EF4-FFF2-40B4-BE49-F238E27FC236}">
                <a16:creationId xmlns:a16="http://schemas.microsoft.com/office/drawing/2014/main" id="{BD2606AB-11AB-17EB-93C7-331917089B99}"/>
              </a:ext>
            </a:extLst>
          </p:cNvPr>
          <p:cNvSpPr txBox="1"/>
          <p:nvPr/>
        </p:nvSpPr>
        <p:spPr>
          <a:xfrm>
            <a:off x="873235" y="2384883"/>
            <a:ext cx="6447399" cy="2246769"/>
          </a:xfrm>
          <a:prstGeom prst="rect">
            <a:avLst/>
          </a:prstGeom>
          <a:noFill/>
        </p:spPr>
        <p:txBody>
          <a:bodyPr wrap="square">
            <a:spAutoFit/>
          </a:bodyPr>
          <a:lstStyle/>
          <a:p>
            <a:pPr marL="360000" lvl="1"/>
            <a:r>
              <a:rPr lang="da-DK" sz="1400">
                <a:latin typeface="Quicksand" panose="020B0604020202020204"/>
                <a:cs typeface="Amatic SC" panose="00000500000000000000" pitchFamily="2" charset="-79"/>
              </a:rPr>
              <a:t>… </a:t>
            </a:r>
            <a:r>
              <a:rPr lang="da-DK" sz="1400" b="1" err="1">
                <a:latin typeface="Quicksand" panose="020B0604020202020204"/>
                <a:cs typeface="Amatic SC" panose="00000500000000000000" pitchFamily="2" charset="-79"/>
              </a:rPr>
              <a:t>videndele</a:t>
            </a:r>
            <a:r>
              <a:rPr lang="da-DK" sz="1400">
                <a:latin typeface="Quicksand" panose="020B0604020202020204"/>
                <a:cs typeface="Amatic SC" panose="00000500000000000000" pitchFamily="2" charset="-79"/>
              </a:rPr>
              <a:t> om erfaringer med aktionslæring på tværs af teams og årgange. </a:t>
            </a:r>
          </a:p>
          <a:p>
            <a:pPr marL="360000" lvl="1"/>
            <a:endParaRPr lang="da-DK" sz="1400">
              <a:latin typeface="Quicksand" panose="020B0604020202020204"/>
              <a:cs typeface="Amatic SC" panose="00000500000000000000" pitchFamily="2" charset="-79"/>
            </a:endParaRPr>
          </a:p>
          <a:p>
            <a:pPr marL="360000" lvl="1"/>
            <a:r>
              <a:rPr lang="da-DK" sz="1400">
                <a:latin typeface="Quicksand" panose="020B0604020202020204"/>
                <a:cs typeface="Amatic SC" panose="00000500000000000000" pitchFamily="2" charset="-79"/>
              </a:rPr>
              <a:t>… </a:t>
            </a:r>
            <a:r>
              <a:rPr lang="da-DK" sz="1400" b="1">
                <a:latin typeface="Quicksand" panose="020B0604020202020204"/>
                <a:cs typeface="Amatic SC" panose="00000500000000000000" pitchFamily="2" charset="-79"/>
              </a:rPr>
              <a:t>indsamle data </a:t>
            </a:r>
            <a:r>
              <a:rPr lang="da-DK" sz="1400">
                <a:latin typeface="Quicksand" panose="020B0604020202020204"/>
                <a:cs typeface="Amatic SC" panose="00000500000000000000" pitchFamily="2" charset="-79"/>
              </a:rPr>
              <a:t>til at vurdere, hvorvidt aktionerne har den ønskede effekt. </a:t>
            </a:r>
          </a:p>
          <a:p>
            <a:pPr marL="360000" lvl="1"/>
            <a:endParaRPr lang="da-DK" sz="1400">
              <a:latin typeface="Quicksand" panose="020B0604020202020204"/>
              <a:cs typeface="Amatic SC" panose="00000500000000000000" pitchFamily="2" charset="-79"/>
            </a:endParaRPr>
          </a:p>
          <a:p>
            <a:pPr marL="360000" lvl="1"/>
            <a:r>
              <a:rPr lang="da-DK" sz="1400">
                <a:latin typeface="Quicksand" panose="020B0604020202020204"/>
                <a:cs typeface="Amatic SC" panose="00000500000000000000" pitchFamily="2" charset="-79"/>
              </a:rPr>
              <a:t>… prioritere tid til at </a:t>
            </a:r>
            <a:r>
              <a:rPr lang="da-DK" sz="1400" b="1">
                <a:latin typeface="Quicksand" panose="020B0604020202020204"/>
                <a:cs typeface="Amatic SC" panose="00000500000000000000" pitchFamily="2" charset="-79"/>
              </a:rPr>
              <a:t>evaluere prøvehandlinger</a:t>
            </a:r>
            <a:r>
              <a:rPr lang="da-DK" sz="1400">
                <a:latin typeface="Quicksand" panose="020B0604020202020204"/>
                <a:cs typeface="Amatic SC" panose="00000500000000000000" pitchFamily="2" charset="-79"/>
              </a:rPr>
              <a:t>.</a:t>
            </a:r>
          </a:p>
          <a:p>
            <a:pPr marL="360000" lvl="1"/>
            <a:endParaRPr lang="da-DK" sz="1400">
              <a:latin typeface="Quicksand" panose="020B0604020202020204"/>
              <a:cs typeface="Amatic SC" panose="00000500000000000000" pitchFamily="2" charset="-79"/>
            </a:endParaRPr>
          </a:p>
          <a:p>
            <a:pPr marL="360000" lvl="1"/>
            <a:r>
              <a:rPr lang="da-DK" sz="1400">
                <a:latin typeface="Quicksand" panose="020B0604020202020204"/>
                <a:cs typeface="Amatic SC" panose="00000500000000000000" pitchFamily="2" charset="-79"/>
              </a:rPr>
              <a:t>… </a:t>
            </a:r>
            <a:r>
              <a:rPr lang="da-DK" sz="1400" b="1">
                <a:latin typeface="Quicksand" panose="020B0604020202020204"/>
                <a:cs typeface="Amatic SC" panose="00000500000000000000" pitchFamily="2" charset="-79"/>
              </a:rPr>
              <a:t>inddrage eleverne </a:t>
            </a:r>
            <a:r>
              <a:rPr lang="da-DK" sz="1400">
                <a:latin typeface="Quicksand" panose="020B0604020202020204"/>
                <a:cs typeface="Amatic SC" panose="00000500000000000000" pitchFamily="2" charset="-79"/>
              </a:rPr>
              <a:t>i udviklingen af læringsmiljøet og få deres perspektiver på prøvehandlingerne. </a:t>
            </a:r>
          </a:p>
          <a:p>
            <a:pPr marL="360000" lvl="1"/>
            <a:endParaRPr lang="da-DK" sz="1400">
              <a:latin typeface="Quicksand" panose="020B0604020202020204"/>
              <a:cs typeface="Amatic SC" panose="00000500000000000000" pitchFamily="2" charset="-79"/>
            </a:endParaRPr>
          </a:p>
          <a:p>
            <a:pPr marL="360000" lvl="1"/>
            <a:r>
              <a:rPr lang="da-DK" sz="1400">
                <a:latin typeface="Quicksand" panose="020B0604020202020204"/>
                <a:cs typeface="Amatic SC" panose="00000500000000000000" pitchFamily="2" charset="-79"/>
              </a:rPr>
              <a:t>… </a:t>
            </a:r>
            <a:r>
              <a:rPr lang="da-DK" sz="1400" b="1">
                <a:latin typeface="Quicksand" panose="020B0604020202020204"/>
                <a:cs typeface="Amatic SC" panose="00000500000000000000" pitchFamily="2" charset="-79"/>
              </a:rPr>
              <a:t>observere hinandens undervisning </a:t>
            </a:r>
            <a:r>
              <a:rPr lang="da-DK" sz="1400">
                <a:latin typeface="Quicksand" panose="020B0604020202020204"/>
                <a:cs typeface="Amatic SC" panose="00000500000000000000" pitchFamily="2" charset="-79"/>
              </a:rPr>
              <a:t>for at finde nye løsninger på udfordringer. </a:t>
            </a:r>
          </a:p>
        </p:txBody>
      </p:sp>
      <p:sp>
        <p:nvSpPr>
          <p:cNvPr id="8" name="TextBox 7">
            <a:extLst>
              <a:ext uri="{FF2B5EF4-FFF2-40B4-BE49-F238E27FC236}">
                <a16:creationId xmlns:a16="http://schemas.microsoft.com/office/drawing/2014/main" id="{C17575AC-6326-264C-378F-10DE84939037}"/>
              </a:ext>
            </a:extLst>
          </p:cNvPr>
          <p:cNvSpPr txBox="1"/>
          <p:nvPr/>
        </p:nvSpPr>
        <p:spPr>
          <a:xfrm>
            <a:off x="8428257" y="2250831"/>
            <a:ext cx="2993331" cy="1369606"/>
          </a:xfrm>
          <a:prstGeom prst="rect">
            <a:avLst/>
          </a:prstGeom>
          <a:noFill/>
          <a:ln>
            <a:noFill/>
          </a:ln>
        </p:spPr>
        <p:txBody>
          <a:bodyPr wrap="square" lIns="0" tIns="0" rIns="0" bIns="0" rtlCol="0">
            <a:spAutoFit/>
          </a:bodyPr>
          <a:lstStyle/>
          <a:p>
            <a:r>
              <a:rPr lang="da-DK" sz="1400" dirty="0">
                <a:latin typeface="Quicksand" panose="020B0604020202020204"/>
                <a:cs typeface="Quicksand" panose="020B0604020202020204" charset="0"/>
              </a:rPr>
              <a:t>Evalueringen efter hver time sammen med eleverne gør mig klogere på deres tanker og refleksioner omkring læring. Og det tager jeg til efterretning i min forberedelse til næste gang.</a:t>
            </a:r>
            <a:endParaRPr lang="da-DK" sz="1400" dirty="0">
              <a:latin typeface="Quicksand" panose="020B0604020202020204" charset="0"/>
              <a:cs typeface="Quicksand" panose="020B0604020202020204" charset="0"/>
            </a:endParaRPr>
          </a:p>
          <a:p>
            <a:pPr algn="r"/>
            <a:r>
              <a:rPr lang="da-DK" sz="1100" i="1" dirty="0">
                <a:latin typeface="Quicksand" panose="020B0604020202020204" charset="0"/>
                <a:cs typeface="Quicksand" panose="020B0604020202020204" charset="0"/>
              </a:rPr>
              <a:t>Pædagogisk personale</a:t>
            </a:r>
          </a:p>
          <a:p>
            <a:endParaRPr lang="da-DK" sz="800" dirty="0">
              <a:latin typeface="Quicksand" panose="020B0604020202020204" charset="0"/>
              <a:cs typeface="Quicksand" panose="020B0604020202020204" charset="0"/>
            </a:endParaRPr>
          </a:p>
        </p:txBody>
      </p:sp>
      <p:sp>
        <p:nvSpPr>
          <p:cNvPr id="11" name="Google Shape;1217;p48">
            <a:extLst>
              <a:ext uri="{FF2B5EF4-FFF2-40B4-BE49-F238E27FC236}">
                <a16:creationId xmlns:a16="http://schemas.microsoft.com/office/drawing/2014/main" id="{98EB45EF-6C33-45A5-90FF-035114568288}"/>
              </a:ext>
            </a:extLst>
          </p:cNvPr>
          <p:cNvSpPr/>
          <p:nvPr/>
        </p:nvSpPr>
        <p:spPr>
          <a:xfrm>
            <a:off x="873235" y="1734497"/>
            <a:ext cx="414830" cy="366421"/>
          </a:xfrm>
          <a:custGeom>
            <a:avLst/>
            <a:gdLst/>
            <a:ahLst/>
            <a:cxnLst/>
            <a:rect l="l" t="t" r="r" b="b"/>
            <a:pathLst>
              <a:path w="18981" h="16766" extrusionOk="0">
                <a:moveTo>
                  <a:pt x="5451" y="5475"/>
                </a:moveTo>
                <a:lnTo>
                  <a:pt x="5257" y="5548"/>
                </a:lnTo>
                <a:lnTo>
                  <a:pt x="5159" y="5597"/>
                </a:lnTo>
                <a:lnTo>
                  <a:pt x="5062" y="5670"/>
                </a:lnTo>
                <a:lnTo>
                  <a:pt x="5013" y="5743"/>
                </a:lnTo>
                <a:lnTo>
                  <a:pt x="4965" y="5816"/>
                </a:lnTo>
                <a:lnTo>
                  <a:pt x="4940" y="5889"/>
                </a:lnTo>
                <a:lnTo>
                  <a:pt x="4965" y="5962"/>
                </a:lnTo>
                <a:lnTo>
                  <a:pt x="5013" y="6011"/>
                </a:lnTo>
                <a:lnTo>
                  <a:pt x="5086" y="6059"/>
                </a:lnTo>
                <a:lnTo>
                  <a:pt x="5208" y="6059"/>
                </a:lnTo>
                <a:lnTo>
                  <a:pt x="5354" y="6035"/>
                </a:lnTo>
                <a:lnTo>
                  <a:pt x="5476" y="6011"/>
                </a:lnTo>
                <a:lnTo>
                  <a:pt x="5695" y="6011"/>
                </a:lnTo>
                <a:lnTo>
                  <a:pt x="5792" y="5986"/>
                </a:lnTo>
                <a:lnTo>
                  <a:pt x="5865" y="5913"/>
                </a:lnTo>
                <a:lnTo>
                  <a:pt x="5914" y="5816"/>
                </a:lnTo>
                <a:lnTo>
                  <a:pt x="5938" y="5743"/>
                </a:lnTo>
                <a:lnTo>
                  <a:pt x="5938" y="5694"/>
                </a:lnTo>
                <a:lnTo>
                  <a:pt x="5889" y="5573"/>
                </a:lnTo>
                <a:lnTo>
                  <a:pt x="5792" y="5500"/>
                </a:lnTo>
                <a:lnTo>
                  <a:pt x="5670" y="5475"/>
                </a:lnTo>
                <a:close/>
                <a:moveTo>
                  <a:pt x="4575" y="5986"/>
                </a:moveTo>
                <a:lnTo>
                  <a:pt x="4454" y="6011"/>
                </a:lnTo>
                <a:lnTo>
                  <a:pt x="4356" y="6035"/>
                </a:lnTo>
                <a:lnTo>
                  <a:pt x="4259" y="6084"/>
                </a:lnTo>
                <a:lnTo>
                  <a:pt x="4113" y="6205"/>
                </a:lnTo>
                <a:lnTo>
                  <a:pt x="4040" y="6254"/>
                </a:lnTo>
                <a:lnTo>
                  <a:pt x="3991" y="6351"/>
                </a:lnTo>
                <a:lnTo>
                  <a:pt x="3967" y="6424"/>
                </a:lnTo>
                <a:lnTo>
                  <a:pt x="3991" y="6522"/>
                </a:lnTo>
                <a:lnTo>
                  <a:pt x="4064" y="6570"/>
                </a:lnTo>
                <a:lnTo>
                  <a:pt x="4162" y="6619"/>
                </a:lnTo>
                <a:lnTo>
                  <a:pt x="4283" y="6595"/>
                </a:lnTo>
                <a:lnTo>
                  <a:pt x="4429" y="6546"/>
                </a:lnTo>
                <a:lnTo>
                  <a:pt x="4527" y="6522"/>
                </a:lnTo>
                <a:lnTo>
                  <a:pt x="4551" y="6497"/>
                </a:lnTo>
                <a:lnTo>
                  <a:pt x="4648" y="6473"/>
                </a:lnTo>
                <a:lnTo>
                  <a:pt x="4721" y="6424"/>
                </a:lnTo>
                <a:lnTo>
                  <a:pt x="4794" y="6327"/>
                </a:lnTo>
                <a:lnTo>
                  <a:pt x="4794" y="6205"/>
                </a:lnTo>
                <a:lnTo>
                  <a:pt x="4770" y="6108"/>
                </a:lnTo>
                <a:lnTo>
                  <a:pt x="4673" y="6035"/>
                </a:lnTo>
                <a:lnTo>
                  <a:pt x="4575" y="5986"/>
                </a:lnTo>
                <a:close/>
                <a:moveTo>
                  <a:pt x="7593" y="5962"/>
                </a:moveTo>
                <a:lnTo>
                  <a:pt x="7495" y="6011"/>
                </a:lnTo>
                <a:lnTo>
                  <a:pt x="7447" y="6059"/>
                </a:lnTo>
                <a:lnTo>
                  <a:pt x="7398" y="6132"/>
                </a:lnTo>
                <a:lnTo>
                  <a:pt x="7398" y="6181"/>
                </a:lnTo>
                <a:lnTo>
                  <a:pt x="7422" y="6254"/>
                </a:lnTo>
                <a:lnTo>
                  <a:pt x="7520" y="6351"/>
                </a:lnTo>
                <a:lnTo>
                  <a:pt x="7593" y="6424"/>
                </a:lnTo>
                <a:lnTo>
                  <a:pt x="7641" y="6449"/>
                </a:lnTo>
                <a:lnTo>
                  <a:pt x="7666" y="6473"/>
                </a:lnTo>
                <a:lnTo>
                  <a:pt x="7690" y="6497"/>
                </a:lnTo>
                <a:lnTo>
                  <a:pt x="7714" y="6546"/>
                </a:lnTo>
                <a:lnTo>
                  <a:pt x="7763" y="6619"/>
                </a:lnTo>
                <a:lnTo>
                  <a:pt x="7787" y="6668"/>
                </a:lnTo>
                <a:lnTo>
                  <a:pt x="7812" y="6692"/>
                </a:lnTo>
                <a:lnTo>
                  <a:pt x="7909" y="6741"/>
                </a:lnTo>
                <a:lnTo>
                  <a:pt x="8031" y="6741"/>
                </a:lnTo>
                <a:lnTo>
                  <a:pt x="8128" y="6716"/>
                </a:lnTo>
                <a:lnTo>
                  <a:pt x="8201" y="6643"/>
                </a:lnTo>
                <a:lnTo>
                  <a:pt x="8250" y="6546"/>
                </a:lnTo>
                <a:lnTo>
                  <a:pt x="8250" y="6449"/>
                </a:lnTo>
                <a:lnTo>
                  <a:pt x="8225" y="6351"/>
                </a:lnTo>
                <a:lnTo>
                  <a:pt x="8177" y="6254"/>
                </a:lnTo>
                <a:lnTo>
                  <a:pt x="8104" y="6181"/>
                </a:lnTo>
                <a:lnTo>
                  <a:pt x="8006" y="6108"/>
                </a:lnTo>
                <a:lnTo>
                  <a:pt x="7909" y="6035"/>
                </a:lnTo>
                <a:lnTo>
                  <a:pt x="7812" y="5986"/>
                </a:lnTo>
                <a:lnTo>
                  <a:pt x="7690" y="5962"/>
                </a:lnTo>
                <a:close/>
                <a:moveTo>
                  <a:pt x="3578" y="6741"/>
                </a:moveTo>
                <a:lnTo>
                  <a:pt x="3456" y="6765"/>
                </a:lnTo>
                <a:lnTo>
                  <a:pt x="3359" y="6814"/>
                </a:lnTo>
                <a:lnTo>
                  <a:pt x="3286" y="6887"/>
                </a:lnTo>
                <a:lnTo>
                  <a:pt x="3189" y="6960"/>
                </a:lnTo>
                <a:lnTo>
                  <a:pt x="3140" y="7081"/>
                </a:lnTo>
                <a:lnTo>
                  <a:pt x="3091" y="7179"/>
                </a:lnTo>
                <a:lnTo>
                  <a:pt x="3067" y="7300"/>
                </a:lnTo>
                <a:lnTo>
                  <a:pt x="3067" y="7398"/>
                </a:lnTo>
                <a:lnTo>
                  <a:pt x="3091" y="7446"/>
                </a:lnTo>
                <a:lnTo>
                  <a:pt x="3116" y="7471"/>
                </a:lnTo>
                <a:lnTo>
                  <a:pt x="3189" y="7519"/>
                </a:lnTo>
                <a:lnTo>
                  <a:pt x="3286" y="7544"/>
                </a:lnTo>
                <a:lnTo>
                  <a:pt x="3359" y="7519"/>
                </a:lnTo>
                <a:lnTo>
                  <a:pt x="3481" y="7446"/>
                </a:lnTo>
                <a:lnTo>
                  <a:pt x="3554" y="7325"/>
                </a:lnTo>
                <a:lnTo>
                  <a:pt x="3627" y="7276"/>
                </a:lnTo>
                <a:lnTo>
                  <a:pt x="3651" y="7252"/>
                </a:lnTo>
                <a:lnTo>
                  <a:pt x="3700" y="7227"/>
                </a:lnTo>
                <a:lnTo>
                  <a:pt x="3773" y="7179"/>
                </a:lnTo>
                <a:lnTo>
                  <a:pt x="3821" y="7106"/>
                </a:lnTo>
                <a:lnTo>
                  <a:pt x="3821" y="7033"/>
                </a:lnTo>
                <a:lnTo>
                  <a:pt x="3821" y="6935"/>
                </a:lnTo>
                <a:lnTo>
                  <a:pt x="3797" y="6862"/>
                </a:lnTo>
                <a:lnTo>
                  <a:pt x="3724" y="6789"/>
                </a:lnTo>
                <a:lnTo>
                  <a:pt x="3651" y="6765"/>
                </a:lnTo>
                <a:lnTo>
                  <a:pt x="3578" y="6741"/>
                </a:lnTo>
                <a:close/>
                <a:moveTo>
                  <a:pt x="16863" y="4526"/>
                </a:moveTo>
                <a:lnTo>
                  <a:pt x="16766" y="4575"/>
                </a:lnTo>
                <a:lnTo>
                  <a:pt x="16693" y="4624"/>
                </a:lnTo>
                <a:lnTo>
                  <a:pt x="16620" y="4697"/>
                </a:lnTo>
                <a:lnTo>
                  <a:pt x="16498" y="4843"/>
                </a:lnTo>
                <a:lnTo>
                  <a:pt x="16401" y="5037"/>
                </a:lnTo>
                <a:lnTo>
                  <a:pt x="16158" y="5500"/>
                </a:lnTo>
                <a:lnTo>
                  <a:pt x="15914" y="5962"/>
                </a:lnTo>
                <a:lnTo>
                  <a:pt x="15647" y="5816"/>
                </a:lnTo>
                <a:lnTo>
                  <a:pt x="15501" y="5719"/>
                </a:lnTo>
                <a:lnTo>
                  <a:pt x="15355" y="5670"/>
                </a:lnTo>
                <a:lnTo>
                  <a:pt x="15233" y="5646"/>
                </a:lnTo>
                <a:lnTo>
                  <a:pt x="15087" y="5597"/>
                </a:lnTo>
                <a:lnTo>
                  <a:pt x="15038" y="5573"/>
                </a:lnTo>
                <a:lnTo>
                  <a:pt x="15014" y="5573"/>
                </a:lnTo>
                <a:lnTo>
                  <a:pt x="14917" y="5621"/>
                </a:lnTo>
                <a:lnTo>
                  <a:pt x="14892" y="5646"/>
                </a:lnTo>
                <a:lnTo>
                  <a:pt x="14844" y="5694"/>
                </a:lnTo>
                <a:lnTo>
                  <a:pt x="14844" y="5767"/>
                </a:lnTo>
                <a:lnTo>
                  <a:pt x="14868" y="5840"/>
                </a:lnTo>
                <a:lnTo>
                  <a:pt x="14892" y="5913"/>
                </a:lnTo>
                <a:lnTo>
                  <a:pt x="15087" y="6059"/>
                </a:lnTo>
                <a:lnTo>
                  <a:pt x="15282" y="6181"/>
                </a:lnTo>
                <a:lnTo>
                  <a:pt x="15671" y="6424"/>
                </a:lnTo>
                <a:lnTo>
                  <a:pt x="15355" y="6984"/>
                </a:lnTo>
                <a:lnTo>
                  <a:pt x="15160" y="7252"/>
                </a:lnTo>
                <a:lnTo>
                  <a:pt x="14965" y="7519"/>
                </a:lnTo>
                <a:lnTo>
                  <a:pt x="14941" y="7592"/>
                </a:lnTo>
                <a:lnTo>
                  <a:pt x="14941" y="7641"/>
                </a:lnTo>
                <a:lnTo>
                  <a:pt x="14941" y="7714"/>
                </a:lnTo>
                <a:lnTo>
                  <a:pt x="14965" y="7763"/>
                </a:lnTo>
                <a:lnTo>
                  <a:pt x="15014" y="7836"/>
                </a:lnTo>
                <a:lnTo>
                  <a:pt x="15063" y="7860"/>
                </a:lnTo>
                <a:lnTo>
                  <a:pt x="15111" y="7884"/>
                </a:lnTo>
                <a:lnTo>
                  <a:pt x="15184" y="7909"/>
                </a:lnTo>
                <a:lnTo>
                  <a:pt x="15257" y="7884"/>
                </a:lnTo>
                <a:lnTo>
                  <a:pt x="15355" y="7860"/>
                </a:lnTo>
                <a:lnTo>
                  <a:pt x="15501" y="7763"/>
                </a:lnTo>
                <a:lnTo>
                  <a:pt x="15622" y="7641"/>
                </a:lnTo>
                <a:lnTo>
                  <a:pt x="15744" y="7471"/>
                </a:lnTo>
                <a:lnTo>
                  <a:pt x="15866" y="7276"/>
                </a:lnTo>
                <a:lnTo>
                  <a:pt x="15963" y="7081"/>
                </a:lnTo>
                <a:lnTo>
                  <a:pt x="16133" y="6716"/>
                </a:lnTo>
                <a:lnTo>
                  <a:pt x="16328" y="6862"/>
                </a:lnTo>
                <a:lnTo>
                  <a:pt x="16523" y="7008"/>
                </a:lnTo>
                <a:lnTo>
                  <a:pt x="16742" y="7106"/>
                </a:lnTo>
                <a:lnTo>
                  <a:pt x="16839" y="7130"/>
                </a:lnTo>
                <a:lnTo>
                  <a:pt x="16961" y="7154"/>
                </a:lnTo>
                <a:lnTo>
                  <a:pt x="17034" y="7130"/>
                </a:lnTo>
                <a:lnTo>
                  <a:pt x="17082" y="7106"/>
                </a:lnTo>
                <a:lnTo>
                  <a:pt x="17131" y="7057"/>
                </a:lnTo>
                <a:lnTo>
                  <a:pt x="17155" y="7008"/>
                </a:lnTo>
                <a:lnTo>
                  <a:pt x="17180" y="6960"/>
                </a:lnTo>
                <a:lnTo>
                  <a:pt x="17180" y="6887"/>
                </a:lnTo>
                <a:lnTo>
                  <a:pt x="17155" y="6814"/>
                </a:lnTo>
                <a:lnTo>
                  <a:pt x="17131" y="6765"/>
                </a:lnTo>
                <a:lnTo>
                  <a:pt x="16961" y="6619"/>
                </a:lnTo>
                <a:lnTo>
                  <a:pt x="16766" y="6497"/>
                </a:lnTo>
                <a:lnTo>
                  <a:pt x="16377" y="6254"/>
                </a:lnTo>
                <a:lnTo>
                  <a:pt x="16644" y="5670"/>
                </a:lnTo>
                <a:lnTo>
                  <a:pt x="16766" y="5427"/>
                </a:lnTo>
                <a:lnTo>
                  <a:pt x="16912" y="5183"/>
                </a:lnTo>
                <a:lnTo>
                  <a:pt x="17034" y="4916"/>
                </a:lnTo>
                <a:lnTo>
                  <a:pt x="17082" y="4770"/>
                </a:lnTo>
                <a:lnTo>
                  <a:pt x="17082" y="4648"/>
                </a:lnTo>
                <a:lnTo>
                  <a:pt x="17082" y="4599"/>
                </a:lnTo>
                <a:lnTo>
                  <a:pt x="17058" y="4551"/>
                </a:lnTo>
                <a:lnTo>
                  <a:pt x="17009" y="4526"/>
                </a:lnTo>
                <a:close/>
                <a:moveTo>
                  <a:pt x="8420" y="6838"/>
                </a:moveTo>
                <a:lnTo>
                  <a:pt x="8371" y="6862"/>
                </a:lnTo>
                <a:lnTo>
                  <a:pt x="8298" y="6911"/>
                </a:lnTo>
                <a:lnTo>
                  <a:pt x="8274" y="6984"/>
                </a:lnTo>
                <a:lnTo>
                  <a:pt x="8250" y="7081"/>
                </a:lnTo>
                <a:lnTo>
                  <a:pt x="8274" y="7179"/>
                </a:lnTo>
                <a:lnTo>
                  <a:pt x="8298" y="7276"/>
                </a:lnTo>
                <a:lnTo>
                  <a:pt x="8347" y="7373"/>
                </a:lnTo>
                <a:lnTo>
                  <a:pt x="8420" y="7519"/>
                </a:lnTo>
                <a:lnTo>
                  <a:pt x="8444" y="7665"/>
                </a:lnTo>
                <a:lnTo>
                  <a:pt x="8444" y="7763"/>
                </a:lnTo>
                <a:lnTo>
                  <a:pt x="8493" y="7836"/>
                </a:lnTo>
                <a:lnTo>
                  <a:pt x="8566" y="7909"/>
                </a:lnTo>
                <a:lnTo>
                  <a:pt x="8663" y="7933"/>
                </a:lnTo>
                <a:lnTo>
                  <a:pt x="8761" y="7957"/>
                </a:lnTo>
                <a:lnTo>
                  <a:pt x="8882" y="7909"/>
                </a:lnTo>
                <a:lnTo>
                  <a:pt x="8980" y="7836"/>
                </a:lnTo>
                <a:lnTo>
                  <a:pt x="9004" y="7787"/>
                </a:lnTo>
                <a:lnTo>
                  <a:pt x="9028" y="7738"/>
                </a:lnTo>
                <a:lnTo>
                  <a:pt x="9028" y="7592"/>
                </a:lnTo>
                <a:lnTo>
                  <a:pt x="9004" y="7446"/>
                </a:lnTo>
                <a:lnTo>
                  <a:pt x="8955" y="7325"/>
                </a:lnTo>
                <a:lnTo>
                  <a:pt x="8882" y="7179"/>
                </a:lnTo>
                <a:lnTo>
                  <a:pt x="8809" y="7057"/>
                </a:lnTo>
                <a:lnTo>
                  <a:pt x="8712" y="6960"/>
                </a:lnTo>
                <a:lnTo>
                  <a:pt x="8663" y="6911"/>
                </a:lnTo>
                <a:lnTo>
                  <a:pt x="8615" y="6862"/>
                </a:lnTo>
                <a:lnTo>
                  <a:pt x="8542" y="6838"/>
                </a:lnTo>
                <a:close/>
                <a:moveTo>
                  <a:pt x="16255" y="7495"/>
                </a:moveTo>
                <a:lnTo>
                  <a:pt x="16206" y="7544"/>
                </a:lnTo>
                <a:lnTo>
                  <a:pt x="16158" y="7592"/>
                </a:lnTo>
                <a:lnTo>
                  <a:pt x="16158" y="7714"/>
                </a:lnTo>
                <a:lnTo>
                  <a:pt x="16158" y="7836"/>
                </a:lnTo>
                <a:lnTo>
                  <a:pt x="16206" y="7982"/>
                </a:lnTo>
                <a:lnTo>
                  <a:pt x="16231" y="8030"/>
                </a:lnTo>
                <a:lnTo>
                  <a:pt x="16279" y="8079"/>
                </a:lnTo>
                <a:lnTo>
                  <a:pt x="16304" y="8103"/>
                </a:lnTo>
                <a:lnTo>
                  <a:pt x="16377" y="8128"/>
                </a:lnTo>
                <a:lnTo>
                  <a:pt x="16474" y="8128"/>
                </a:lnTo>
                <a:lnTo>
                  <a:pt x="16523" y="8103"/>
                </a:lnTo>
                <a:lnTo>
                  <a:pt x="16547" y="8055"/>
                </a:lnTo>
                <a:lnTo>
                  <a:pt x="16571" y="8006"/>
                </a:lnTo>
                <a:lnTo>
                  <a:pt x="16571" y="7957"/>
                </a:lnTo>
                <a:lnTo>
                  <a:pt x="16547" y="7836"/>
                </a:lnTo>
                <a:lnTo>
                  <a:pt x="16523" y="7738"/>
                </a:lnTo>
                <a:lnTo>
                  <a:pt x="16474" y="7641"/>
                </a:lnTo>
                <a:lnTo>
                  <a:pt x="16401" y="7544"/>
                </a:lnTo>
                <a:lnTo>
                  <a:pt x="16328" y="7495"/>
                </a:lnTo>
                <a:close/>
                <a:moveTo>
                  <a:pt x="2897" y="7836"/>
                </a:moveTo>
                <a:lnTo>
                  <a:pt x="2799" y="7860"/>
                </a:lnTo>
                <a:lnTo>
                  <a:pt x="2702" y="7909"/>
                </a:lnTo>
                <a:lnTo>
                  <a:pt x="2629" y="7982"/>
                </a:lnTo>
                <a:lnTo>
                  <a:pt x="2556" y="8079"/>
                </a:lnTo>
                <a:lnTo>
                  <a:pt x="2507" y="8201"/>
                </a:lnTo>
                <a:lnTo>
                  <a:pt x="2507" y="8347"/>
                </a:lnTo>
                <a:lnTo>
                  <a:pt x="2507" y="8468"/>
                </a:lnTo>
                <a:lnTo>
                  <a:pt x="2556" y="8517"/>
                </a:lnTo>
                <a:lnTo>
                  <a:pt x="2580" y="8566"/>
                </a:lnTo>
                <a:lnTo>
                  <a:pt x="2678" y="8614"/>
                </a:lnTo>
                <a:lnTo>
                  <a:pt x="2799" y="8614"/>
                </a:lnTo>
                <a:lnTo>
                  <a:pt x="2848" y="8590"/>
                </a:lnTo>
                <a:lnTo>
                  <a:pt x="2897" y="8566"/>
                </a:lnTo>
                <a:lnTo>
                  <a:pt x="2970" y="8493"/>
                </a:lnTo>
                <a:lnTo>
                  <a:pt x="3018" y="8420"/>
                </a:lnTo>
                <a:lnTo>
                  <a:pt x="3116" y="8274"/>
                </a:lnTo>
                <a:lnTo>
                  <a:pt x="3140" y="8152"/>
                </a:lnTo>
                <a:lnTo>
                  <a:pt x="3140" y="8055"/>
                </a:lnTo>
                <a:lnTo>
                  <a:pt x="3091" y="7957"/>
                </a:lnTo>
                <a:lnTo>
                  <a:pt x="3018" y="7884"/>
                </a:lnTo>
                <a:lnTo>
                  <a:pt x="2897" y="7836"/>
                </a:lnTo>
                <a:close/>
                <a:moveTo>
                  <a:pt x="8955" y="8152"/>
                </a:moveTo>
                <a:lnTo>
                  <a:pt x="8882" y="8201"/>
                </a:lnTo>
                <a:lnTo>
                  <a:pt x="8858" y="8274"/>
                </a:lnTo>
                <a:lnTo>
                  <a:pt x="8858" y="8371"/>
                </a:lnTo>
                <a:lnTo>
                  <a:pt x="8858" y="8468"/>
                </a:lnTo>
                <a:lnTo>
                  <a:pt x="8907" y="8639"/>
                </a:lnTo>
                <a:lnTo>
                  <a:pt x="8955" y="8760"/>
                </a:lnTo>
                <a:lnTo>
                  <a:pt x="8980" y="8858"/>
                </a:lnTo>
                <a:lnTo>
                  <a:pt x="9053" y="8955"/>
                </a:lnTo>
                <a:lnTo>
                  <a:pt x="9101" y="9004"/>
                </a:lnTo>
                <a:lnTo>
                  <a:pt x="9150" y="9028"/>
                </a:lnTo>
                <a:lnTo>
                  <a:pt x="9296" y="9028"/>
                </a:lnTo>
                <a:lnTo>
                  <a:pt x="9369" y="8979"/>
                </a:lnTo>
                <a:lnTo>
                  <a:pt x="9393" y="8931"/>
                </a:lnTo>
                <a:lnTo>
                  <a:pt x="9418" y="8858"/>
                </a:lnTo>
                <a:lnTo>
                  <a:pt x="9418" y="8785"/>
                </a:lnTo>
                <a:lnTo>
                  <a:pt x="9393" y="8639"/>
                </a:lnTo>
                <a:lnTo>
                  <a:pt x="9369" y="8614"/>
                </a:lnTo>
                <a:lnTo>
                  <a:pt x="9345" y="8517"/>
                </a:lnTo>
                <a:lnTo>
                  <a:pt x="9247" y="8322"/>
                </a:lnTo>
                <a:lnTo>
                  <a:pt x="9199" y="8225"/>
                </a:lnTo>
                <a:lnTo>
                  <a:pt x="9101" y="8176"/>
                </a:lnTo>
                <a:lnTo>
                  <a:pt x="9028" y="8152"/>
                </a:lnTo>
                <a:close/>
                <a:moveTo>
                  <a:pt x="16352" y="8541"/>
                </a:moveTo>
                <a:lnTo>
                  <a:pt x="16279" y="8566"/>
                </a:lnTo>
                <a:lnTo>
                  <a:pt x="16231" y="8614"/>
                </a:lnTo>
                <a:lnTo>
                  <a:pt x="16206" y="8663"/>
                </a:lnTo>
                <a:lnTo>
                  <a:pt x="16182" y="8736"/>
                </a:lnTo>
                <a:lnTo>
                  <a:pt x="16182" y="8858"/>
                </a:lnTo>
                <a:lnTo>
                  <a:pt x="16206" y="8979"/>
                </a:lnTo>
                <a:lnTo>
                  <a:pt x="16231" y="9174"/>
                </a:lnTo>
                <a:lnTo>
                  <a:pt x="16255" y="9296"/>
                </a:lnTo>
                <a:lnTo>
                  <a:pt x="16304" y="9369"/>
                </a:lnTo>
                <a:lnTo>
                  <a:pt x="16401" y="9417"/>
                </a:lnTo>
                <a:lnTo>
                  <a:pt x="16498" y="9417"/>
                </a:lnTo>
                <a:lnTo>
                  <a:pt x="16596" y="9393"/>
                </a:lnTo>
                <a:lnTo>
                  <a:pt x="16669" y="9320"/>
                </a:lnTo>
                <a:lnTo>
                  <a:pt x="16693" y="9223"/>
                </a:lnTo>
                <a:lnTo>
                  <a:pt x="16693" y="9101"/>
                </a:lnTo>
                <a:lnTo>
                  <a:pt x="16644" y="8882"/>
                </a:lnTo>
                <a:lnTo>
                  <a:pt x="16596" y="8760"/>
                </a:lnTo>
                <a:lnTo>
                  <a:pt x="16547" y="8639"/>
                </a:lnTo>
                <a:lnTo>
                  <a:pt x="16523" y="8590"/>
                </a:lnTo>
                <a:lnTo>
                  <a:pt x="16474" y="8541"/>
                </a:lnTo>
                <a:close/>
                <a:moveTo>
                  <a:pt x="2434" y="9077"/>
                </a:moveTo>
                <a:lnTo>
                  <a:pt x="2337" y="9101"/>
                </a:lnTo>
                <a:lnTo>
                  <a:pt x="2264" y="9125"/>
                </a:lnTo>
                <a:lnTo>
                  <a:pt x="2191" y="9198"/>
                </a:lnTo>
                <a:lnTo>
                  <a:pt x="2142" y="9271"/>
                </a:lnTo>
                <a:lnTo>
                  <a:pt x="2118" y="9369"/>
                </a:lnTo>
                <a:lnTo>
                  <a:pt x="2094" y="9515"/>
                </a:lnTo>
                <a:lnTo>
                  <a:pt x="2094" y="9612"/>
                </a:lnTo>
                <a:lnTo>
                  <a:pt x="2094" y="9685"/>
                </a:lnTo>
                <a:lnTo>
                  <a:pt x="2118" y="9782"/>
                </a:lnTo>
                <a:lnTo>
                  <a:pt x="2191" y="9831"/>
                </a:lnTo>
                <a:lnTo>
                  <a:pt x="2240" y="9879"/>
                </a:lnTo>
                <a:lnTo>
                  <a:pt x="2337" y="9904"/>
                </a:lnTo>
                <a:lnTo>
                  <a:pt x="2410" y="9879"/>
                </a:lnTo>
                <a:lnTo>
                  <a:pt x="2483" y="9831"/>
                </a:lnTo>
                <a:lnTo>
                  <a:pt x="2556" y="9733"/>
                </a:lnTo>
                <a:lnTo>
                  <a:pt x="2580" y="9612"/>
                </a:lnTo>
                <a:lnTo>
                  <a:pt x="2653" y="9417"/>
                </a:lnTo>
                <a:lnTo>
                  <a:pt x="2653" y="9320"/>
                </a:lnTo>
                <a:lnTo>
                  <a:pt x="2653" y="9247"/>
                </a:lnTo>
                <a:lnTo>
                  <a:pt x="2605" y="9174"/>
                </a:lnTo>
                <a:lnTo>
                  <a:pt x="2532" y="9125"/>
                </a:lnTo>
                <a:lnTo>
                  <a:pt x="2434" y="9077"/>
                </a:lnTo>
                <a:close/>
                <a:moveTo>
                  <a:pt x="9272" y="9296"/>
                </a:moveTo>
                <a:lnTo>
                  <a:pt x="9199" y="9344"/>
                </a:lnTo>
                <a:lnTo>
                  <a:pt x="9101" y="9417"/>
                </a:lnTo>
                <a:lnTo>
                  <a:pt x="9077" y="9539"/>
                </a:lnTo>
                <a:lnTo>
                  <a:pt x="9053" y="9661"/>
                </a:lnTo>
                <a:lnTo>
                  <a:pt x="9077" y="9782"/>
                </a:lnTo>
                <a:lnTo>
                  <a:pt x="9126" y="9904"/>
                </a:lnTo>
                <a:lnTo>
                  <a:pt x="9174" y="10001"/>
                </a:lnTo>
                <a:lnTo>
                  <a:pt x="9247" y="10123"/>
                </a:lnTo>
                <a:lnTo>
                  <a:pt x="9320" y="10196"/>
                </a:lnTo>
                <a:lnTo>
                  <a:pt x="9393" y="10220"/>
                </a:lnTo>
                <a:lnTo>
                  <a:pt x="9442" y="10220"/>
                </a:lnTo>
                <a:lnTo>
                  <a:pt x="9564" y="10196"/>
                </a:lnTo>
                <a:lnTo>
                  <a:pt x="9612" y="10147"/>
                </a:lnTo>
                <a:lnTo>
                  <a:pt x="9661" y="10123"/>
                </a:lnTo>
                <a:lnTo>
                  <a:pt x="9685" y="10050"/>
                </a:lnTo>
                <a:lnTo>
                  <a:pt x="9685" y="10001"/>
                </a:lnTo>
                <a:lnTo>
                  <a:pt x="9685" y="9904"/>
                </a:lnTo>
                <a:lnTo>
                  <a:pt x="9637" y="9806"/>
                </a:lnTo>
                <a:lnTo>
                  <a:pt x="9539" y="9636"/>
                </a:lnTo>
                <a:lnTo>
                  <a:pt x="9515" y="9515"/>
                </a:lnTo>
                <a:lnTo>
                  <a:pt x="9442" y="9393"/>
                </a:lnTo>
                <a:lnTo>
                  <a:pt x="9393" y="9344"/>
                </a:lnTo>
                <a:lnTo>
                  <a:pt x="9345" y="9320"/>
                </a:lnTo>
                <a:lnTo>
                  <a:pt x="9272" y="9296"/>
                </a:lnTo>
                <a:close/>
                <a:moveTo>
                  <a:pt x="16231" y="9855"/>
                </a:moveTo>
                <a:lnTo>
                  <a:pt x="16231" y="9879"/>
                </a:lnTo>
                <a:lnTo>
                  <a:pt x="16182" y="9904"/>
                </a:lnTo>
                <a:lnTo>
                  <a:pt x="16133" y="9952"/>
                </a:lnTo>
                <a:lnTo>
                  <a:pt x="16060" y="10098"/>
                </a:lnTo>
                <a:lnTo>
                  <a:pt x="16012" y="10293"/>
                </a:lnTo>
                <a:lnTo>
                  <a:pt x="16012" y="10390"/>
                </a:lnTo>
                <a:lnTo>
                  <a:pt x="16012" y="10463"/>
                </a:lnTo>
                <a:lnTo>
                  <a:pt x="16085" y="10561"/>
                </a:lnTo>
                <a:lnTo>
                  <a:pt x="16182" y="10634"/>
                </a:lnTo>
                <a:lnTo>
                  <a:pt x="16304" y="10634"/>
                </a:lnTo>
                <a:lnTo>
                  <a:pt x="16352" y="10609"/>
                </a:lnTo>
                <a:lnTo>
                  <a:pt x="16401" y="10561"/>
                </a:lnTo>
                <a:lnTo>
                  <a:pt x="16450" y="10488"/>
                </a:lnTo>
                <a:lnTo>
                  <a:pt x="16474" y="10415"/>
                </a:lnTo>
                <a:lnTo>
                  <a:pt x="16498" y="10244"/>
                </a:lnTo>
                <a:lnTo>
                  <a:pt x="16498" y="10147"/>
                </a:lnTo>
                <a:lnTo>
                  <a:pt x="16498" y="10050"/>
                </a:lnTo>
                <a:lnTo>
                  <a:pt x="16474" y="9952"/>
                </a:lnTo>
                <a:lnTo>
                  <a:pt x="16425" y="9879"/>
                </a:lnTo>
                <a:lnTo>
                  <a:pt x="16328" y="9855"/>
                </a:lnTo>
                <a:close/>
                <a:moveTo>
                  <a:pt x="2167" y="10244"/>
                </a:moveTo>
                <a:lnTo>
                  <a:pt x="2045" y="10269"/>
                </a:lnTo>
                <a:lnTo>
                  <a:pt x="1972" y="10317"/>
                </a:lnTo>
                <a:lnTo>
                  <a:pt x="1875" y="10463"/>
                </a:lnTo>
                <a:lnTo>
                  <a:pt x="1826" y="10634"/>
                </a:lnTo>
                <a:lnTo>
                  <a:pt x="1802" y="10804"/>
                </a:lnTo>
                <a:lnTo>
                  <a:pt x="1850" y="10926"/>
                </a:lnTo>
                <a:lnTo>
                  <a:pt x="1923" y="11023"/>
                </a:lnTo>
                <a:lnTo>
                  <a:pt x="1948" y="11072"/>
                </a:lnTo>
                <a:lnTo>
                  <a:pt x="2021" y="11096"/>
                </a:lnTo>
                <a:lnTo>
                  <a:pt x="2118" y="11096"/>
                </a:lnTo>
                <a:lnTo>
                  <a:pt x="2191" y="11072"/>
                </a:lnTo>
                <a:lnTo>
                  <a:pt x="2215" y="11023"/>
                </a:lnTo>
                <a:lnTo>
                  <a:pt x="2288" y="10950"/>
                </a:lnTo>
                <a:lnTo>
                  <a:pt x="2313" y="10877"/>
                </a:lnTo>
                <a:lnTo>
                  <a:pt x="2337" y="10780"/>
                </a:lnTo>
                <a:lnTo>
                  <a:pt x="2337" y="10755"/>
                </a:lnTo>
                <a:lnTo>
                  <a:pt x="2337" y="10731"/>
                </a:lnTo>
                <a:lnTo>
                  <a:pt x="2386" y="10658"/>
                </a:lnTo>
                <a:lnTo>
                  <a:pt x="2410" y="10561"/>
                </a:lnTo>
                <a:lnTo>
                  <a:pt x="2434" y="10488"/>
                </a:lnTo>
                <a:lnTo>
                  <a:pt x="2410" y="10390"/>
                </a:lnTo>
                <a:lnTo>
                  <a:pt x="2337" y="10317"/>
                </a:lnTo>
                <a:lnTo>
                  <a:pt x="2264" y="10269"/>
                </a:lnTo>
                <a:lnTo>
                  <a:pt x="2167" y="10244"/>
                </a:lnTo>
                <a:close/>
                <a:moveTo>
                  <a:pt x="9661" y="10512"/>
                </a:moveTo>
                <a:lnTo>
                  <a:pt x="9612" y="10536"/>
                </a:lnTo>
                <a:lnTo>
                  <a:pt x="9539" y="10609"/>
                </a:lnTo>
                <a:lnTo>
                  <a:pt x="9491" y="10658"/>
                </a:lnTo>
                <a:lnTo>
                  <a:pt x="9491" y="10731"/>
                </a:lnTo>
                <a:lnTo>
                  <a:pt x="9491" y="10877"/>
                </a:lnTo>
                <a:lnTo>
                  <a:pt x="9539" y="11023"/>
                </a:lnTo>
                <a:lnTo>
                  <a:pt x="9588" y="11169"/>
                </a:lnTo>
                <a:lnTo>
                  <a:pt x="9637" y="11242"/>
                </a:lnTo>
                <a:lnTo>
                  <a:pt x="9710" y="11315"/>
                </a:lnTo>
                <a:lnTo>
                  <a:pt x="9783" y="11339"/>
                </a:lnTo>
                <a:lnTo>
                  <a:pt x="9880" y="11339"/>
                </a:lnTo>
                <a:lnTo>
                  <a:pt x="9977" y="11291"/>
                </a:lnTo>
                <a:lnTo>
                  <a:pt x="10026" y="11218"/>
                </a:lnTo>
                <a:lnTo>
                  <a:pt x="10075" y="11120"/>
                </a:lnTo>
                <a:lnTo>
                  <a:pt x="10050" y="11023"/>
                </a:lnTo>
                <a:lnTo>
                  <a:pt x="10002" y="10877"/>
                </a:lnTo>
                <a:lnTo>
                  <a:pt x="9929" y="10731"/>
                </a:lnTo>
                <a:lnTo>
                  <a:pt x="9831" y="10609"/>
                </a:lnTo>
                <a:lnTo>
                  <a:pt x="9783" y="10561"/>
                </a:lnTo>
                <a:lnTo>
                  <a:pt x="9710" y="10536"/>
                </a:lnTo>
                <a:lnTo>
                  <a:pt x="9661" y="10512"/>
                </a:lnTo>
                <a:close/>
                <a:moveTo>
                  <a:pt x="15987" y="10999"/>
                </a:moveTo>
                <a:lnTo>
                  <a:pt x="15890" y="11047"/>
                </a:lnTo>
                <a:lnTo>
                  <a:pt x="15817" y="11120"/>
                </a:lnTo>
                <a:lnTo>
                  <a:pt x="15720" y="11291"/>
                </a:lnTo>
                <a:lnTo>
                  <a:pt x="15598" y="11461"/>
                </a:lnTo>
                <a:lnTo>
                  <a:pt x="15525" y="11631"/>
                </a:lnTo>
                <a:lnTo>
                  <a:pt x="15525" y="11729"/>
                </a:lnTo>
                <a:lnTo>
                  <a:pt x="15549" y="11802"/>
                </a:lnTo>
                <a:lnTo>
                  <a:pt x="15598" y="11850"/>
                </a:lnTo>
                <a:lnTo>
                  <a:pt x="15647" y="11899"/>
                </a:lnTo>
                <a:lnTo>
                  <a:pt x="15720" y="11948"/>
                </a:lnTo>
                <a:lnTo>
                  <a:pt x="15793" y="11948"/>
                </a:lnTo>
                <a:lnTo>
                  <a:pt x="15866" y="11923"/>
                </a:lnTo>
                <a:lnTo>
                  <a:pt x="15939" y="11875"/>
                </a:lnTo>
                <a:lnTo>
                  <a:pt x="16036" y="11704"/>
                </a:lnTo>
                <a:lnTo>
                  <a:pt x="16109" y="11510"/>
                </a:lnTo>
                <a:lnTo>
                  <a:pt x="16182" y="11315"/>
                </a:lnTo>
                <a:lnTo>
                  <a:pt x="16206" y="11218"/>
                </a:lnTo>
                <a:lnTo>
                  <a:pt x="16206" y="11120"/>
                </a:lnTo>
                <a:lnTo>
                  <a:pt x="16182" y="11047"/>
                </a:lnTo>
                <a:lnTo>
                  <a:pt x="16133" y="11023"/>
                </a:lnTo>
                <a:lnTo>
                  <a:pt x="16060" y="10999"/>
                </a:lnTo>
                <a:close/>
                <a:moveTo>
                  <a:pt x="1996" y="11437"/>
                </a:moveTo>
                <a:lnTo>
                  <a:pt x="1948" y="11461"/>
                </a:lnTo>
                <a:lnTo>
                  <a:pt x="1875" y="11485"/>
                </a:lnTo>
                <a:lnTo>
                  <a:pt x="1826" y="11558"/>
                </a:lnTo>
                <a:lnTo>
                  <a:pt x="1802" y="11607"/>
                </a:lnTo>
                <a:lnTo>
                  <a:pt x="1777" y="11680"/>
                </a:lnTo>
                <a:lnTo>
                  <a:pt x="1777" y="11826"/>
                </a:lnTo>
                <a:lnTo>
                  <a:pt x="1777" y="11899"/>
                </a:lnTo>
                <a:lnTo>
                  <a:pt x="1802" y="12021"/>
                </a:lnTo>
                <a:lnTo>
                  <a:pt x="1850" y="12094"/>
                </a:lnTo>
                <a:lnTo>
                  <a:pt x="1899" y="12142"/>
                </a:lnTo>
                <a:lnTo>
                  <a:pt x="1972" y="12167"/>
                </a:lnTo>
                <a:lnTo>
                  <a:pt x="2069" y="12167"/>
                </a:lnTo>
                <a:lnTo>
                  <a:pt x="2118" y="12142"/>
                </a:lnTo>
                <a:lnTo>
                  <a:pt x="2191" y="12094"/>
                </a:lnTo>
                <a:lnTo>
                  <a:pt x="2215" y="12021"/>
                </a:lnTo>
                <a:lnTo>
                  <a:pt x="2264" y="11875"/>
                </a:lnTo>
                <a:lnTo>
                  <a:pt x="2288" y="11753"/>
                </a:lnTo>
                <a:lnTo>
                  <a:pt x="2288" y="11680"/>
                </a:lnTo>
                <a:lnTo>
                  <a:pt x="2288" y="11607"/>
                </a:lnTo>
                <a:lnTo>
                  <a:pt x="2264" y="11534"/>
                </a:lnTo>
                <a:lnTo>
                  <a:pt x="2215" y="11485"/>
                </a:lnTo>
                <a:lnTo>
                  <a:pt x="2142" y="11437"/>
                </a:lnTo>
                <a:close/>
                <a:moveTo>
                  <a:pt x="10221" y="11753"/>
                </a:moveTo>
                <a:lnTo>
                  <a:pt x="10123" y="11802"/>
                </a:lnTo>
                <a:lnTo>
                  <a:pt x="10075" y="11875"/>
                </a:lnTo>
                <a:lnTo>
                  <a:pt x="10075" y="11996"/>
                </a:lnTo>
                <a:lnTo>
                  <a:pt x="10123" y="12094"/>
                </a:lnTo>
                <a:lnTo>
                  <a:pt x="10172" y="12191"/>
                </a:lnTo>
                <a:lnTo>
                  <a:pt x="10342" y="12337"/>
                </a:lnTo>
                <a:lnTo>
                  <a:pt x="10440" y="12410"/>
                </a:lnTo>
                <a:lnTo>
                  <a:pt x="10561" y="12483"/>
                </a:lnTo>
                <a:lnTo>
                  <a:pt x="10683" y="12532"/>
                </a:lnTo>
                <a:lnTo>
                  <a:pt x="10829" y="12532"/>
                </a:lnTo>
                <a:lnTo>
                  <a:pt x="10926" y="12507"/>
                </a:lnTo>
                <a:lnTo>
                  <a:pt x="10999" y="12459"/>
                </a:lnTo>
                <a:lnTo>
                  <a:pt x="11048" y="12386"/>
                </a:lnTo>
                <a:lnTo>
                  <a:pt x="11072" y="12313"/>
                </a:lnTo>
                <a:lnTo>
                  <a:pt x="11072" y="12240"/>
                </a:lnTo>
                <a:lnTo>
                  <a:pt x="11048" y="12167"/>
                </a:lnTo>
                <a:lnTo>
                  <a:pt x="10975" y="12094"/>
                </a:lnTo>
                <a:lnTo>
                  <a:pt x="10902" y="12045"/>
                </a:lnTo>
                <a:lnTo>
                  <a:pt x="10756" y="12021"/>
                </a:lnTo>
                <a:lnTo>
                  <a:pt x="10634" y="11948"/>
                </a:lnTo>
                <a:lnTo>
                  <a:pt x="10488" y="11826"/>
                </a:lnTo>
                <a:lnTo>
                  <a:pt x="10415" y="11777"/>
                </a:lnTo>
                <a:lnTo>
                  <a:pt x="10318" y="11753"/>
                </a:lnTo>
                <a:close/>
                <a:moveTo>
                  <a:pt x="15306" y="11996"/>
                </a:moveTo>
                <a:lnTo>
                  <a:pt x="15257" y="12045"/>
                </a:lnTo>
                <a:lnTo>
                  <a:pt x="15136" y="12167"/>
                </a:lnTo>
                <a:lnTo>
                  <a:pt x="15014" y="12288"/>
                </a:lnTo>
                <a:lnTo>
                  <a:pt x="14868" y="12386"/>
                </a:lnTo>
                <a:lnTo>
                  <a:pt x="14795" y="12434"/>
                </a:lnTo>
                <a:lnTo>
                  <a:pt x="14722" y="12483"/>
                </a:lnTo>
                <a:lnTo>
                  <a:pt x="14698" y="12532"/>
                </a:lnTo>
                <a:lnTo>
                  <a:pt x="14698" y="12605"/>
                </a:lnTo>
                <a:lnTo>
                  <a:pt x="14722" y="12653"/>
                </a:lnTo>
                <a:lnTo>
                  <a:pt x="14746" y="12678"/>
                </a:lnTo>
                <a:lnTo>
                  <a:pt x="14868" y="12726"/>
                </a:lnTo>
                <a:lnTo>
                  <a:pt x="14990" y="12726"/>
                </a:lnTo>
                <a:lnTo>
                  <a:pt x="15111" y="12702"/>
                </a:lnTo>
                <a:lnTo>
                  <a:pt x="15209" y="12629"/>
                </a:lnTo>
                <a:lnTo>
                  <a:pt x="15330" y="12556"/>
                </a:lnTo>
                <a:lnTo>
                  <a:pt x="15428" y="12483"/>
                </a:lnTo>
                <a:lnTo>
                  <a:pt x="15501" y="12386"/>
                </a:lnTo>
                <a:lnTo>
                  <a:pt x="15574" y="12288"/>
                </a:lnTo>
                <a:lnTo>
                  <a:pt x="15598" y="12215"/>
                </a:lnTo>
                <a:lnTo>
                  <a:pt x="15598" y="12142"/>
                </a:lnTo>
                <a:lnTo>
                  <a:pt x="15574" y="12094"/>
                </a:lnTo>
                <a:lnTo>
                  <a:pt x="15525" y="12045"/>
                </a:lnTo>
                <a:lnTo>
                  <a:pt x="15452" y="11996"/>
                </a:lnTo>
                <a:close/>
                <a:moveTo>
                  <a:pt x="14114" y="12605"/>
                </a:moveTo>
                <a:lnTo>
                  <a:pt x="14041" y="12629"/>
                </a:lnTo>
                <a:lnTo>
                  <a:pt x="13968" y="12678"/>
                </a:lnTo>
                <a:lnTo>
                  <a:pt x="13895" y="12726"/>
                </a:lnTo>
                <a:lnTo>
                  <a:pt x="13797" y="12751"/>
                </a:lnTo>
                <a:lnTo>
                  <a:pt x="13700" y="12751"/>
                </a:lnTo>
                <a:lnTo>
                  <a:pt x="13578" y="12775"/>
                </a:lnTo>
                <a:lnTo>
                  <a:pt x="13481" y="12848"/>
                </a:lnTo>
                <a:lnTo>
                  <a:pt x="13432" y="12872"/>
                </a:lnTo>
                <a:lnTo>
                  <a:pt x="13408" y="12921"/>
                </a:lnTo>
                <a:lnTo>
                  <a:pt x="13408" y="12970"/>
                </a:lnTo>
                <a:lnTo>
                  <a:pt x="13432" y="13018"/>
                </a:lnTo>
                <a:lnTo>
                  <a:pt x="13457" y="13091"/>
                </a:lnTo>
                <a:lnTo>
                  <a:pt x="13505" y="13116"/>
                </a:lnTo>
                <a:lnTo>
                  <a:pt x="13603" y="13164"/>
                </a:lnTo>
                <a:lnTo>
                  <a:pt x="13724" y="13189"/>
                </a:lnTo>
                <a:lnTo>
                  <a:pt x="13870" y="13189"/>
                </a:lnTo>
                <a:lnTo>
                  <a:pt x="14016" y="13164"/>
                </a:lnTo>
                <a:lnTo>
                  <a:pt x="14162" y="13091"/>
                </a:lnTo>
                <a:lnTo>
                  <a:pt x="14284" y="12994"/>
                </a:lnTo>
                <a:lnTo>
                  <a:pt x="14333" y="12945"/>
                </a:lnTo>
                <a:lnTo>
                  <a:pt x="14357" y="12872"/>
                </a:lnTo>
                <a:lnTo>
                  <a:pt x="14357" y="12799"/>
                </a:lnTo>
                <a:lnTo>
                  <a:pt x="14357" y="12726"/>
                </a:lnTo>
                <a:lnTo>
                  <a:pt x="14333" y="12678"/>
                </a:lnTo>
                <a:lnTo>
                  <a:pt x="14284" y="12653"/>
                </a:lnTo>
                <a:lnTo>
                  <a:pt x="14235" y="12605"/>
                </a:lnTo>
                <a:close/>
                <a:moveTo>
                  <a:pt x="6668" y="512"/>
                </a:moveTo>
                <a:lnTo>
                  <a:pt x="6887" y="755"/>
                </a:lnTo>
                <a:lnTo>
                  <a:pt x="7130" y="950"/>
                </a:lnTo>
                <a:lnTo>
                  <a:pt x="7398" y="1120"/>
                </a:lnTo>
                <a:lnTo>
                  <a:pt x="7666" y="1290"/>
                </a:lnTo>
                <a:lnTo>
                  <a:pt x="8250" y="1558"/>
                </a:lnTo>
                <a:lnTo>
                  <a:pt x="8834" y="1801"/>
                </a:lnTo>
                <a:lnTo>
                  <a:pt x="9320" y="2020"/>
                </a:lnTo>
                <a:lnTo>
                  <a:pt x="9807" y="2215"/>
                </a:lnTo>
                <a:lnTo>
                  <a:pt x="10780" y="2604"/>
                </a:lnTo>
                <a:lnTo>
                  <a:pt x="11194" y="2799"/>
                </a:lnTo>
                <a:lnTo>
                  <a:pt x="11559" y="3018"/>
                </a:lnTo>
                <a:lnTo>
                  <a:pt x="11729" y="3115"/>
                </a:lnTo>
                <a:lnTo>
                  <a:pt x="11924" y="3188"/>
                </a:lnTo>
                <a:lnTo>
                  <a:pt x="12094" y="3261"/>
                </a:lnTo>
                <a:lnTo>
                  <a:pt x="12240" y="3358"/>
                </a:lnTo>
                <a:lnTo>
                  <a:pt x="12264" y="3407"/>
                </a:lnTo>
                <a:lnTo>
                  <a:pt x="12313" y="3456"/>
                </a:lnTo>
                <a:lnTo>
                  <a:pt x="12410" y="3480"/>
                </a:lnTo>
                <a:lnTo>
                  <a:pt x="12435" y="3942"/>
                </a:lnTo>
                <a:lnTo>
                  <a:pt x="11851" y="3650"/>
                </a:lnTo>
                <a:lnTo>
                  <a:pt x="11389" y="3407"/>
                </a:lnTo>
                <a:lnTo>
                  <a:pt x="11170" y="3310"/>
                </a:lnTo>
                <a:lnTo>
                  <a:pt x="10926" y="3237"/>
                </a:lnTo>
                <a:lnTo>
                  <a:pt x="10878" y="3237"/>
                </a:lnTo>
                <a:lnTo>
                  <a:pt x="10853" y="3261"/>
                </a:lnTo>
                <a:lnTo>
                  <a:pt x="10853" y="3285"/>
                </a:lnTo>
                <a:lnTo>
                  <a:pt x="10853" y="3310"/>
                </a:lnTo>
                <a:lnTo>
                  <a:pt x="11024" y="3480"/>
                </a:lnTo>
                <a:lnTo>
                  <a:pt x="11218" y="3626"/>
                </a:lnTo>
                <a:lnTo>
                  <a:pt x="11608" y="3869"/>
                </a:lnTo>
                <a:lnTo>
                  <a:pt x="12045" y="4113"/>
                </a:lnTo>
                <a:lnTo>
                  <a:pt x="12459" y="4307"/>
                </a:lnTo>
                <a:lnTo>
                  <a:pt x="12483" y="4818"/>
                </a:lnTo>
                <a:lnTo>
                  <a:pt x="12337" y="4770"/>
                </a:lnTo>
                <a:lnTo>
                  <a:pt x="12216" y="4721"/>
                </a:lnTo>
                <a:lnTo>
                  <a:pt x="12021" y="4672"/>
                </a:lnTo>
                <a:lnTo>
                  <a:pt x="11729" y="4526"/>
                </a:lnTo>
                <a:lnTo>
                  <a:pt x="11413" y="4380"/>
                </a:lnTo>
                <a:lnTo>
                  <a:pt x="11218" y="4259"/>
                </a:lnTo>
                <a:lnTo>
                  <a:pt x="11121" y="4234"/>
                </a:lnTo>
                <a:lnTo>
                  <a:pt x="11024" y="4210"/>
                </a:lnTo>
                <a:lnTo>
                  <a:pt x="10975" y="4210"/>
                </a:lnTo>
                <a:lnTo>
                  <a:pt x="10951" y="4259"/>
                </a:lnTo>
                <a:lnTo>
                  <a:pt x="10951" y="4283"/>
                </a:lnTo>
                <a:lnTo>
                  <a:pt x="10951" y="4332"/>
                </a:lnTo>
                <a:lnTo>
                  <a:pt x="11024" y="4429"/>
                </a:lnTo>
                <a:lnTo>
                  <a:pt x="11121" y="4526"/>
                </a:lnTo>
                <a:lnTo>
                  <a:pt x="11218" y="4599"/>
                </a:lnTo>
                <a:lnTo>
                  <a:pt x="11340" y="4672"/>
                </a:lnTo>
                <a:lnTo>
                  <a:pt x="11608" y="4818"/>
                </a:lnTo>
                <a:lnTo>
                  <a:pt x="11826" y="4916"/>
                </a:lnTo>
                <a:lnTo>
                  <a:pt x="12143" y="5037"/>
                </a:lnTo>
                <a:lnTo>
                  <a:pt x="12313" y="5086"/>
                </a:lnTo>
                <a:lnTo>
                  <a:pt x="12410" y="5086"/>
                </a:lnTo>
                <a:lnTo>
                  <a:pt x="12483" y="5062"/>
                </a:lnTo>
                <a:lnTo>
                  <a:pt x="12483" y="5743"/>
                </a:lnTo>
                <a:lnTo>
                  <a:pt x="12289" y="5621"/>
                </a:lnTo>
                <a:lnTo>
                  <a:pt x="12094" y="5475"/>
                </a:lnTo>
                <a:lnTo>
                  <a:pt x="11608" y="5256"/>
                </a:lnTo>
                <a:lnTo>
                  <a:pt x="11194" y="5110"/>
                </a:lnTo>
                <a:lnTo>
                  <a:pt x="11024" y="5062"/>
                </a:lnTo>
                <a:lnTo>
                  <a:pt x="10926" y="5062"/>
                </a:lnTo>
                <a:lnTo>
                  <a:pt x="10902" y="5086"/>
                </a:lnTo>
                <a:lnTo>
                  <a:pt x="10878" y="5110"/>
                </a:lnTo>
                <a:lnTo>
                  <a:pt x="10951" y="5232"/>
                </a:lnTo>
                <a:lnTo>
                  <a:pt x="11024" y="5305"/>
                </a:lnTo>
                <a:lnTo>
                  <a:pt x="11121" y="5378"/>
                </a:lnTo>
                <a:lnTo>
                  <a:pt x="11267" y="5451"/>
                </a:lnTo>
                <a:lnTo>
                  <a:pt x="11535" y="5548"/>
                </a:lnTo>
                <a:lnTo>
                  <a:pt x="11754" y="5646"/>
                </a:lnTo>
                <a:lnTo>
                  <a:pt x="12094" y="5792"/>
                </a:lnTo>
                <a:lnTo>
                  <a:pt x="12240" y="5889"/>
                </a:lnTo>
                <a:lnTo>
                  <a:pt x="12386" y="6011"/>
                </a:lnTo>
                <a:lnTo>
                  <a:pt x="12483" y="6108"/>
                </a:lnTo>
                <a:lnTo>
                  <a:pt x="12483" y="6254"/>
                </a:lnTo>
                <a:lnTo>
                  <a:pt x="12337" y="6157"/>
                </a:lnTo>
                <a:lnTo>
                  <a:pt x="12191" y="6084"/>
                </a:lnTo>
                <a:lnTo>
                  <a:pt x="11899" y="5938"/>
                </a:lnTo>
                <a:lnTo>
                  <a:pt x="11705" y="5816"/>
                </a:lnTo>
                <a:lnTo>
                  <a:pt x="11510" y="5743"/>
                </a:lnTo>
                <a:lnTo>
                  <a:pt x="11291" y="5670"/>
                </a:lnTo>
                <a:lnTo>
                  <a:pt x="11194" y="5670"/>
                </a:lnTo>
                <a:lnTo>
                  <a:pt x="11097" y="5694"/>
                </a:lnTo>
                <a:lnTo>
                  <a:pt x="11072" y="5694"/>
                </a:lnTo>
                <a:lnTo>
                  <a:pt x="11072" y="5719"/>
                </a:lnTo>
                <a:lnTo>
                  <a:pt x="11145" y="5816"/>
                </a:lnTo>
                <a:lnTo>
                  <a:pt x="11218" y="5889"/>
                </a:lnTo>
                <a:lnTo>
                  <a:pt x="11413" y="6035"/>
                </a:lnTo>
                <a:lnTo>
                  <a:pt x="11826" y="6254"/>
                </a:lnTo>
                <a:lnTo>
                  <a:pt x="12143" y="6449"/>
                </a:lnTo>
                <a:lnTo>
                  <a:pt x="12289" y="6522"/>
                </a:lnTo>
                <a:lnTo>
                  <a:pt x="12459" y="6570"/>
                </a:lnTo>
                <a:lnTo>
                  <a:pt x="12459" y="6838"/>
                </a:lnTo>
                <a:lnTo>
                  <a:pt x="12459" y="6862"/>
                </a:lnTo>
                <a:lnTo>
                  <a:pt x="12337" y="6765"/>
                </a:lnTo>
                <a:lnTo>
                  <a:pt x="12216" y="6668"/>
                </a:lnTo>
                <a:lnTo>
                  <a:pt x="12094" y="6619"/>
                </a:lnTo>
                <a:lnTo>
                  <a:pt x="11924" y="6546"/>
                </a:lnTo>
                <a:lnTo>
                  <a:pt x="11729" y="6473"/>
                </a:lnTo>
                <a:lnTo>
                  <a:pt x="11486" y="6424"/>
                </a:lnTo>
                <a:lnTo>
                  <a:pt x="11267" y="6376"/>
                </a:lnTo>
                <a:lnTo>
                  <a:pt x="11072" y="6303"/>
                </a:lnTo>
                <a:lnTo>
                  <a:pt x="11048" y="6303"/>
                </a:lnTo>
                <a:lnTo>
                  <a:pt x="11048" y="6327"/>
                </a:lnTo>
                <a:lnTo>
                  <a:pt x="11145" y="6449"/>
                </a:lnTo>
                <a:lnTo>
                  <a:pt x="11267" y="6546"/>
                </a:lnTo>
                <a:lnTo>
                  <a:pt x="11389" y="6619"/>
                </a:lnTo>
                <a:lnTo>
                  <a:pt x="11535" y="6692"/>
                </a:lnTo>
                <a:lnTo>
                  <a:pt x="11948" y="6862"/>
                </a:lnTo>
                <a:lnTo>
                  <a:pt x="12143" y="6960"/>
                </a:lnTo>
                <a:lnTo>
                  <a:pt x="12216" y="7033"/>
                </a:lnTo>
                <a:lnTo>
                  <a:pt x="12289" y="7106"/>
                </a:lnTo>
                <a:lnTo>
                  <a:pt x="12362" y="7179"/>
                </a:lnTo>
                <a:lnTo>
                  <a:pt x="12459" y="7179"/>
                </a:lnTo>
                <a:lnTo>
                  <a:pt x="12459" y="7592"/>
                </a:lnTo>
                <a:lnTo>
                  <a:pt x="12264" y="7495"/>
                </a:lnTo>
                <a:lnTo>
                  <a:pt x="12070" y="7422"/>
                </a:lnTo>
                <a:lnTo>
                  <a:pt x="11802" y="7349"/>
                </a:lnTo>
                <a:lnTo>
                  <a:pt x="11389" y="7106"/>
                </a:lnTo>
                <a:lnTo>
                  <a:pt x="11121" y="7008"/>
                </a:lnTo>
                <a:lnTo>
                  <a:pt x="11024" y="6984"/>
                </a:lnTo>
                <a:lnTo>
                  <a:pt x="10999" y="6984"/>
                </a:lnTo>
                <a:lnTo>
                  <a:pt x="10975" y="7008"/>
                </a:lnTo>
                <a:lnTo>
                  <a:pt x="10975" y="7057"/>
                </a:lnTo>
                <a:lnTo>
                  <a:pt x="10975" y="7106"/>
                </a:lnTo>
                <a:lnTo>
                  <a:pt x="10999" y="7227"/>
                </a:lnTo>
                <a:lnTo>
                  <a:pt x="11097" y="7325"/>
                </a:lnTo>
                <a:lnTo>
                  <a:pt x="11194" y="7398"/>
                </a:lnTo>
                <a:lnTo>
                  <a:pt x="11437" y="7544"/>
                </a:lnTo>
                <a:lnTo>
                  <a:pt x="11632" y="7641"/>
                </a:lnTo>
                <a:lnTo>
                  <a:pt x="11997" y="7836"/>
                </a:lnTo>
                <a:lnTo>
                  <a:pt x="12240" y="7909"/>
                </a:lnTo>
                <a:lnTo>
                  <a:pt x="12362" y="7933"/>
                </a:lnTo>
                <a:lnTo>
                  <a:pt x="12459" y="7957"/>
                </a:lnTo>
                <a:lnTo>
                  <a:pt x="12459" y="8298"/>
                </a:lnTo>
                <a:lnTo>
                  <a:pt x="12216" y="8176"/>
                </a:lnTo>
                <a:lnTo>
                  <a:pt x="11972" y="8055"/>
                </a:lnTo>
                <a:lnTo>
                  <a:pt x="11754" y="7909"/>
                </a:lnTo>
                <a:lnTo>
                  <a:pt x="11535" y="7738"/>
                </a:lnTo>
                <a:lnTo>
                  <a:pt x="11413" y="7665"/>
                </a:lnTo>
                <a:lnTo>
                  <a:pt x="11291" y="7617"/>
                </a:lnTo>
                <a:lnTo>
                  <a:pt x="11170" y="7592"/>
                </a:lnTo>
                <a:lnTo>
                  <a:pt x="11048" y="7568"/>
                </a:lnTo>
                <a:lnTo>
                  <a:pt x="11048" y="7592"/>
                </a:lnTo>
                <a:lnTo>
                  <a:pt x="11024" y="7617"/>
                </a:lnTo>
                <a:lnTo>
                  <a:pt x="11072" y="7714"/>
                </a:lnTo>
                <a:lnTo>
                  <a:pt x="11145" y="7836"/>
                </a:lnTo>
                <a:lnTo>
                  <a:pt x="11243" y="7933"/>
                </a:lnTo>
                <a:lnTo>
                  <a:pt x="11364" y="8006"/>
                </a:lnTo>
                <a:lnTo>
                  <a:pt x="11583" y="8176"/>
                </a:lnTo>
                <a:lnTo>
                  <a:pt x="11802" y="8322"/>
                </a:lnTo>
                <a:lnTo>
                  <a:pt x="12118" y="8493"/>
                </a:lnTo>
                <a:lnTo>
                  <a:pt x="12289" y="8590"/>
                </a:lnTo>
                <a:lnTo>
                  <a:pt x="12459" y="8663"/>
                </a:lnTo>
                <a:lnTo>
                  <a:pt x="12483" y="9101"/>
                </a:lnTo>
                <a:lnTo>
                  <a:pt x="12435" y="9028"/>
                </a:lnTo>
                <a:lnTo>
                  <a:pt x="12386" y="8979"/>
                </a:lnTo>
                <a:lnTo>
                  <a:pt x="12216" y="8882"/>
                </a:lnTo>
                <a:lnTo>
                  <a:pt x="11899" y="8736"/>
                </a:lnTo>
                <a:lnTo>
                  <a:pt x="11559" y="8517"/>
                </a:lnTo>
                <a:lnTo>
                  <a:pt x="11364" y="8420"/>
                </a:lnTo>
                <a:lnTo>
                  <a:pt x="11291" y="8395"/>
                </a:lnTo>
                <a:lnTo>
                  <a:pt x="11194" y="8371"/>
                </a:lnTo>
                <a:lnTo>
                  <a:pt x="11170" y="8371"/>
                </a:lnTo>
                <a:lnTo>
                  <a:pt x="11170" y="8395"/>
                </a:lnTo>
                <a:lnTo>
                  <a:pt x="11194" y="8493"/>
                </a:lnTo>
                <a:lnTo>
                  <a:pt x="11218" y="8566"/>
                </a:lnTo>
                <a:lnTo>
                  <a:pt x="11364" y="8712"/>
                </a:lnTo>
                <a:lnTo>
                  <a:pt x="11535" y="8858"/>
                </a:lnTo>
                <a:lnTo>
                  <a:pt x="11681" y="8955"/>
                </a:lnTo>
                <a:lnTo>
                  <a:pt x="11851" y="9052"/>
                </a:lnTo>
                <a:lnTo>
                  <a:pt x="12070" y="9174"/>
                </a:lnTo>
                <a:lnTo>
                  <a:pt x="12167" y="9223"/>
                </a:lnTo>
                <a:lnTo>
                  <a:pt x="12264" y="9247"/>
                </a:lnTo>
                <a:lnTo>
                  <a:pt x="12362" y="9247"/>
                </a:lnTo>
                <a:lnTo>
                  <a:pt x="12459" y="9223"/>
                </a:lnTo>
                <a:lnTo>
                  <a:pt x="12483" y="9198"/>
                </a:lnTo>
                <a:lnTo>
                  <a:pt x="12508" y="10025"/>
                </a:lnTo>
                <a:lnTo>
                  <a:pt x="12386" y="9879"/>
                </a:lnTo>
                <a:lnTo>
                  <a:pt x="12240" y="9758"/>
                </a:lnTo>
                <a:lnTo>
                  <a:pt x="11924" y="9515"/>
                </a:lnTo>
                <a:lnTo>
                  <a:pt x="11608" y="9296"/>
                </a:lnTo>
                <a:lnTo>
                  <a:pt x="11267" y="9101"/>
                </a:lnTo>
                <a:lnTo>
                  <a:pt x="11243" y="9077"/>
                </a:lnTo>
                <a:lnTo>
                  <a:pt x="11218" y="9101"/>
                </a:lnTo>
                <a:lnTo>
                  <a:pt x="11218" y="9125"/>
                </a:lnTo>
                <a:lnTo>
                  <a:pt x="11218" y="9150"/>
                </a:lnTo>
                <a:lnTo>
                  <a:pt x="11340" y="9296"/>
                </a:lnTo>
                <a:lnTo>
                  <a:pt x="11462" y="9466"/>
                </a:lnTo>
                <a:lnTo>
                  <a:pt x="11608" y="9612"/>
                </a:lnTo>
                <a:lnTo>
                  <a:pt x="11754" y="9733"/>
                </a:lnTo>
                <a:lnTo>
                  <a:pt x="11924" y="9855"/>
                </a:lnTo>
                <a:lnTo>
                  <a:pt x="12094" y="9952"/>
                </a:lnTo>
                <a:lnTo>
                  <a:pt x="12289" y="10050"/>
                </a:lnTo>
                <a:lnTo>
                  <a:pt x="12459" y="10098"/>
                </a:lnTo>
                <a:lnTo>
                  <a:pt x="12508" y="10098"/>
                </a:lnTo>
                <a:lnTo>
                  <a:pt x="12508" y="10488"/>
                </a:lnTo>
                <a:lnTo>
                  <a:pt x="12289" y="10317"/>
                </a:lnTo>
                <a:lnTo>
                  <a:pt x="11802" y="10001"/>
                </a:lnTo>
                <a:lnTo>
                  <a:pt x="11608" y="9855"/>
                </a:lnTo>
                <a:lnTo>
                  <a:pt x="11486" y="9782"/>
                </a:lnTo>
                <a:lnTo>
                  <a:pt x="11389" y="9733"/>
                </a:lnTo>
                <a:lnTo>
                  <a:pt x="11364" y="9758"/>
                </a:lnTo>
                <a:lnTo>
                  <a:pt x="11364" y="9855"/>
                </a:lnTo>
                <a:lnTo>
                  <a:pt x="11389" y="9952"/>
                </a:lnTo>
                <a:lnTo>
                  <a:pt x="11437" y="10050"/>
                </a:lnTo>
                <a:lnTo>
                  <a:pt x="11510" y="10147"/>
                </a:lnTo>
                <a:lnTo>
                  <a:pt x="11681" y="10317"/>
                </a:lnTo>
                <a:lnTo>
                  <a:pt x="11851" y="10439"/>
                </a:lnTo>
                <a:lnTo>
                  <a:pt x="12094" y="10585"/>
                </a:lnTo>
                <a:lnTo>
                  <a:pt x="12313" y="10780"/>
                </a:lnTo>
                <a:lnTo>
                  <a:pt x="12410" y="10877"/>
                </a:lnTo>
                <a:lnTo>
                  <a:pt x="12508" y="10999"/>
                </a:lnTo>
                <a:lnTo>
                  <a:pt x="12483" y="11291"/>
                </a:lnTo>
                <a:lnTo>
                  <a:pt x="11875" y="10901"/>
                </a:lnTo>
                <a:lnTo>
                  <a:pt x="11705" y="10780"/>
                </a:lnTo>
                <a:lnTo>
                  <a:pt x="11535" y="10658"/>
                </a:lnTo>
                <a:lnTo>
                  <a:pt x="11462" y="10609"/>
                </a:lnTo>
                <a:lnTo>
                  <a:pt x="11364" y="10585"/>
                </a:lnTo>
                <a:lnTo>
                  <a:pt x="11267" y="10561"/>
                </a:lnTo>
                <a:lnTo>
                  <a:pt x="11145" y="10585"/>
                </a:lnTo>
                <a:lnTo>
                  <a:pt x="11121" y="10609"/>
                </a:lnTo>
                <a:lnTo>
                  <a:pt x="11145" y="10634"/>
                </a:lnTo>
                <a:lnTo>
                  <a:pt x="11291" y="10780"/>
                </a:lnTo>
                <a:lnTo>
                  <a:pt x="11413" y="10926"/>
                </a:lnTo>
                <a:lnTo>
                  <a:pt x="11535" y="11072"/>
                </a:lnTo>
                <a:lnTo>
                  <a:pt x="11705" y="11218"/>
                </a:lnTo>
                <a:lnTo>
                  <a:pt x="12070" y="11485"/>
                </a:lnTo>
                <a:lnTo>
                  <a:pt x="12483" y="11729"/>
                </a:lnTo>
                <a:lnTo>
                  <a:pt x="12459" y="12094"/>
                </a:lnTo>
                <a:lnTo>
                  <a:pt x="12191" y="11923"/>
                </a:lnTo>
                <a:lnTo>
                  <a:pt x="11948" y="11777"/>
                </a:lnTo>
                <a:lnTo>
                  <a:pt x="11559" y="11558"/>
                </a:lnTo>
                <a:lnTo>
                  <a:pt x="11170" y="11388"/>
                </a:lnTo>
                <a:lnTo>
                  <a:pt x="11145" y="11388"/>
                </a:lnTo>
                <a:lnTo>
                  <a:pt x="11145" y="11485"/>
                </a:lnTo>
                <a:lnTo>
                  <a:pt x="11170" y="11558"/>
                </a:lnTo>
                <a:lnTo>
                  <a:pt x="11243" y="11704"/>
                </a:lnTo>
                <a:lnTo>
                  <a:pt x="11364" y="11850"/>
                </a:lnTo>
                <a:lnTo>
                  <a:pt x="11510" y="11948"/>
                </a:lnTo>
                <a:lnTo>
                  <a:pt x="11754" y="12118"/>
                </a:lnTo>
                <a:lnTo>
                  <a:pt x="12021" y="12288"/>
                </a:lnTo>
                <a:lnTo>
                  <a:pt x="12216" y="12434"/>
                </a:lnTo>
                <a:lnTo>
                  <a:pt x="12435" y="12556"/>
                </a:lnTo>
                <a:lnTo>
                  <a:pt x="12435" y="12799"/>
                </a:lnTo>
                <a:lnTo>
                  <a:pt x="12337" y="12824"/>
                </a:lnTo>
                <a:lnTo>
                  <a:pt x="12264" y="12848"/>
                </a:lnTo>
                <a:lnTo>
                  <a:pt x="12143" y="12775"/>
                </a:lnTo>
                <a:lnTo>
                  <a:pt x="11972" y="12629"/>
                </a:lnTo>
                <a:lnTo>
                  <a:pt x="11802" y="12507"/>
                </a:lnTo>
                <a:lnTo>
                  <a:pt x="11632" y="12361"/>
                </a:lnTo>
                <a:lnTo>
                  <a:pt x="11462" y="12240"/>
                </a:lnTo>
                <a:lnTo>
                  <a:pt x="11413" y="12240"/>
                </a:lnTo>
                <a:lnTo>
                  <a:pt x="11413" y="12288"/>
                </a:lnTo>
                <a:lnTo>
                  <a:pt x="11413" y="12361"/>
                </a:lnTo>
                <a:lnTo>
                  <a:pt x="11413" y="12434"/>
                </a:lnTo>
                <a:lnTo>
                  <a:pt x="11486" y="12605"/>
                </a:lnTo>
                <a:lnTo>
                  <a:pt x="11389" y="12605"/>
                </a:lnTo>
                <a:lnTo>
                  <a:pt x="11267" y="12653"/>
                </a:lnTo>
                <a:lnTo>
                  <a:pt x="11243" y="12678"/>
                </a:lnTo>
                <a:lnTo>
                  <a:pt x="11218" y="12726"/>
                </a:lnTo>
                <a:lnTo>
                  <a:pt x="11218" y="12775"/>
                </a:lnTo>
                <a:lnTo>
                  <a:pt x="11218" y="12848"/>
                </a:lnTo>
                <a:lnTo>
                  <a:pt x="11291" y="12921"/>
                </a:lnTo>
                <a:lnTo>
                  <a:pt x="11364" y="12994"/>
                </a:lnTo>
                <a:lnTo>
                  <a:pt x="11486" y="13043"/>
                </a:lnTo>
                <a:lnTo>
                  <a:pt x="11583" y="13091"/>
                </a:lnTo>
                <a:lnTo>
                  <a:pt x="11705" y="13140"/>
                </a:lnTo>
                <a:lnTo>
                  <a:pt x="11802" y="13140"/>
                </a:lnTo>
                <a:lnTo>
                  <a:pt x="11924" y="13116"/>
                </a:lnTo>
                <a:lnTo>
                  <a:pt x="12021" y="13067"/>
                </a:lnTo>
                <a:lnTo>
                  <a:pt x="12240" y="13189"/>
                </a:lnTo>
                <a:lnTo>
                  <a:pt x="12410" y="13335"/>
                </a:lnTo>
                <a:lnTo>
                  <a:pt x="12386" y="13602"/>
                </a:lnTo>
                <a:lnTo>
                  <a:pt x="11802" y="13286"/>
                </a:lnTo>
                <a:lnTo>
                  <a:pt x="11510" y="13140"/>
                </a:lnTo>
                <a:lnTo>
                  <a:pt x="11194" y="13018"/>
                </a:lnTo>
                <a:lnTo>
                  <a:pt x="11170" y="13018"/>
                </a:lnTo>
                <a:lnTo>
                  <a:pt x="11145" y="13116"/>
                </a:lnTo>
                <a:lnTo>
                  <a:pt x="11170" y="13213"/>
                </a:lnTo>
                <a:lnTo>
                  <a:pt x="11218" y="13286"/>
                </a:lnTo>
                <a:lnTo>
                  <a:pt x="11291" y="13359"/>
                </a:lnTo>
                <a:lnTo>
                  <a:pt x="11437" y="13456"/>
                </a:lnTo>
                <a:lnTo>
                  <a:pt x="11608" y="13529"/>
                </a:lnTo>
                <a:lnTo>
                  <a:pt x="11802" y="13651"/>
                </a:lnTo>
                <a:lnTo>
                  <a:pt x="11997" y="13773"/>
                </a:lnTo>
                <a:lnTo>
                  <a:pt x="12191" y="13894"/>
                </a:lnTo>
                <a:lnTo>
                  <a:pt x="12386" y="14016"/>
                </a:lnTo>
                <a:lnTo>
                  <a:pt x="12386" y="14332"/>
                </a:lnTo>
                <a:lnTo>
                  <a:pt x="11851" y="13943"/>
                </a:lnTo>
                <a:lnTo>
                  <a:pt x="11705" y="13846"/>
                </a:lnTo>
                <a:lnTo>
                  <a:pt x="11510" y="13724"/>
                </a:lnTo>
                <a:lnTo>
                  <a:pt x="11413" y="13700"/>
                </a:lnTo>
                <a:lnTo>
                  <a:pt x="11316" y="13675"/>
                </a:lnTo>
                <a:lnTo>
                  <a:pt x="11218" y="13675"/>
                </a:lnTo>
                <a:lnTo>
                  <a:pt x="11121" y="13700"/>
                </a:lnTo>
                <a:lnTo>
                  <a:pt x="11121" y="13724"/>
                </a:lnTo>
                <a:lnTo>
                  <a:pt x="11121" y="13748"/>
                </a:lnTo>
                <a:lnTo>
                  <a:pt x="11145" y="13821"/>
                </a:lnTo>
                <a:lnTo>
                  <a:pt x="11218" y="13919"/>
                </a:lnTo>
                <a:lnTo>
                  <a:pt x="11364" y="14040"/>
                </a:lnTo>
                <a:lnTo>
                  <a:pt x="11729" y="14284"/>
                </a:lnTo>
                <a:lnTo>
                  <a:pt x="12045" y="14551"/>
                </a:lnTo>
                <a:lnTo>
                  <a:pt x="12191" y="14673"/>
                </a:lnTo>
                <a:lnTo>
                  <a:pt x="12386" y="14795"/>
                </a:lnTo>
                <a:lnTo>
                  <a:pt x="12386" y="15281"/>
                </a:lnTo>
                <a:lnTo>
                  <a:pt x="12289" y="15184"/>
                </a:lnTo>
                <a:lnTo>
                  <a:pt x="12167" y="15087"/>
                </a:lnTo>
                <a:lnTo>
                  <a:pt x="12021" y="14916"/>
                </a:lnTo>
                <a:lnTo>
                  <a:pt x="11851" y="14746"/>
                </a:lnTo>
                <a:lnTo>
                  <a:pt x="11656" y="14600"/>
                </a:lnTo>
                <a:lnTo>
                  <a:pt x="11413" y="14503"/>
                </a:lnTo>
                <a:lnTo>
                  <a:pt x="11170" y="14430"/>
                </a:lnTo>
                <a:lnTo>
                  <a:pt x="10926" y="14430"/>
                </a:lnTo>
                <a:lnTo>
                  <a:pt x="10902" y="14454"/>
                </a:lnTo>
                <a:lnTo>
                  <a:pt x="10902" y="14478"/>
                </a:lnTo>
                <a:lnTo>
                  <a:pt x="10975" y="14551"/>
                </a:lnTo>
                <a:lnTo>
                  <a:pt x="11024" y="14600"/>
                </a:lnTo>
                <a:lnTo>
                  <a:pt x="11194" y="14697"/>
                </a:lnTo>
                <a:lnTo>
                  <a:pt x="11462" y="14892"/>
                </a:lnTo>
                <a:lnTo>
                  <a:pt x="11608" y="14989"/>
                </a:lnTo>
                <a:lnTo>
                  <a:pt x="11729" y="15111"/>
                </a:lnTo>
                <a:lnTo>
                  <a:pt x="11875" y="15281"/>
                </a:lnTo>
                <a:lnTo>
                  <a:pt x="12021" y="15452"/>
                </a:lnTo>
                <a:lnTo>
                  <a:pt x="12118" y="15525"/>
                </a:lnTo>
                <a:lnTo>
                  <a:pt x="12191" y="15573"/>
                </a:lnTo>
                <a:lnTo>
                  <a:pt x="12313" y="15622"/>
                </a:lnTo>
                <a:lnTo>
                  <a:pt x="12410" y="15646"/>
                </a:lnTo>
                <a:lnTo>
                  <a:pt x="12435" y="16133"/>
                </a:lnTo>
                <a:lnTo>
                  <a:pt x="12386" y="16133"/>
                </a:lnTo>
                <a:lnTo>
                  <a:pt x="12362" y="16084"/>
                </a:lnTo>
                <a:lnTo>
                  <a:pt x="12240" y="15963"/>
                </a:lnTo>
                <a:lnTo>
                  <a:pt x="12070" y="15841"/>
                </a:lnTo>
                <a:lnTo>
                  <a:pt x="11754" y="15622"/>
                </a:lnTo>
                <a:lnTo>
                  <a:pt x="11413" y="15354"/>
                </a:lnTo>
                <a:lnTo>
                  <a:pt x="11243" y="15233"/>
                </a:lnTo>
                <a:lnTo>
                  <a:pt x="11072" y="15160"/>
                </a:lnTo>
                <a:lnTo>
                  <a:pt x="11048" y="15160"/>
                </a:lnTo>
                <a:lnTo>
                  <a:pt x="11024" y="15184"/>
                </a:lnTo>
                <a:lnTo>
                  <a:pt x="11048" y="15281"/>
                </a:lnTo>
                <a:lnTo>
                  <a:pt x="11072" y="15354"/>
                </a:lnTo>
                <a:lnTo>
                  <a:pt x="11170" y="15500"/>
                </a:lnTo>
                <a:lnTo>
                  <a:pt x="11291" y="15622"/>
                </a:lnTo>
                <a:lnTo>
                  <a:pt x="11437" y="15744"/>
                </a:lnTo>
                <a:lnTo>
                  <a:pt x="11218" y="15646"/>
                </a:lnTo>
                <a:lnTo>
                  <a:pt x="9564" y="14916"/>
                </a:lnTo>
                <a:lnTo>
                  <a:pt x="8055" y="14259"/>
                </a:lnTo>
                <a:lnTo>
                  <a:pt x="7301" y="13894"/>
                </a:lnTo>
                <a:lnTo>
                  <a:pt x="7130" y="13797"/>
                </a:lnTo>
                <a:lnTo>
                  <a:pt x="6863" y="13675"/>
                </a:lnTo>
                <a:lnTo>
                  <a:pt x="6863" y="13602"/>
                </a:lnTo>
                <a:lnTo>
                  <a:pt x="6814" y="12775"/>
                </a:lnTo>
                <a:lnTo>
                  <a:pt x="6765" y="11972"/>
                </a:lnTo>
                <a:lnTo>
                  <a:pt x="6692" y="11145"/>
                </a:lnTo>
                <a:lnTo>
                  <a:pt x="6668" y="10317"/>
                </a:lnTo>
                <a:lnTo>
                  <a:pt x="6668" y="9393"/>
                </a:lnTo>
                <a:lnTo>
                  <a:pt x="6692" y="8493"/>
                </a:lnTo>
                <a:lnTo>
                  <a:pt x="6717" y="7568"/>
                </a:lnTo>
                <a:lnTo>
                  <a:pt x="6717" y="6643"/>
                </a:lnTo>
                <a:lnTo>
                  <a:pt x="6717" y="5889"/>
                </a:lnTo>
                <a:lnTo>
                  <a:pt x="6863" y="5913"/>
                </a:lnTo>
                <a:lnTo>
                  <a:pt x="6936" y="5938"/>
                </a:lnTo>
                <a:lnTo>
                  <a:pt x="7033" y="5962"/>
                </a:lnTo>
                <a:lnTo>
                  <a:pt x="7130" y="5938"/>
                </a:lnTo>
                <a:lnTo>
                  <a:pt x="7228" y="5865"/>
                </a:lnTo>
                <a:lnTo>
                  <a:pt x="7252" y="5816"/>
                </a:lnTo>
                <a:lnTo>
                  <a:pt x="7276" y="5767"/>
                </a:lnTo>
                <a:lnTo>
                  <a:pt x="7276" y="5670"/>
                </a:lnTo>
                <a:lnTo>
                  <a:pt x="7252" y="5573"/>
                </a:lnTo>
                <a:lnTo>
                  <a:pt x="7179" y="5500"/>
                </a:lnTo>
                <a:lnTo>
                  <a:pt x="7082" y="5451"/>
                </a:lnTo>
                <a:lnTo>
                  <a:pt x="7033" y="5427"/>
                </a:lnTo>
                <a:lnTo>
                  <a:pt x="6960" y="5402"/>
                </a:lnTo>
                <a:lnTo>
                  <a:pt x="6887" y="5427"/>
                </a:lnTo>
                <a:lnTo>
                  <a:pt x="6814" y="5451"/>
                </a:lnTo>
                <a:lnTo>
                  <a:pt x="6790" y="5451"/>
                </a:lnTo>
                <a:lnTo>
                  <a:pt x="6692" y="5500"/>
                </a:lnTo>
                <a:lnTo>
                  <a:pt x="6644" y="3018"/>
                </a:lnTo>
                <a:lnTo>
                  <a:pt x="6644" y="1752"/>
                </a:lnTo>
                <a:lnTo>
                  <a:pt x="6668" y="512"/>
                </a:lnTo>
                <a:close/>
                <a:moveTo>
                  <a:pt x="6206" y="585"/>
                </a:moveTo>
                <a:lnTo>
                  <a:pt x="6181" y="852"/>
                </a:lnTo>
                <a:lnTo>
                  <a:pt x="6181" y="1096"/>
                </a:lnTo>
                <a:lnTo>
                  <a:pt x="6181" y="1874"/>
                </a:lnTo>
                <a:lnTo>
                  <a:pt x="6181" y="2653"/>
                </a:lnTo>
                <a:lnTo>
                  <a:pt x="6181" y="3602"/>
                </a:lnTo>
                <a:lnTo>
                  <a:pt x="6181" y="4551"/>
                </a:lnTo>
                <a:lnTo>
                  <a:pt x="6230" y="6449"/>
                </a:lnTo>
                <a:lnTo>
                  <a:pt x="6230" y="7373"/>
                </a:lnTo>
                <a:lnTo>
                  <a:pt x="6206" y="8298"/>
                </a:lnTo>
                <a:lnTo>
                  <a:pt x="6181" y="9198"/>
                </a:lnTo>
                <a:lnTo>
                  <a:pt x="6133" y="10123"/>
                </a:lnTo>
                <a:lnTo>
                  <a:pt x="6157" y="10926"/>
                </a:lnTo>
                <a:lnTo>
                  <a:pt x="6206" y="11729"/>
                </a:lnTo>
                <a:lnTo>
                  <a:pt x="6254" y="12532"/>
                </a:lnTo>
                <a:lnTo>
                  <a:pt x="6279" y="13335"/>
                </a:lnTo>
                <a:lnTo>
                  <a:pt x="6206" y="13359"/>
                </a:lnTo>
                <a:lnTo>
                  <a:pt x="5451" y="13748"/>
                </a:lnTo>
                <a:lnTo>
                  <a:pt x="4721" y="14186"/>
                </a:lnTo>
                <a:lnTo>
                  <a:pt x="3262" y="15087"/>
                </a:lnTo>
                <a:lnTo>
                  <a:pt x="2897" y="15281"/>
                </a:lnTo>
                <a:lnTo>
                  <a:pt x="2532" y="15476"/>
                </a:lnTo>
                <a:lnTo>
                  <a:pt x="2142" y="15671"/>
                </a:lnTo>
                <a:lnTo>
                  <a:pt x="1753" y="15841"/>
                </a:lnTo>
                <a:lnTo>
                  <a:pt x="950" y="16133"/>
                </a:lnTo>
                <a:lnTo>
                  <a:pt x="634" y="16255"/>
                </a:lnTo>
                <a:lnTo>
                  <a:pt x="634" y="16279"/>
                </a:lnTo>
                <a:lnTo>
                  <a:pt x="585" y="15938"/>
                </a:lnTo>
                <a:lnTo>
                  <a:pt x="561" y="15573"/>
                </a:lnTo>
                <a:lnTo>
                  <a:pt x="536" y="15208"/>
                </a:lnTo>
                <a:lnTo>
                  <a:pt x="512" y="14868"/>
                </a:lnTo>
                <a:lnTo>
                  <a:pt x="439" y="14430"/>
                </a:lnTo>
                <a:lnTo>
                  <a:pt x="415" y="13992"/>
                </a:lnTo>
                <a:lnTo>
                  <a:pt x="415" y="13578"/>
                </a:lnTo>
                <a:lnTo>
                  <a:pt x="439" y="13140"/>
                </a:lnTo>
                <a:lnTo>
                  <a:pt x="512" y="11461"/>
                </a:lnTo>
                <a:lnTo>
                  <a:pt x="561" y="10634"/>
                </a:lnTo>
                <a:lnTo>
                  <a:pt x="585" y="9782"/>
                </a:lnTo>
                <a:lnTo>
                  <a:pt x="609" y="8225"/>
                </a:lnTo>
                <a:lnTo>
                  <a:pt x="609" y="6668"/>
                </a:lnTo>
                <a:lnTo>
                  <a:pt x="561" y="5110"/>
                </a:lnTo>
                <a:lnTo>
                  <a:pt x="536" y="4356"/>
                </a:lnTo>
                <a:lnTo>
                  <a:pt x="488" y="3577"/>
                </a:lnTo>
                <a:lnTo>
                  <a:pt x="609" y="3504"/>
                </a:lnTo>
                <a:lnTo>
                  <a:pt x="755" y="3407"/>
                </a:lnTo>
                <a:lnTo>
                  <a:pt x="1145" y="3164"/>
                </a:lnTo>
                <a:lnTo>
                  <a:pt x="1558" y="2920"/>
                </a:lnTo>
                <a:lnTo>
                  <a:pt x="2337" y="2507"/>
                </a:lnTo>
                <a:lnTo>
                  <a:pt x="3116" y="2093"/>
                </a:lnTo>
                <a:lnTo>
                  <a:pt x="3529" y="1850"/>
                </a:lnTo>
                <a:lnTo>
                  <a:pt x="3967" y="1655"/>
                </a:lnTo>
                <a:lnTo>
                  <a:pt x="4405" y="1461"/>
                </a:lnTo>
                <a:lnTo>
                  <a:pt x="4843" y="1290"/>
                </a:lnTo>
                <a:lnTo>
                  <a:pt x="5208" y="1144"/>
                </a:lnTo>
                <a:lnTo>
                  <a:pt x="5549" y="974"/>
                </a:lnTo>
                <a:lnTo>
                  <a:pt x="6206" y="585"/>
                </a:lnTo>
                <a:close/>
                <a:moveTo>
                  <a:pt x="18542" y="804"/>
                </a:moveTo>
                <a:lnTo>
                  <a:pt x="18518" y="1023"/>
                </a:lnTo>
                <a:lnTo>
                  <a:pt x="18518" y="1266"/>
                </a:lnTo>
                <a:lnTo>
                  <a:pt x="18518" y="1752"/>
                </a:lnTo>
                <a:lnTo>
                  <a:pt x="18567" y="2263"/>
                </a:lnTo>
                <a:lnTo>
                  <a:pt x="18567" y="2726"/>
                </a:lnTo>
                <a:lnTo>
                  <a:pt x="18542" y="4648"/>
                </a:lnTo>
                <a:lnTo>
                  <a:pt x="18494" y="6546"/>
                </a:lnTo>
                <a:lnTo>
                  <a:pt x="18469" y="8249"/>
                </a:lnTo>
                <a:lnTo>
                  <a:pt x="18494" y="9952"/>
                </a:lnTo>
                <a:lnTo>
                  <a:pt x="18567" y="13359"/>
                </a:lnTo>
                <a:lnTo>
                  <a:pt x="18542" y="13359"/>
                </a:lnTo>
                <a:lnTo>
                  <a:pt x="18396" y="13505"/>
                </a:lnTo>
                <a:lnTo>
                  <a:pt x="18226" y="13651"/>
                </a:lnTo>
                <a:lnTo>
                  <a:pt x="18031" y="13748"/>
                </a:lnTo>
                <a:lnTo>
                  <a:pt x="17837" y="13846"/>
                </a:lnTo>
                <a:lnTo>
                  <a:pt x="17423" y="14016"/>
                </a:lnTo>
                <a:lnTo>
                  <a:pt x="17009" y="14186"/>
                </a:lnTo>
                <a:lnTo>
                  <a:pt x="16474" y="14454"/>
                </a:lnTo>
                <a:lnTo>
                  <a:pt x="15963" y="14746"/>
                </a:lnTo>
                <a:lnTo>
                  <a:pt x="15452" y="15038"/>
                </a:lnTo>
                <a:lnTo>
                  <a:pt x="14941" y="15330"/>
                </a:lnTo>
                <a:lnTo>
                  <a:pt x="14479" y="15598"/>
                </a:lnTo>
                <a:lnTo>
                  <a:pt x="14016" y="15865"/>
                </a:lnTo>
                <a:lnTo>
                  <a:pt x="13773" y="15987"/>
                </a:lnTo>
                <a:lnTo>
                  <a:pt x="13530" y="16109"/>
                </a:lnTo>
                <a:lnTo>
                  <a:pt x="13286" y="16182"/>
                </a:lnTo>
                <a:lnTo>
                  <a:pt x="13043" y="16255"/>
                </a:lnTo>
                <a:lnTo>
                  <a:pt x="12921" y="16303"/>
                </a:lnTo>
                <a:lnTo>
                  <a:pt x="12921" y="15987"/>
                </a:lnTo>
                <a:lnTo>
                  <a:pt x="12897" y="15671"/>
                </a:lnTo>
                <a:lnTo>
                  <a:pt x="12873" y="15379"/>
                </a:lnTo>
                <a:lnTo>
                  <a:pt x="12848" y="15062"/>
                </a:lnTo>
                <a:lnTo>
                  <a:pt x="12824" y="14770"/>
                </a:lnTo>
                <a:lnTo>
                  <a:pt x="12824" y="14016"/>
                </a:lnTo>
                <a:lnTo>
                  <a:pt x="12848" y="13943"/>
                </a:lnTo>
                <a:lnTo>
                  <a:pt x="12848" y="13894"/>
                </a:lnTo>
                <a:lnTo>
                  <a:pt x="12848" y="13359"/>
                </a:lnTo>
                <a:lnTo>
                  <a:pt x="12946" y="13335"/>
                </a:lnTo>
                <a:lnTo>
                  <a:pt x="13019" y="13310"/>
                </a:lnTo>
                <a:lnTo>
                  <a:pt x="13092" y="13262"/>
                </a:lnTo>
                <a:lnTo>
                  <a:pt x="13140" y="13213"/>
                </a:lnTo>
                <a:lnTo>
                  <a:pt x="13165" y="13116"/>
                </a:lnTo>
                <a:lnTo>
                  <a:pt x="13165" y="13018"/>
                </a:lnTo>
                <a:lnTo>
                  <a:pt x="13116" y="12921"/>
                </a:lnTo>
                <a:lnTo>
                  <a:pt x="13043" y="12872"/>
                </a:lnTo>
                <a:lnTo>
                  <a:pt x="12970" y="12848"/>
                </a:lnTo>
                <a:lnTo>
                  <a:pt x="12873" y="12848"/>
                </a:lnTo>
                <a:lnTo>
                  <a:pt x="12921" y="11826"/>
                </a:lnTo>
                <a:lnTo>
                  <a:pt x="12970" y="10804"/>
                </a:lnTo>
                <a:lnTo>
                  <a:pt x="12970" y="9806"/>
                </a:lnTo>
                <a:lnTo>
                  <a:pt x="12946" y="8809"/>
                </a:lnTo>
                <a:lnTo>
                  <a:pt x="12897" y="7836"/>
                </a:lnTo>
                <a:lnTo>
                  <a:pt x="12897" y="6838"/>
                </a:lnTo>
                <a:lnTo>
                  <a:pt x="12946" y="5986"/>
                </a:lnTo>
                <a:lnTo>
                  <a:pt x="12970" y="5110"/>
                </a:lnTo>
                <a:lnTo>
                  <a:pt x="12970" y="4672"/>
                </a:lnTo>
                <a:lnTo>
                  <a:pt x="12946" y="4234"/>
                </a:lnTo>
                <a:lnTo>
                  <a:pt x="12897" y="3821"/>
                </a:lnTo>
                <a:lnTo>
                  <a:pt x="12800" y="3383"/>
                </a:lnTo>
                <a:lnTo>
                  <a:pt x="13067" y="3285"/>
                </a:lnTo>
                <a:lnTo>
                  <a:pt x="13335" y="3164"/>
                </a:lnTo>
                <a:lnTo>
                  <a:pt x="13603" y="3042"/>
                </a:lnTo>
                <a:lnTo>
                  <a:pt x="13870" y="2920"/>
                </a:lnTo>
                <a:lnTo>
                  <a:pt x="14235" y="2750"/>
                </a:lnTo>
                <a:lnTo>
                  <a:pt x="14600" y="2555"/>
                </a:lnTo>
                <a:lnTo>
                  <a:pt x="15306" y="2142"/>
                </a:lnTo>
                <a:lnTo>
                  <a:pt x="15963" y="1752"/>
                </a:lnTo>
                <a:lnTo>
                  <a:pt x="16304" y="1558"/>
                </a:lnTo>
                <a:lnTo>
                  <a:pt x="16644" y="1388"/>
                </a:lnTo>
                <a:lnTo>
                  <a:pt x="17009" y="1242"/>
                </a:lnTo>
                <a:lnTo>
                  <a:pt x="17350" y="1096"/>
                </a:lnTo>
                <a:lnTo>
                  <a:pt x="17715" y="974"/>
                </a:lnTo>
                <a:lnTo>
                  <a:pt x="18104" y="877"/>
                </a:lnTo>
                <a:lnTo>
                  <a:pt x="18153" y="877"/>
                </a:lnTo>
                <a:lnTo>
                  <a:pt x="18202" y="828"/>
                </a:lnTo>
                <a:lnTo>
                  <a:pt x="18372" y="828"/>
                </a:lnTo>
                <a:lnTo>
                  <a:pt x="18542" y="804"/>
                </a:lnTo>
                <a:close/>
                <a:moveTo>
                  <a:pt x="6279" y="1"/>
                </a:moveTo>
                <a:lnTo>
                  <a:pt x="6206" y="25"/>
                </a:lnTo>
                <a:lnTo>
                  <a:pt x="5403" y="487"/>
                </a:lnTo>
                <a:lnTo>
                  <a:pt x="4989" y="682"/>
                </a:lnTo>
                <a:lnTo>
                  <a:pt x="4551" y="852"/>
                </a:lnTo>
                <a:lnTo>
                  <a:pt x="4113" y="1023"/>
                </a:lnTo>
                <a:lnTo>
                  <a:pt x="3700" y="1217"/>
                </a:lnTo>
                <a:lnTo>
                  <a:pt x="3286" y="1436"/>
                </a:lnTo>
                <a:lnTo>
                  <a:pt x="2872" y="1679"/>
                </a:lnTo>
                <a:lnTo>
                  <a:pt x="2021" y="2117"/>
                </a:lnTo>
                <a:lnTo>
                  <a:pt x="1607" y="2361"/>
                </a:lnTo>
                <a:lnTo>
                  <a:pt x="1193" y="2604"/>
                </a:lnTo>
                <a:lnTo>
                  <a:pt x="974" y="2726"/>
                </a:lnTo>
                <a:lnTo>
                  <a:pt x="731" y="2896"/>
                </a:lnTo>
                <a:lnTo>
                  <a:pt x="488" y="3066"/>
                </a:lnTo>
                <a:lnTo>
                  <a:pt x="390" y="3188"/>
                </a:lnTo>
                <a:lnTo>
                  <a:pt x="317" y="3285"/>
                </a:lnTo>
                <a:lnTo>
                  <a:pt x="269" y="3310"/>
                </a:lnTo>
                <a:lnTo>
                  <a:pt x="220" y="3358"/>
                </a:lnTo>
                <a:lnTo>
                  <a:pt x="171" y="3480"/>
                </a:lnTo>
                <a:lnTo>
                  <a:pt x="123" y="3626"/>
                </a:lnTo>
                <a:lnTo>
                  <a:pt x="98" y="3894"/>
                </a:lnTo>
                <a:lnTo>
                  <a:pt x="98" y="4186"/>
                </a:lnTo>
                <a:lnTo>
                  <a:pt x="123" y="4453"/>
                </a:lnTo>
                <a:lnTo>
                  <a:pt x="147" y="5329"/>
                </a:lnTo>
                <a:lnTo>
                  <a:pt x="171" y="6205"/>
                </a:lnTo>
                <a:lnTo>
                  <a:pt x="171" y="8006"/>
                </a:lnTo>
                <a:lnTo>
                  <a:pt x="147" y="9782"/>
                </a:lnTo>
                <a:lnTo>
                  <a:pt x="123" y="10658"/>
                </a:lnTo>
                <a:lnTo>
                  <a:pt x="98" y="11558"/>
                </a:lnTo>
                <a:lnTo>
                  <a:pt x="1" y="13335"/>
                </a:lnTo>
                <a:lnTo>
                  <a:pt x="1" y="13700"/>
                </a:lnTo>
                <a:lnTo>
                  <a:pt x="1" y="14065"/>
                </a:lnTo>
                <a:lnTo>
                  <a:pt x="25" y="14454"/>
                </a:lnTo>
                <a:lnTo>
                  <a:pt x="50" y="14819"/>
                </a:lnTo>
                <a:lnTo>
                  <a:pt x="98" y="15233"/>
                </a:lnTo>
                <a:lnTo>
                  <a:pt x="123" y="15646"/>
                </a:lnTo>
                <a:lnTo>
                  <a:pt x="147" y="16060"/>
                </a:lnTo>
                <a:lnTo>
                  <a:pt x="171" y="16255"/>
                </a:lnTo>
                <a:lnTo>
                  <a:pt x="220" y="16474"/>
                </a:lnTo>
                <a:lnTo>
                  <a:pt x="244" y="16547"/>
                </a:lnTo>
                <a:lnTo>
                  <a:pt x="317" y="16595"/>
                </a:lnTo>
                <a:lnTo>
                  <a:pt x="390" y="16620"/>
                </a:lnTo>
                <a:lnTo>
                  <a:pt x="463" y="16620"/>
                </a:lnTo>
                <a:lnTo>
                  <a:pt x="536" y="16644"/>
                </a:lnTo>
                <a:lnTo>
                  <a:pt x="707" y="16620"/>
                </a:lnTo>
                <a:lnTo>
                  <a:pt x="877" y="16595"/>
                </a:lnTo>
                <a:lnTo>
                  <a:pt x="1218" y="16474"/>
                </a:lnTo>
                <a:lnTo>
                  <a:pt x="1850" y="16230"/>
                </a:lnTo>
                <a:lnTo>
                  <a:pt x="2240" y="16060"/>
                </a:lnTo>
                <a:lnTo>
                  <a:pt x="2605" y="15890"/>
                </a:lnTo>
                <a:lnTo>
                  <a:pt x="2970" y="15719"/>
                </a:lnTo>
                <a:lnTo>
                  <a:pt x="3310" y="15525"/>
                </a:lnTo>
                <a:lnTo>
                  <a:pt x="4064" y="15062"/>
                </a:lnTo>
                <a:lnTo>
                  <a:pt x="4819" y="14624"/>
                </a:lnTo>
                <a:lnTo>
                  <a:pt x="5549" y="14162"/>
                </a:lnTo>
                <a:lnTo>
                  <a:pt x="5938" y="13967"/>
                </a:lnTo>
                <a:lnTo>
                  <a:pt x="6327" y="13748"/>
                </a:lnTo>
                <a:lnTo>
                  <a:pt x="6400" y="13821"/>
                </a:lnTo>
                <a:lnTo>
                  <a:pt x="6473" y="13870"/>
                </a:lnTo>
                <a:lnTo>
                  <a:pt x="6546" y="13894"/>
                </a:lnTo>
                <a:lnTo>
                  <a:pt x="6644" y="13870"/>
                </a:lnTo>
                <a:lnTo>
                  <a:pt x="6741" y="13992"/>
                </a:lnTo>
                <a:lnTo>
                  <a:pt x="6863" y="14089"/>
                </a:lnTo>
                <a:lnTo>
                  <a:pt x="7130" y="14259"/>
                </a:lnTo>
                <a:lnTo>
                  <a:pt x="7422" y="14405"/>
                </a:lnTo>
                <a:lnTo>
                  <a:pt x="7690" y="14551"/>
                </a:lnTo>
                <a:lnTo>
                  <a:pt x="8517" y="14916"/>
                </a:lnTo>
                <a:lnTo>
                  <a:pt x="9345" y="15306"/>
                </a:lnTo>
                <a:lnTo>
                  <a:pt x="10878" y="16011"/>
                </a:lnTo>
                <a:lnTo>
                  <a:pt x="11656" y="16352"/>
                </a:lnTo>
                <a:lnTo>
                  <a:pt x="12435" y="16644"/>
                </a:lnTo>
                <a:lnTo>
                  <a:pt x="12459" y="16668"/>
                </a:lnTo>
                <a:lnTo>
                  <a:pt x="12508" y="16741"/>
                </a:lnTo>
                <a:lnTo>
                  <a:pt x="12581" y="16766"/>
                </a:lnTo>
                <a:lnTo>
                  <a:pt x="12678" y="16766"/>
                </a:lnTo>
                <a:lnTo>
                  <a:pt x="12751" y="16741"/>
                </a:lnTo>
                <a:lnTo>
                  <a:pt x="12800" y="16693"/>
                </a:lnTo>
                <a:lnTo>
                  <a:pt x="12897" y="16717"/>
                </a:lnTo>
                <a:lnTo>
                  <a:pt x="13019" y="16717"/>
                </a:lnTo>
                <a:lnTo>
                  <a:pt x="13286" y="16668"/>
                </a:lnTo>
                <a:lnTo>
                  <a:pt x="13530" y="16595"/>
                </a:lnTo>
                <a:lnTo>
                  <a:pt x="13724" y="16522"/>
                </a:lnTo>
                <a:lnTo>
                  <a:pt x="14211" y="16279"/>
                </a:lnTo>
                <a:lnTo>
                  <a:pt x="14698" y="16036"/>
                </a:lnTo>
                <a:lnTo>
                  <a:pt x="15647" y="15500"/>
                </a:lnTo>
                <a:lnTo>
                  <a:pt x="16596" y="14965"/>
                </a:lnTo>
                <a:lnTo>
                  <a:pt x="17058" y="14697"/>
                </a:lnTo>
                <a:lnTo>
                  <a:pt x="17545" y="14478"/>
                </a:lnTo>
                <a:lnTo>
                  <a:pt x="17885" y="14332"/>
                </a:lnTo>
                <a:lnTo>
                  <a:pt x="18226" y="14186"/>
                </a:lnTo>
                <a:lnTo>
                  <a:pt x="18542" y="14016"/>
                </a:lnTo>
                <a:lnTo>
                  <a:pt x="18688" y="13894"/>
                </a:lnTo>
                <a:lnTo>
                  <a:pt x="18834" y="13773"/>
                </a:lnTo>
                <a:lnTo>
                  <a:pt x="18883" y="13748"/>
                </a:lnTo>
                <a:lnTo>
                  <a:pt x="18932" y="13724"/>
                </a:lnTo>
                <a:lnTo>
                  <a:pt x="18980" y="13651"/>
                </a:lnTo>
                <a:lnTo>
                  <a:pt x="18980" y="13578"/>
                </a:lnTo>
                <a:lnTo>
                  <a:pt x="18980" y="12726"/>
                </a:lnTo>
                <a:lnTo>
                  <a:pt x="18956" y="11875"/>
                </a:lnTo>
                <a:lnTo>
                  <a:pt x="18883" y="10171"/>
                </a:lnTo>
                <a:lnTo>
                  <a:pt x="18859" y="9271"/>
                </a:lnTo>
                <a:lnTo>
                  <a:pt x="18859" y="8347"/>
                </a:lnTo>
                <a:lnTo>
                  <a:pt x="18883" y="6546"/>
                </a:lnTo>
                <a:lnTo>
                  <a:pt x="18932" y="4648"/>
                </a:lnTo>
                <a:lnTo>
                  <a:pt x="18956" y="2726"/>
                </a:lnTo>
                <a:lnTo>
                  <a:pt x="18980" y="2215"/>
                </a:lnTo>
                <a:lnTo>
                  <a:pt x="18980" y="1679"/>
                </a:lnTo>
                <a:lnTo>
                  <a:pt x="18932" y="1144"/>
                </a:lnTo>
                <a:lnTo>
                  <a:pt x="18883" y="901"/>
                </a:lnTo>
                <a:lnTo>
                  <a:pt x="18834" y="633"/>
                </a:lnTo>
                <a:lnTo>
                  <a:pt x="18883" y="585"/>
                </a:lnTo>
                <a:lnTo>
                  <a:pt x="18883" y="512"/>
                </a:lnTo>
                <a:lnTo>
                  <a:pt x="18883" y="439"/>
                </a:lnTo>
                <a:lnTo>
                  <a:pt x="18834" y="366"/>
                </a:lnTo>
                <a:lnTo>
                  <a:pt x="18761" y="293"/>
                </a:lnTo>
                <a:lnTo>
                  <a:pt x="18664" y="244"/>
                </a:lnTo>
                <a:lnTo>
                  <a:pt x="18421" y="244"/>
                </a:lnTo>
                <a:lnTo>
                  <a:pt x="18177" y="317"/>
                </a:lnTo>
                <a:lnTo>
                  <a:pt x="17958" y="414"/>
                </a:lnTo>
                <a:lnTo>
                  <a:pt x="17715" y="487"/>
                </a:lnTo>
                <a:lnTo>
                  <a:pt x="17374" y="585"/>
                </a:lnTo>
                <a:lnTo>
                  <a:pt x="17058" y="706"/>
                </a:lnTo>
                <a:lnTo>
                  <a:pt x="16742" y="828"/>
                </a:lnTo>
                <a:lnTo>
                  <a:pt x="16425" y="974"/>
                </a:lnTo>
                <a:lnTo>
                  <a:pt x="15817" y="1290"/>
                </a:lnTo>
                <a:lnTo>
                  <a:pt x="15209" y="1655"/>
                </a:lnTo>
                <a:lnTo>
                  <a:pt x="14479" y="2117"/>
                </a:lnTo>
                <a:lnTo>
                  <a:pt x="14089" y="2312"/>
                </a:lnTo>
                <a:lnTo>
                  <a:pt x="13700" y="2507"/>
                </a:lnTo>
                <a:lnTo>
                  <a:pt x="13432" y="2628"/>
                </a:lnTo>
                <a:lnTo>
                  <a:pt x="13165" y="2750"/>
                </a:lnTo>
                <a:lnTo>
                  <a:pt x="12897" y="2920"/>
                </a:lnTo>
                <a:lnTo>
                  <a:pt x="12654" y="3091"/>
                </a:lnTo>
                <a:lnTo>
                  <a:pt x="12532" y="2969"/>
                </a:lnTo>
                <a:lnTo>
                  <a:pt x="12386" y="2896"/>
                </a:lnTo>
                <a:lnTo>
                  <a:pt x="12070" y="2750"/>
                </a:lnTo>
                <a:lnTo>
                  <a:pt x="11875" y="2653"/>
                </a:lnTo>
                <a:lnTo>
                  <a:pt x="11705" y="2555"/>
                </a:lnTo>
                <a:lnTo>
                  <a:pt x="11316" y="2336"/>
                </a:lnTo>
                <a:lnTo>
                  <a:pt x="11072" y="2190"/>
                </a:lnTo>
                <a:lnTo>
                  <a:pt x="10805" y="2093"/>
                </a:lnTo>
                <a:lnTo>
                  <a:pt x="10294" y="1874"/>
                </a:lnTo>
                <a:lnTo>
                  <a:pt x="9758" y="1679"/>
                </a:lnTo>
                <a:lnTo>
                  <a:pt x="9223" y="1485"/>
                </a:lnTo>
                <a:lnTo>
                  <a:pt x="8298" y="1071"/>
                </a:lnTo>
                <a:lnTo>
                  <a:pt x="7836" y="852"/>
                </a:lnTo>
                <a:lnTo>
                  <a:pt x="7398" y="609"/>
                </a:lnTo>
                <a:lnTo>
                  <a:pt x="7325" y="536"/>
                </a:lnTo>
                <a:lnTo>
                  <a:pt x="7228" y="439"/>
                </a:lnTo>
                <a:lnTo>
                  <a:pt x="7057" y="244"/>
                </a:lnTo>
                <a:lnTo>
                  <a:pt x="6936" y="147"/>
                </a:lnTo>
                <a:lnTo>
                  <a:pt x="6838" y="74"/>
                </a:lnTo>
                <a:lnTo>
                  <a:pt x="6741" y="25"/>
                </a:lnTo>
                <a:lnTo>
                  <a:pt x="6619" y="25"/>
                </a:lnTo>
                <a:lnTo>
                  <a:pt x="6571" y="1"/>
                </a:lnTo>
                <a:lnTo>
                  <a:pt x="6498" y="1"/>
                </a:lnTo>
                <a:lnTo>
                  <a:pt x="6449" y="25"/>
                </a:lnTo>
                <a:lnTo>
                  <a:pt x="640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3" name="Graphic 12" descr="Open quotation mark with solid fill">
            <a:extLst>
              <a:ext uri="{FF2B5EF4-FFF2-40B4-BE49-F238E27FC236}">
                <a16:creationId xmlns:a16="http://schemas.microsoft.com/office/drawing/2014/main" id="{9416B37F-93DE-712E-8201-40CAA6CECD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14722" y="1442113"/>
            <a:ext cx="914400" cy="914400"/>
          </a:xfrm>
          <a:prstGeom prst="rect">
            <a:avLst/>
          </a:prstGeom>
        </p:spPr>
      </p:pic>
    </p:spTree>
    <p:extLst>
      <p:ext uri="{BB962C8B-B14F-4D97-AF65-F5344CB8AC3E}">
        <p14:creationId xmlns:p14="http://schemas.microsoft.com/office/powerpoint/2010/main" val="5575507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extLst>
              <p:ext uri="{D42A27DB-BD31-4B8C-83A1-F6EECF244321}">
                <p14:modId xmlns:p14="http://schemas.microsoft.com/office/powerpoint/2010/main" val="2181091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27</a:t>
            </a:fld>
            <a:endParaRPr lang="da-DK"/>
          </a:p>
        </p:txBody>
      </p:sp>
      <p:sp>
        <p:nvSpPr>
          <p:cNvPr id="2" name="Rectangle 1">
            <a:extLst>
              <a:ext uri="{FF2B5EF4-FFF2-40B4-BE49-F238E27FC236}">
                <a16:creationId xmlns:a16="http://schemas.microsoft.com/office/drawing/2014/main" id="{3BC97B6A-32D1-29B0-934F-1034BC12DC24}"/>
              </a:ext>
            </a:extLst>
          </p:cNvPr>
          <p:cNvSpPr/>
          <p:nvPr/>
        </p:nvSpPr>
        <p:spPr>
          <a:xfrm rot="1069853">
            <a:off x="4687356" y="3036555"/>
            <a:ext cx="2817291" cy="235549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400">
              <a:solidFill>
                <a:srgbClr val="273F68"/>
              </a:solidFill>
              <a:latin typeface="Amatic SC" panose="00000500000000000000" pitchFamily="2" charset="-79"/>
              <a:cs typeface="Amatic SC" panose="00000500000000000000" pitchFamily="2" charset="-79"/>
            </a:endParaRPr>
          </a:p>
          <a:p>
            <a:pPr algn="ctr"/>
            <a:r>
              <a:rPr lang="da-DK" sz="2400" b="1">
                <a:solidFill>
                  <a:srgbClr val="273F68"/>
                </a:solidFill>
                <a:latin typeface="Amatic SC" panose="00000500000000000000" pitchFamily="2" charset="-79"/>
                <a:cs typeface="Amatic SC" panose="00000500000000000000" pitchFamily="2" charset="-79"/>
              </a:rPr>
              <a:t>Hvad kan vi gøre for i højere grad at inddrage elevernes perspektiver i vores udvikling af praksis? </a:t>
            </a:r>
            <a:endParaRPr lang="da-DK" sz="2400" noProof="0">
              <a:solidFill>
                <a:srgbClr val="273F68"/>
              </a:solidFill>
              <a:latin typeface="Amatic SC" panose="00000500000000000000" pitchFamily="2" charset="-79"/>
              <a:cs typeface="Amatic SC" panose="00000500000000000000" pitchFamily="2" charset="-79"/>
            </a:endParaRPr>
          </a:p>
        </p:txBody>
      </p:sp>
      <p:pic>
        <p:nvPicPr>
          <p:cNvPr id="6" name="Graphic 5" descr="Paperclip with solid fill">
            <a:extLst>
              <a:ext uri="{FF2B5EF4-FFF2-40B4-BE49-F238E27FC236}">
                <a16:creationId xmlns:a16="http://schemas.microsoft.com/office/drawing/2014/main" id="{F02DD254-3E7E-85BD-8E45-B9D602CC7F3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140968">
            <a:off x="6056811" y="2606008"/>
            <a:ext cx="914400" cy="914400"/>
          </a:xfrm>
          <a:prstGeom prst="rect">
            <a:avLst/>
          </a:prstGeom>
        </p:spPr>
      </p:pic>
      <p:sp>
        <p:nvSpPr>
          <p:cNvPr id="7" name="Rectangle 6">
            <a:extLst>
              <a:ext uri="{FF2B5EF4-FFF2-40B4-BE49-F238E27FC236}">
                <a16:creationId xmlns:a16="http://schemas.microsoft.com/office/drawing/2014/main" id="{04157946-5611-8C4B-3ED0-4026199785C4}"/>
              </a:ext>
            </a:extLst>
          </p:cNvPr>
          <p:cNvSpPr/>
          <p:nvPr/>
        </p:nvSpPr>
        <p:spPr>
          <a:xfrm rot="437979">
            <a:off x="8454230" y="2354968"/>
            <a:ext cx="2817291" cy="2782784"/>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000">
              <a:solidFill>
                <a:srgbClr val="273F68"/>
              </a:solidFill>
              <a:latin typeface="Amatic SC" panose="00000500000000000000" pitchFamily="2" charset="-79"/>
              <a:cs typeface="Amatic SC" panose="00000500000000000000" pitchFamily="2" charset="-79"/>
            </a:endParaRPr>
          </a:p>
          <a:p>
            <a:pPr algn="ctr"/>
            <a:endParaRPr lang="da-DK" sz="2400" b="1">
              <a:solidFill>
                <a:srgbClr val="273F68"/>
              </a:solidFill>
              <a:latin typeface="Amatic SC" panose="00000500000000000000" pitchFamily="2" charset="-79"/>
              <a:cs typeface="Amatic SC" panose="00000500000000000000" pitchFamily="2" charset="-79"/>
            </a:endParaRPr>
          </a:p>
          <a:p>
            <a:pPr algn="ctr"/>
            <a:r>
              <a:rPr lang="da-DK" sz="2400" b="1">
                <a:solidFill>
                  <a:srgbClr val="273F68"/>
                </a:solidFill>
                <a:latin typeface="Amatic SC" panose="00000500000000000000" pitchFamily="2" charset="-79"/>
                <a:cs typeface="Amatic SC" panose="00000500000000000000" pitchFamily="2" charset="-79"/>
              </a:rPr>
              <a:t>Hvordan vil vi sikre, at vi evaluerer prøvehandlinger og bruger det som anledning til at lave nye prøvehandlinger?</a:t>
            </a:r>
            <a:r>
              <a:rPr lang="da-DK" sz="2200" b="1">
                <a:solidFill>
                  <a:srgbClr val="273F68"/>
                </a:solidFill>
                <a:latin typeface="Amatic SC" panose="00000500000000000000" pitchFamily="2" charset="-79"/>
                <a:cs typeface="Amatic SC" panose="00000500000000000000" pitchFamily="2" charset="-79"/>
              </a:rPr>
              <a:t> </a:t>
            </a:r>
          </a:p>
        </p:txBody>
      </p:sp>
      <p:sp>
        <p:nvSpPr>
          <p:cNvPr id="8" name="Rectangle 7">
            <a:extLst>
              <a:ext uri="{FF2B5EF4-FFF2-40B4-BE49-F238E27FC236}">
                <a16:creationId xmlns:a16="http://schemas.microsoft.com/office/drawing/2014/main" id="{8BDAA3FF-59CD-C6F5-F701-342B5E4445E1}"/>
              </a:ext>
            </a:extLst>
          </p:cNvPr>
          <p:cNvSpPr/>
          <p:nvPr/>
        </p:nvSpPr>
        <p:spPr>
          <a:xfrm rot="20942225">
            <a:off x="1206123" y="2405627"/>
            <a:ext cx="2817291" cy="235549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800" noProof="0">
              <a:solidFill>
                <a:srgbClr val="273F68"/>
              </a:solidFill>
              <a:latin typeface="Amatic SC" panose="00000500000000000000" pitchFamily="2" charset="-79"/>
              <a:cs typeface="Amatic SC" panose="00000500000000000000" pitchFamily="2" charset="-79"/>
            </a:endParaRPr>
          </a:p>
          <a:p>
            <a:pPr algn="ctr"/>
            <a:r>
              <a:rPr lang="da-DK" sz="2400" b="1" noProof="0">
                <a:solidFill>
                  <a:srgbClr val="273F68"/>
                </a:solidFill>
                <a:latin typeface="Amatic SC" panose="00000500000000000000" pitchFamily="2" charset="-79"/>
                <a:cs typeface="Amatic SC" panose="00000500000000000000" pitchFamily="2" charset="-79"/>
              </a:rPr>
              <a:t>Hvornår og hvordan kan vi dele erfaringer med aktionslæring på tværs af teams og årgange?</a:t>
            </a:r>
          </a:p>
        </p:txBody>
      </p:sp>
      <p:pic>
        <p:nvPicPr>
          <p:cNvPr id="3" name="Graphic 2" descr="Paperclip with solid fill">
            <a:extLst>
              <a:ext uri="{FF2B5EF4-FFF2-40B4-BE49-F238E27FC236}">
                <a16:creationId xmlns:a16="http://schemas.microsoft.com/office/drawing/2014/main" id="{AE2E047D-1D57-0D37-261A-11AA26C96EF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1114206">
            <a:off x="1899915" y="1914486"/>
            <a:ext cx="914400" cy="914400"/>
          </a:xfrm>
          <a:prstGeom prst="rect">
            <a:avLst/>
          </a:prstGeom>
        </p:spPr>
      </p:pic>
      <p:pic>
        <p:nvPicPr>
          <p:cNvPr id="11" name="Graphic 10" descr="Paperclip with solid fill">
            <a:extLst>
              <a:ext uri="{FF2B5EF4-FFF2-40B4-BE49-F238E27FC236}">
                <a16:creationId xmlns:a16="http://schemas.microsoft.com/office/drawing/2014/main" id="{8DE18BA0-F733-5E42-FE31-5C354263EA3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346786">
            <a:off x="9657072" y="1881677"/>
            <a:ext cx="914400" cy="914400"/>
          </a:xfrm>
          <a:prstGeom prst="rect">
            <a:avLst/>
          </a:prstGeom>
        </p:spPr>
      </p:pic>
      <p:sp>
        <p:nvSpPr>
          <p:cNvPr id="9" name="Google Shape;846;p29">
            <a:extLst>
              <a:ext uri="{FF2B5EF4-FFF2-40B4-BE49-F238E27FC236}">
                <a16:creationId xmlns:a16="http://schemas.microsoft.com/office/drawing/2014/main" id="{67B99296-AEBF-78CA-AB36-AFA9E38F5D34}"/>
              </a:ext>
            </a:extLst>
          </p:cNvPr>
          <p:cNvSpPr/>
          <p:nvPr/>
        </p:nvSpPr>
        <p:spPr>
          <a:xfrm>
            <a:off x="0" y="346507"/>
            <a:ext cx="12192001" cy="854281"/>
          </a:xfrm>
          <a:prstGeom prst="rect">
            <a:avLst/>
          </a:prstGeom>
          <a:solidFill>
            <a:schemeClr val="accent6"/>
          </a:solidFill>
          <a:ln>
            <a:noFill/>
          </a:ln>
        </p:spPr>
        <p:txBody>
          <a:bodyPr spcFirstLastPara="1" wrap="square" lIns="396000" tIns="91425" rIns="91425" bIns="91425" anchor="ctr" anchorCtr="0">
            <a:noAutofit/>
          </a:bodyPr>
          <a:lstStyle/>
          <a:p>
            <a:pPr marL="0" lvl="0" indent="0" algn="ctr">
              <a:spcBef>
                <a:spcPts val="0"/>
              </a:spcBef>
              <a:spcAft>
                <a:spcPts val="0"/>
              </a:spcAft>
              <a:buNone/>
            </a:pPr>
            <a:r>
              <a:rPr lang="da-DK" sz="3200" b="1">
                <a:solidFill>
                  <a:schemeClr val="bg1"/>
                </a:solidFill>
                <a:latin typeface="Amatic SC"/>
                <a:ea typeface="Amatic SC"/>
                <a:cs typeface="Amatic SC"/>
                <a:sym typeface="Amatic SC"/>
              </a:rPr>
              <a:t>refleksionsspørgsmål</a:t>
            </a:r>
          </a:p>
        </p:txBody>
      </p:sp>
      <p:sp>
        <p:nvSpPr>
          <p:cNvPr id="10" name="TextBox 9">
            <a:extLst>
              <a:ext uri="{FF2B5EF4-FFF2-40B4-BE49-F238E27FC236}">
                <a16:creationId xmlns:a16="http://schemas.microsoft.com/office/drawing/2014/main" id="{8D42647C-1052-D35E-1B24-744AC30C1036}"/>
              </a:ext>
            </a:extLst>
          </p:cNvPr>
          <p:cNvSpPr txBox="1"/>
          <p:nvPr/>
        </p:nvSpPr>
        <p:spPr>
          <a:xfrm>
            <a:off x="967336" y="6007146"/>
            <a:ext cx="10772775" cy="123111"/>
          </a:xfrm>
          <a:prstGeom prst="rect">
            <a:avLst/>
          </a:prstGeom>
          <a:noFill/>
        </p:spPr>
        <p:txBody>
          <a:bodyPr wrap="square" lIns="0" tIns="0" rIns="0" bIns="0" rtlCol="0">
            <a:spAutoFit/>
          </a:bodyPr>
          <a:lstStyle/>
          <a:p>
            <a:r>
              <a:rPr lang="da-DK" sz="800">
                <a:latin typeface="Quicksand" panose="020B0604020202020204"/>
              </a:rPr>
              <a:t>*I kan med fordel inddrage og perspektivere til skolens resultater i skolerapporten </a:t>
            </a:r>
            <a:r>
              <a:rPr lang="da-DK" sz="800">
                <a:solidFill>
                  <a:schemeClr val="tx1"/>
                </a:solidFill>
                <a:latin typeface="Quicksand" panose="020B0604020202020204" charset="0"/>
                <a:ea typeface="Quicksand"/>
                <a:cs typeface="Quicksand" panose="020B0604020202020204" charset="0"/>
                <a:sym typeface="Quicksand"/>
              </a:rPr>
              <a:t>under temaet ”Teamets samarbejde i PLF” og ”Inddragelse af elevernes perspektiver”. </a:t>
            </a:r>
            <a:endParaRPr lang="da-DK" sz="800">
              <a:latin typeface="Quicksand" panose="020B0604020202020204"/>
            </a:endParaRPr>
          </a:p>
        </p:txBody>
      </p:sp>
    </p:spTree>
    <p:extLst>
      <p:ext uri="{BB962C8B-B14F-4D97-AF65-F5344CB8AC3E}">
        <p14:creationId xmlns:p14="http://schemas.microsoft.com/office/powerpoint/2010/main" val="2931424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8C2C6A4-7126-6133-BDE9-8899A50474E6}"/>
              </a:ext>
            </a:extLst>
          </p:cNvPr>
          <p:cNvSpPr>
            <a:spLocks noGrp="1"/>
          </p:cNvSpPr>
          <p:nvPr>
            <p:ph type="sldNum" sz="quarter" idx="12"/>
          </p:nvPr>
        </p:nvSpPr>
        <p:spPr/>
        <p:txBody>
          <a:bodyPr/>
          <a:lstStyle/>
          <a:p>
            <a:fld id="{23AA811B-2EBD-4900-905E-5BE206449611}" type="slidenum">
              <a:rPr lang="da-DK" smtClean="0"/>
              <a:pPr/>
              <a:t>28</a:t>
            </a:fld>
            <a:endParaRPr lang="da-DK"/>
          </a:p>
        </p:txBody>
      </p:sp>
      <p:grpSp>
        <p:nvGrpSpPr>
          <p:cNvPr id="3" name="Google Shape;22;p2">
            <a:extLst>
              <a:ext uri="{FF2B5EF4-FFF2-40B4-BE49-F238E27FC236}">
                <a16:creationId xmlns:a16="http://schemas.microsoft.com/office/drawing/2014/main" id="{F856A1E5-536D-22E8-AB91-F684A9EBED34}"/>
              </a:ext>
            </a:extLst>
          </p:cNvPr>
          <p:cNvGrpSpPr/>
          <p:nvPr/>
        </p:nvGrpSpPr>
        <p:grpSpPr>
          <a:xfrm>
            <a:off x="81519" y="-84327"/>
            <a:ext cx="12028962" cy="7026653"/>
            <a:chOff x="-85500" y="-168653"/>
            <a:chExt cx="9290344" cy="5426904"/>
          </a:xfrm>
        </p:grpSpPr>
        <p:grpSp>
          <p:nvGrpSpPr>
            <p:cNvPr id="4" name="Google Shape;23;p2">
              <a:extLst>
                <a:ext uri="{FF2B5EF4-FFF2-40B4-BE49-F238E27FC236}">
                  <a16:creationId xmlns:a16="http://schemas.microsoft.com/office/drawing/2014/main" id="{777CEB8E-787E-36F4-EB77-4C29ADC59783}"/>
                </a:ext>
              </a:extLst>
            </p:cNvPr>
            <p:cNvGrpSpPr/>
            <p:nvPr/>
          </p:nvGrpSpPr>
          <p:grpSpPr>
            <a:xfrm>
              <a:off x="3870624" y="271731"/>
              <a:ext cx="531017" cy="704779"/>
              <a:chOff x="3870624" y="271731"/>
              <a:chExt cx="531017" cy="704779"/>
            </a:xfrm>
          </p:grpSpPr>
          <p:sp>
            <p:nvSpPr>
              <p:cNvPr id="88" name="Google Shape;24;p2">
                <a:extLst>
                  <a:ext uri="{FF2B5EF4-FFF2-40B4-BE49-F238E27FC236}">
                    <a16:creationId xmlns:a16="http://schemas.microsoft.com/office/drawing/2014/main" id="{097165CA-8507-FF16-369E-D689DA43B8EB}"/>
                  </a:ext>
                </a:extLst>
              </p:cNvPr>
              <p:cNvSpPr/>
              <p:nvPr/>
            </p:nvSpPr>
            <p:spPr>
              <a:xfrm>
                <a:off x="3870624" y="311200"/>
                <a:ext cx="425807" cy="385849"/>
              </a:xfrm>
              <a:custGeom>
                <a:avLst/>
                <a:gdLst/>
                <a:ahLst/>
                <a:cxnLst/>
                <a:rect l="l" t="t" r="r" b="b"/>
                <a:pathLst>
                  <a:path w="35017" h="31731" extrusionOk="0">
                    <a:moveTo>
                      <a:pt x="16911" y="1"/>
                    </a:moveTo>
                    <a:lnTo>
                      <a:pt x="15596" y="61"/>
                    </a:lnTo>
                    <a:lnTo>
                      <a:pt x="14282" y="240"/>
                    </a:lnTo>
                    <a:lnTo>
                      <a:pt x="13027" y="479"/>
                    </a:lnTo>
                    <a:lnTo>
                      <a:pt x="11772" y="837"/>
                    </a:lnTo>
                    <a:lnTo>
                      <a:pt x="10517" y="1256"/>
                    </a:lnTo>
                    <a:lnTo>
                      <a:pt x="9442" y="1734"/>
                    </a:lnTo>
                    <a:lnTo>
                      <a:pt x="8366" y="2331"/>
                    </a:lnTo>
                    <a:lnTo>
                      <a:pt x="7350" y="2989"/>
                    </a:lnTo>
                    <a:lnTo>
                      <a:pt x="6454" y="3706"/>
                    </a:lnTo>
                    <a:lnTo>
                      <a:pt x="5558" y="4542"/>
                    </a:lnTo>
                    <a:lnTo>
                      <a:pt x="4721" y="5379"/>
                    </a:lnTo>
                    <a:lnTo>
                      <a:pt x="3944" y="6275"/>
                    </a:lnTo>
                    <a:lnTo>
                      <a:pt x="3227" y="7231"/>
                    </a:lnTo>
                    <a:lnTo>
                      <a:pt x="2570" y="8247"/>
                    </a:lnTo>
                    <a:lnTo>
                      <a:pt x="2032" y="9323"/>
                    </a:lnTo>
                    <a:lnTo>
                      <a:pt x="1494" y="10398"/>
                    </a:lnTo>
                    <a:lnTo>
                      <a:pt x="1076" y="11534"/>
                    </a:lnTo>
                    <a:lnTo>
                      <a:pt x="717" y="12669"/>
                    </a:lnTo>
                    <a:lnTo>
                      <a:pt x="419" y="13804"/>
                    </a:lnTo>
                    <a:lnTo>
                      <a:pt x="180" y="14999"/>
                    </a:lnTo>
                    <a:lnTo>
                      <a:pt x="60" y="16194"/>
                    </a:lnTo>
                    <a:lnTo>
                      <a:pt x="0" y="17569"/>
                    </a:lnTo>
                    <a:lnTo>
                      <a:pt x="60" y="18824"/>
                    </a:lnTo>
                    <a:lnTo>
                      <a:pt x="180" y="20079"/>
                    </a:lnTo>
                    <a:lnTo>
                      <a:pt x="478" y="21274"/>
                    </a:lnTo>
                    <a:lnTo>
                      <a:pt x="837" y="22349"/>
                    </a:lnTo>
                    <a:lnTo>
                      <a:pt x="1315" y="23425"/>
                    </a:lnTo>
                    <a:lnTo>
                      <a:pt x="1853" y="24441"/>
                    </a:lnTo>
                    <a:lnTo>
                      <a:pt x="2510" y="25457"/>
                    </a:lnTo>
                    <a:lnTo>
                      <a:pt x="3287" y="26353"/>
                    </a:lnTo>
                    <a:lnTo>
                      <a:pt x="4064" y="27189"/>
                    </a:lnTo>
                    <a:lnTo>
                      <a:pt x="4960" y="27966"/>
                    </a:lnTo>
                    <a:lnTo>
                      <a:pt x="5976" y="28683"/>
                    </a:lnTo>
                    <a:lnTo>
                      <a:pt x="6992" y="29281"/>
                    </a:lnTo>
                    <a:lnTo>
                      <a:pt x="8127" y="29878"/>
                    </a:lnTo>
                    <a:lnTo>
                      <a:pt x="9322" y="30356"/>
                    </a:lnTo>
                    <a:lnTo>
                      <a:pt x="10517" y="30834"/>
                    </a:lnTo>
                    <a:lnTo>
                      <a:pt x="11892" y="31193"/>
                    </a:lnTo>
                    <a:lnTo>
                      <a:pt x="13206" y="31492"/>
                    </a:lnTo>
                    <a:lnTo>
                      <a:pt x="14581" y="31671"/>
                    </a:lnTo>
                    <a:lnTo>
                      <a:pt x="16015" y="31731"/>
                    </a:lnTo>
                    <a:lnTo>
                      <a:pt x="17389" y="31671"/>
                    </a:lnTo>
                    <a:lnTo>
                      <a:pt x="18763" y="31552"/>
                    </a:lnTo>
                    <a:lnTo>
                      <a:pt x="20138" y="31313"/>
                    </a:lnTo>
                    <a:lnTo>
                      <a:pt x="21452" y="30954"/>
                    </a:lnTo>
                    <a:lnTo>
                      <a:pt x="22110" y="30715"/>
                    </a:lnTo>
                    <a:lnTo>
                      <a:pt x="22767" y="30476"/>
                    </a:lnTo>
                    <a:lnTo>
                      <a:pt x="24022" y="29878"/>
                    </a:lnTo>
                    <a:lnTo>
                      <a:pt x="25217" y="29161"/>
                    </a:lnTo>
                    <a:lnTo>
                      <a:pt x="26293" y="28385"/>
                    </a:lnTo>
                    <a:lnTo>
                      <a:pt x="27428" y="27548"/>
                    </a:lnTo>
                    <a:lnTo>
                      <a:pt x="28444" y="26652"/>
                    </a:lnTo>
                    <a:lnTo>
                      <a:pt x="30476" y="24739"/>
                    </a:lnTo>
                    <a:lnTo>
                      <a:pt x="31013" y="24261"/>
                    </a:lnTo>
                    <a:lnTo>
                      <a:pt x="31551" y="23664"/>
                    </a:lnTo>
                    <a:lnTo>
                      <a:pt x="32029" y="23126"/>
                    </a:lnTo>
                    <a:lnTo>
                      <a:pt x="32447" y="22529"/>
                    </a:lnTo>
                    <a:lnTo>
                      <a:pt x="32866" y="21931"/>
                    </a:lnTo>
                    <a:lnTo>
                      <a:pt x="33224" y="21333"/>
                    </a:lnTo>
                    <a:lnTo>
                      <a:pt x="33523" y="20676"/>
                    </a:lnTo>
                    <a:lnTo>
                      <a:pt x="33822" y="20019"/>
                    </a:lnTo>
                    <a:lnTo>
                      <a:pt x="34360" y="18704"/>
                    </a:lnTo>
                    <a:lnTo>
                      <a:pt x="34718" y="17390"/>
                    </a:lnTo>
                    <a:lnTo>
                      <a:pt x="34957" y="16015"/>
                    </a:lnTo>
                    <a:lnTo>
                      <a:pt x="35017" y="14641"/>
                    </a:lnTo>
                    <a:lnTo>
                      <a:pt x="35017" y="13924"/>
                    </a:lnTo>
                    <a:lnTo>
                      <a:pt x="34957" y="13266"/>
                    </a:lnTo>
                    <a:lnTo>
                      <a:pt x="34838" y="12549"/>
                    </a:lnTo>
                    <a:lnTo>
                      <a:pt x="34718" y="11892"/>
                    </a:lnTo>
                    <a:lnTo>
                      <a:pt x="34599" y="11235"/>
                    </a:lnTo>
                    <a:lnTo>
                      <a:pt x="34360" y="10577"/>
                    </a:lnTo>
                    <a:lnTo>
                      <a:pt x="34121" y="9920"/>
                    </a:lnTo>
                    <a:lnTo>
                      <a:pt x="33882" y="9263"/>
                    </a:lnTo>
                    <a:lnTo>
                      <a:pt x="33583" y="8606"/>
                    </a:lnTo>
                    <a:lnTo>
                      <a:pt x="33224" y="8008"/>
                    </a:lnTo>
                    <a:lnTo>
                      <a:pt x="32806" y="7410"/>
                    </a:lnTo>
                    <a:lnTo>
                      <a:pt x="32388" y="6813"/>
                    </a:lnTo>
                    <a:lnTo>
                      <a:pt x="31910" y="6275"/>
                    </a:lnTo>
                    <a:lnTo>
                      <a:pt x="31432" y="5737"/>
                    </a:lnTo>
                    <a:lnTo>
                      <a:pt x="30894" y="5200"/>
                    </a:lnTo>
                    <a:lnTo>
                      <a:pt x="30296" y="4721"/>
                    </a:lnTo>
                    <a:lnTo>
                      <a:pt x="29280" y="3945"/>
                    </a:lnTo>
                    <a:lnTo>
                      <a:pt x="28205" y="3228"/>
                    </a:lnTo>
                    <a:lnTo>
                      <a:pt x="27069" y="2570"/>
                    </a:lnTo>
                    <a:lnTo>
                      <a:pt x="25874" y="1973"/>
                    </a:lnTo>
                    <a:lnTo>
                      <a:pt x="24679" y="1435"/>
                    </a:lnTo>
                    <a:lnTo>
                      <a:pt x="23424" y="1017"/>
                    </a:lnTo>
                    <a:lnTo>
                      <a:pt x="22170" y="658"/>
                    </a:lnTo>
                    <a:lnTo>
                      <a:pt x="20855" y="359"/>
                    </a:lnTo>
                    <a:lnTo>
                      <a:pt x="19540" y="180"/>
                    </a:lnTo>
                    <a:lnTo>
                      <a:pt x="18226" y="61"/>
                    </a:lnTo>
                    <a:lnTo>
                      <a:pt x="1691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9" name="Google Shape;25;p2">
                <a:extLst>
                  <a:ext uri="{FF2B5EF4-FFF2-40B4-BE49-F238E27FC236}">
                    <a16:creationId xmlns:a16="http://schemas.microsoft.com/office/drawing/2014/main" id="{5C015839-285A-E806-C927-D71B9E4F2F71}"/>
                  </a:ext>
                </a:extLst>
              </p:cNvPr>
              <p:cNvSpPr/>
              <p:nvPr/>
            </p:nvSpPr>
            <p:spPr>
              <a:xfrm>
                <a:off x="3901992" y="271731"/>
                <a:ext cx="499650" cy="704779"/>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5" name="Google Shape;26;p2">
              <a:extLst>
                <a:ext uri="{FF2B5EF4-FFF2-40B4-BE49-F238E27FC236}">
                  <a16:creationId xmlns:a16="http://schemas.microsoft.com/office/drawing/2014/main" id="{26D3CC53-84FD-A8C6-95C0-057FDDAC8962}"/>
                </a:ext>
              </a:extLst>
            </p:cNvPr>
            <p:cNvGrpSpPr/>
            <p:nvPr/>
          </p:nvGrpSpPr>
          <p:grpSpPr>
            <a:xfrm>
              <a:off x="-85500" y="4299338"/>
              <a:ext cx="612915" cy="585559"/>
              <a:chOff x="8158724" y="4646275"/>
              <a:chExt cx="612915" cy="585559"/>
            </a:xfrm>
          </p:grpSpPr>
          <p:sp>
            <p:nvSpPr>
              <p:cNvPr id="86" name="Google Shape;27;p2">
                <a:extLst>
                  <a:ext uri="{FF2B5EF4-FFF2-40B4-BE49-F238E27FC236}">
                    <a16:creationId xmlns:a16="http://schemas.microsoft.com/office/drawing/2014/main" id="{E3D10441-523F-090F-6345-7C9A7C6DB1D2}"/>
                  </a:ext>
                </a:extLst>
              </p:cNvPr>
              <p:cNvSpPr/>
              <p:nvPr/>
            </p:nvSpPr>
            <p:spPr>
              <a:xfrm>
                <a:off x="8158724" y="4646275"/>
                <a:ext cx="511423" cy="463431"/>
              </a:xfrm>
              <a:custGeom>
                <a:avLst/>
                <a:gdLst/>
                <a:ahLst/>
                <a:cxnLst/>
                <a:rect l="l" t="t" r="r" b="b"/>
                <a:pathLst>
                  <a:path w="35017" h="31731" extrusionOk="0">
                    <a:moveTo>
                      <a:pt x="16911" y="1"/>
                    </a:moveTo>
                    <a:lnTo>
                      <a:pt x="15596" y="61"/>
                    </a:lnTo>
                    <a:lnTo>
                      <a:pt x="14282" y="240"/>
                    </a:lnTo>
                    <a:lnTo>
                      <a:pt x="13027" y="479"/>
                    </a:lnTo>
                    <a:lnTo>
                      <a:pt x="11772" y="837"/>
                    </a:lnTo>
                    <a:lnTo>
                      <a:pt x="10517" y="1256"/>
                    </a:lnTo>
                    <a:lnTo>
                      <a:pt x="9442" y="1734"/>
                    </a:lnTo>
                    <a:lnTo>
                      <a:pt x="8366" y="2331"/>
                    </a:lnTo>
                    <a:lnTo>
                      <a:pt x="7350" y="2989"/>
                    </a:lnTo>
                    <a:lnTo>
                      <a:pt x="6454" y="3706"/>
                    </a:lnTo>
                    <a:lnTo>
                      <a:pt x="5558" y="4542"/>
                    </a:lnTo>
                    <a:lnTo>
                      <a:pt x="4721" y="5379"/>
                    </a:lnTo>
                    <a:lnTo>
                      <a:pt x="3944" y="6275"/>
                    </a:lnTo>
                    <a:lnTo>
                      <a:pt x="3227" y="7231"/>
                    </a:lnTo>
                    <a:lnTo>
                      <a:pt x="2570" y="8247"/>
                    </a:lnTo>
                    <a:lnTo>
                      <a:pt x="2032" y="9323"/>
                    </a:lnTo>
                    <a:lnTo>
                      <a:pt x="1494" y="10398"/>
                    </a:lnTo>
                    <a:lnTo>
                      <a:pt x="1076" y="11534"/>
                    </a:lnTo>
                    <a:lnTo>
                      <a:pt x="717" y="12669"/>
                    </a:lnTo>
                    <a:lnTo>
                      <a:pt x="419" y="13804"/>
                    </a:lnTo>
                    <a:lnTo>
                      <a:pt x="180" y="14999"/>
                    </a:lnTo>
                    <a:lnTo>
                      <a:pt x="60" y="16194"/>
                    </a:lnTo>
                    <a:lnTo>
                      <a:pt x="0" y="17569"/>
                    </a:lnTo>
                    <a:lnTo>
                      <a:pt x="60" y="18824"/>
                    </a:lnTo>
                    <a:lnTo>
                      <a:pt x="180" y="20079"/>
                    </a:lnTo>
                    <a:lnTo>
                      <a:pt x="478" y="21274"/>
                    </a:lnTo>
                    <a:lnTo>
                      <a:pt x="837" y="22349"/>
                    </a:lnTo>
                    <a:lnTo>
                      <a:pt x="1315" y="23425"/>
                    </a:lnTo>
                    <a:lnTo>
                      <a:pt x="1853" y="24441"/>
                    </a:lnTo>
                    <a:lnTo>
                      <a:pt x="2510" y="25457"/>
                    </a:lnTo>
                    <a:lnTo>
                      <a:pt x="3287" y="26353"/>
                    </a:lnTo>
                    <a:lnTo>
                      <a:pt x="4064" y="27189"/>
                    </a:lnTo>
                    <a:lnTo>
                      <a:pt x="4960" y="27966"/>
                    </a:lnTo>
                    <a:lnTo>
                      <a:pt x="5976" y="28683"/>
                    </a:lnTo>
                    <a:lnTo>
                      <a:pt x="6992" y="29281"/>
                    </a:lnTo>
                    <a:lnTo>
                      <a:pt x="8127" y="29878"/>
                    </a:lnTo>
                    <a:lnTo>
                      <a:pt x="9322" y="30356"/>
                    </a:lnTo>
                    <a:lnTo>
                      <a:pt x="10517" y="30834"/>
                    </a:lnTo>
                    <a:lnTo>
                      <a:pt x="11892" y="31193"/>
                    </a:lnTo>
                    <a:lnTo>
                      <a:pt x="13206" y="31492"/>
                    </a:lnTo>
                    <a:lnTo>
                      <a:pt x="14581" y="31671"/>
                    </a:lnTo>
                    <a:lnTo>
                      <a:pt x="16015" y="31731"/>
                    </a:lnTo>
                    <a:lnTo>
                      <a:pt x="17389" y="31671"/>
                    </a:lnTo>
                    <a:lnTo>
                      <a:pt x="18763" y="31552"/>
                    </a:lnTo>
                    <a:lnTo>
                      <a:pt x="20138" y="31313"/>
                    </a:lnTo>
                    <a:lnTo>
                      <a:pt x="21452" y="30954"/>
                    </a:lnTo>
                    <a:lnTo>
                      <a:pt x="22110" y="30715"/>
                    </a:lnTo>
                    <a:lnTo>
                      <a:pt x="22767" y="30476"/>
                    </a:lnTo>
                    <a:lnTo>
                      <a:pt x="24022" y="29878"/>
                    </a:lnTo>
                    <a:lnTo>
                      <a:pt x="25217" y="29161"/>
                    </a:lnTo>
                    <a:lnTo>
                      <a:pt x="26293" y="28385"/>
                    </a:lnTo>
                    <a:lnTo>
                      <a:pt x="27428" y="27548"/>
                    </a:lnTo>
                    <a:lnTo>
                      <a:pt x="28444" y="26652"/>
                    </a:lnTo>
                    <a:lnTo>
                      <a:pt x="30476" y="24739"/>
                    </a:lnTo>
                    <a:lnTo>
                      <a:pt x="31013" y="24261"/>
                    </a:lnTo>
                    <a:lnTo>
                      <a:pt x="31551" y="23664"/>
                    </a:lnTo>
                    <a:lnTo>
                      <a:pt x="32029" y="23126"/>
                    </a:lnTo>
                    <a:lnTo>
                      <a:pt x="32447" y="22529"/>
                    </a:lnTo>
                    <a:lnTo>
                      <a:pt x="32866" y="21931"/>
                    </a:lnTo>
                    <a:lnTo>
                      <a:pt x="33224" y="21333"/>
                    </a:lnTo>
                    <a:lnTo>
                      <a:pt x="33523" y="20676"/>
                    </a:lnTo>
                    <a:lnTo>
                      <a:pt x="33822" y="20019"/>
                    </a:lnTo>
                    <a:lnTo>
                      <a:pt x="34360" y="18704"/>
                    </a:lnTo>
                    <a:lnTo>
                      <a:pt x="34718" y="17390"/>
                    </a:lnTo>
                    <a:lnTo>
                      <a:pt x="34957" y="16015"/>
                    </a:lnTo>
                    <a:lnTo>
                      <a:pt x="35017" y="14641"/>
                    </a:lnTo>
                    <a:lnTo>
                      <a:pt x="35017" y="13924"/>
                    </a:lnTo>
                    <a:lnTo>
                      <a:pt x="34957" y="13266"/>
                    </a:lnTo>
                    <a:lnTo>
                      <a:pt x="34838" y="12549"/>
                    </a:lnTo>
                    <a:lnTo>
                      <a:pt x="34718" y="11892"/>
                    </a:lnTo>
                    <a:lnTo>
                      <a:pt x="34599" y="11235"/>
                    </a:lnTo>
                    <a:lnTo>
                      <a:pt x="34360" y="10577"/>
                    </a:lnTo>
                    <a:lnTo>
                      <a:pt x="34121" y="9920"/>
                    </a:lnTo>
                    <a:lnTo>
                      <a:pt x="33882" y="9263"/>
                    </a:lnTo>
                    <a:lnTo>
                      <a:pt x="33583" y="8606"/>
                    </a:lnTo>
                    <a:lnTo>
                      <a:pt x="33224" y="8008"/>
                    </a:lnTo>
                    <a:lnTo>
                      <a:pt x="32806" y="7410"/>
                    </a:lnTo>
                    <a:lnTo>
                      <a:pt x="32388" y="6813"/>
                    </a:lnTo>
                    <a:lnTo>
                      <a:pt x="31910" y="6275"/>
                    </a:lnTo>
                    <a:lnTo>
                      <a:pt x="31432" y="5737"/>
                    </a:lnTo>
                    <a:lnTo>
                      <a:pt x="30894" y="5200"/>
                    </a:lnTo>
                    <a:lnTo>
                      <a:pt x="30296" y="4721"/>
                    </a:lnTo>
                    <a:lnTo>
                      <a:pt x="29280" y="3945"/>
                    </a:lnTo>
                    <a:lnTo>
                      <a:pt x="28205" y="3228"/>
                    </a:lnTo>
                    <a:lnTo>
                      <a:pt x="27069" y="2570"/>
                    </a:lnTo>
                    <a:lnTo>
                      <a:pt x="25874" y="1973"/>
                    </a:lnTo>
                    <a:lnTo>
                      <a:pt x="24679" y="1435"/>
                    </a:lnTo>
                    <a:lnTo>
                      <a:pt x="23424" y="1017"/>
                    </a:lnTo>
                    <a:lnTo>
                      <a:pt x="22170" y="658"/>
                    </a:lnTo>
                    <a:lnTo>
                      <a:pt x="20855" y="359"/>
                    </a:lnTo>
                    <a:lnTo>
                      <a:pt x="19540" y="180"/>
                    </a:lnTo>
                    <a:lnTo>
                      <a:pt x="18226" y="61"/>
                    </a:lnTo>
                    <a:lnTo>
                      <a:pt x="1691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7" name="Google Shape;28;p2">
                <a:extLst>
                  <a:ext uri="{FF2B5EF4-FFF2-40B4-BE49-F238E27FC236}">
                    <a16:creationId xmlns:a16="http://schemas.microsoft.com/office/drawing/2014/main" id="{3D9B1AC4-3008-D157-C9D6-CAEDB29B15BE}"/>
                  </a:ext>
                </a:extLst>
              </p:cNvPr>
              <p:cNvSpPr/>
              <p:nvPr/>
            </p:nvSpPr>
            <p:spPr>
              <a:xfrm>
                <a:off x="8170373" y="4682299"/>
                <a:ext cx="601266" cy="549535"/>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 name="Google Shape;29;p2">
              <a:extLst>
                <a:ext uri="{FF2B5EF4-FFF2-40B4-BE49-F238E27FC236}">
                  <a16:creationId xmlns:a16="http://schemas.microsoft.com/office/drawing/2014/main" id="{7FF340DC-09D0-98AB-EEBF-6FCD2DE87370}"/>
                </a:ext>
              </a:extLst>
            </p:cNvPr>
            <p:cNvSpPr/>
            <p:nvPr/>
          </p:nvSpPr>
          <p:spPr>
            <a:xfrm rot="2001982">
              <a:off x="136143" y="2216866"/>
              <a:ext cx="321474" cy="709766"/>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7" name="Google Shape;30;p2">
              <a:extLst>
                <a:ext uri="{FF2B5EF4-FFF2-40B4-BE49-F238E27FC236}">
                  <a16:creationId xmlns:a16="http://schemas.microsoft.com/office/drawing/2014/main" id="{DC82E49F-826B-D395-190A-F7D1EAA117B3}"/>
                </a:ext>
              </a:extLst>
            </p:cNvPr>
            <p:cNvGrpSpPr/>
            <p:nvPr/>
          </p:nvGrpSpPr>
          <p:grpSpPr>
            <a:xfrm>
              <a:off x="968652" y="3696885"/>
              <a:ext cx="565312" cy="602473"/>
              <a:chOff x="813652" y="3801560"/>
              <a:chExt cx="565312" cy="602473"/>
            </a:xfrm>
          </p:grpSpPr>
          <p:sp>
            <p:nvSpPr>
              <p:cNvPr id="84" name="Google Shape;31;p2">
                <a:extLst>
                  <a:ext uri="{FF2B5EF4-FFF2-40B4-BE49-F238E27FC236}">
                    <a16:creationId xmlns:a16="http://schemas.microsoft.com/office/drawing/2014/main" id="{87922206-C33D-BD38-1916-ACABE2183F3A}"/>
                  </a:ext>
                </a:extLst>
              </p:cNvPr>
              <p:cNvSpPr/>
              <p:nvPr/>
            </p:nvSpPr>
            <p:spPr>
              <a:xfrm rot="6264782">
                <a:off x="849950" y="3919090"/>
                <a:ext cx="380679" cy="370162"/>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5" name="Google Shape;32;p2">
                <a:extLst>
                  <a:ext uri="{FF2B5EF4-FFF2-40B4-BE49-F238E27FC236}">
                    <a16:creationId xmlns:a16="http://schemas.microsoft.com/office/drawing/2014/main" id="{EB20F055-BCC2-7683-A739-FBB728AE5104}"/>
                  </a:ext>
                </a:extLst>
              </p:cNvPr>
              <p:cNvSpPr/>
              <p:nvPr/>
            </p:nvSpPr>
            <p:spPr>
              <a:xfrm rot="-1974315">
                <a:off x="996275" y="3825647"/>
                <a:ext cx="252371" cy="554298"/>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8" name="Google Shape;33;p2">
              <a:extLst>
                <a:ext uri="{FF2B5EF4-FFF2-40B4-BE49-F238E27FC236}">
                  <a16:creationId xmlns:a16="http://schemas.microsoft.com/office/drawing/2014/main" id="{8B6C04EB-E36E-4A39-C463-8BF150D41B21}"/>
                </a:ext>
              </a:extLst>
            </p:cNvPr>
            <p:cNvSpPr/>
            <p:nvPr/>
          </p:nvSpPr>
          <p:spPr>
            <a:xfrm>
              <a:off x="4101001" y="4649180"/>
              <a:ext cx="376856" cy="254902"/>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9" name="Google Shape;34;p2">
              <a:extLst>
                <a:ext uri="{FF2B5EF4-FFF2-40B4-BE49-F238E27FC236}">
                  <a16:creationId xmlns:a16="http://schemas.microsoft.com/office/drawing/2014/main" id="{A01C4DF0-E35C-CDFB-C449-51F9CC3BF05A}"/>
                </a:ext>
              </a:extLst>
            </p:cNvPr>
            <p:cNvSpPr/>
            <p:nvPr/>
          </p:nvSpPr>
          <p:spPr>
            <a:xfrm>
              <a:off x="8091625" y="827000"/>
              <a:ext cx="485245" cy="329049"/>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0" name="Google Shape;35;p2">
              <a:extLst>
                <a:ext uri="{FF2B5EF4-FFF2-40B4-BE49-F238E27FC236}">
                  <a16:creationId xmlns:a16="http://schemas.microsoft.com/office/drawing/2014/main" id="{B74C21B7-2E50-5D92-DB50-8366A92B1F21}"/>
                </a:ext>
              </a:extLst>
            </p:cNvPr>
            <p:cNvSpPr/>
            <p:nvPr/>
          </p:nvSpPr>
          <p:spPr>
            <a:xfrm rot="3971375">
              <a:off x="3138581" y="4622816"/>
              <a:ext cx="362909" cy="668479"/>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1" name="Google Shape;36;p2">
              <a:extLst>
                <a:ext uri="{FF2B5EF4-FFF2-40B4-BE49-F238E27FC236}">
                  <a16:creationId xmlns:a16="http://schemas.microsoft.com/office/drawing/2014/main" id="{2E6BCD2C-0E6E-1608-432A-D57EC3350DA9}"/>
                </a:ext>
              </a:extLst>
            </p:cNvPr>
            <p:cNvSpPr/>
            <p:nvPr/>
          </p:nvSpPr>
          <p:spPr>
            <a:xfrm rot="-3375824">
              <a:off x="8508205" y="4088864"/>
              <a:ext cx="623152" cy="166730"/>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2" name="Google Shape;37;p2">
              <a:extLst>
                <a:ext uri="{FF2B5EF4-FFF2-40B4-BE49-F238E27FC236}">
                  <a16:creationId xmlns:a16="http://schemas.microsoft.com/office/drawing/2014/main" id="{486D3B1C-D1CD-E11F-08BF-E2BD6657B7BA}"/>
                </a:ext>
              </a:extLst>
            </p:cNvPr>
            <p:cNvSpPr/>
            <p:nvPr/>
          </p:nvSpPr>
          <p:spPr>
            <a:xfrm rot="3011666">
              <a:off x="3210524" y="657803"/>
              <a:ext cx="199800" cy="513948"/>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3" name="Google Shape;38;p2">
              <a:extLst>
                <a:ext uri="{FF2B5EF4-FFF2-40B4-BE49-F238E27FC236}">
                  <a16:creationId xmlns:a16="http://schemas.microsoft.com/office/drawing/2014/main" id="{CE69955E-B189-D7BE-FBD5-145B7021E767}"/>
                </a:ext>
              </a:extLst>
            </p:cNvPr>
            <p:cNvSpPr/>
            <p:nvPr/>
          </p:nvSpPr>
          <p:spPr>
            <a:xfrm rot="2196195">
              <a:off x="6146037" y="457710"/>
              <a:ext cx="248001" cy="64914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14" name="Google Shape;39;p2">
              <a:extLst>
                <a:ext uri="{FF2B5EF4-FFF2-40B4-BE49-F238E27FC236}">
                  <a16:creationId xmlns:a16="http://schemas.microsoft.com/office/drawing/2014/main" id="{1F88CAAB-4904-D051-ED3B-70FA24389717}"/>
                </a:ext>
              </a:extLst>
            </p:cNvPr>
            <p:cNvGrpSpPr/>
            <p:nvPr/>
          </p:nvGrpSpPr>
          <p:grpSpPr>
            <a:xfrm>
              <a:off x="5462677" y="4575203"/>
              <a:ext cx="497752" cy="491681"/>
              <a:chOff x="7559440" y="3972390"/>
              <a:chExt cx="497752" cy="491681"/>
            </a:xfrm>
          </p:grpSpPr>
          <p:sp>
            <p:nvSpPr>
              <p:cNvPr id="82" name="Google Shape;40;p2">
                <a:extLst>
                  <a:ext uri="{FF2B5EF4-FFF2-40B4-BE49-F238E27FC236}">
                    <a16:creationId xmlns:a16="http://schemas.microsoft.com/office/drawing/2014/main" id="{EF7704F7-3C84-6630-4B8A-45C1E89B8991}"/>
                  </a:ext>
                </a:extLst>
              </p:cNvPr>
              <p:cNvSpPr/>
              <p:nvPr/>
            </p:nvSpPr>
            <p:spPr>
              <a:xfrm rot="1226546">
                <a:off x="7692589" y="4106488"/>
                <a:ext cx="320298" cy="311457"/>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3" name="Google Shape;41;p2">
                <a:extLst>
                  <a:ext uri="{FF2B5EF4-FFF2-40B4-BE49-F238E27FC236}">
                    <a16:creationId xmlns:a16="http://schemas.microsoft.com/office/drawing/2014/main" id="{AC72388D-9E25-7A53-ABE7-23ACA3361EA4}"/>
                  </a:ext>
                </a:extLst>
              </p:cNvPr>
              <p:cNvSpPr/>
              <p:nvPr/>
            </p:nvSpPr>
            <p:spPr>
              <a:xfrm rot="9911830">
                <a:off x="7595186" y="4010311"/>
                <a:ext cx="338915" cy="323847"/>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15" name="Google Shape;42;p2">
              <a:extLst>
                <a:ext uri="{FF2B5EF4-FFF2-40B4-BE49-F238E27FC236}">
                  <a16:creationId xmlns:a16="http://schemas.microsoft.com/office/drawing/2014/main" id="{2FA37B22-1DE2-5F27-6F96-FDFC8A2BCDD7}"/>
                </a:ext>
              </a:extLst>
            </p:cNvPr>
            <p:cNvGrpSpPr/>
            <p:nvPr/>
          </p:nvGrpSpPr>
          <p:grpSpPr>
            <a:xfrm>
              <a:off x="510215" y="271717"/>
              <a:ext cx="557022" cy="619823"/>
              <a:chOff x="510215" y="271717"/>
              <a:chExt cx="557022" cy="619823"/>
            </a:xfrm>
          </p:grpSpPr>
          <p:sp>
            <p:nvSpPr>
              <p:cNvPr id="80" name="Google Shape;43;p2">
                <a:extLst>
                  <a:ext uri="{FF2B5EF4-FFF2-40B4-BE49-F238E27FC236}">
                    <a16:creationId xmlns:a16="http://schemas.microsoft.com/office/drawing/2014/main" id="{B6D4D1E2-4683-9C14-7A57-CA44D6522F4E}"/>
                  </a:ext>
                </a:extLst>
              </p:cNvPr>
              <p:cNvSpPr/>
              <p:nvPr/>
            </p:nvSpPr>
            <p:spPr>
              <a:xfrm>
                <a:off x="676827" y="376200"/>
                <a:ext cx="316843" cy="320881"/>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1" name="Google Shape;44;p2">
                <a:extLst>
                  <a:ext uri="{FF2B5EF4-FFF2-40B4-BE49-F238E27FC236}">
                    <a16:creationId xmlns:a16="http://schemas.microsoft.com/office/drawing/2014/main" id="{F1A5F68C-7E89-AD0B-EB86-A331CFF2857B}"/>
                  </a:ext>
                </a:extLst>
              </p:cNvPr>
              <p:cNvSpPr/>
              <p:nvPr/>
            </p:nvSpPr>
            <p:spPr>
              <a:xfrm>
                <a:off x="510215" y="271717"/>
                <a:ext cx="557022" cy="619823"/>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16" name="Google Shape;45;p2">
              <a:extLst>
                <a:ext uri="{FF2B5EF4-FFF2-40B4-BE49-F238E27FC236}">
                  <a16:creationId xmlns:a16="http://schemas.microsoft.com/office/drawing/2014/main" id="{0A0A4635-AF84-F54B-EF5C-360525760775}"/>
                </a:ext>
              </a:extLst>
            </p:cNvPr>
            <p:cNvSpPr/>
            <p:nvPr/>
          </p:nvSpPr>
          <p:spPr>
            <a:xfrm>
              <a:off x="1778886" y="4237081"/>
              <a:ext cx="556337" cy="631409"/>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7" name="Google Shape;46;p2">
              <a:extLst>
                <a:ext uri="{FF2B5EF4-FFF2-40B4-BE49-F238E27FC236}">
                  <a16:creationId xmlns:a16="http://schemas.microsoft.com/office/drawing/2014/main" id="{89B02591-9CEA-715F-D5D3-19646A0A3814}"/>
                </a:ext>
              </a:extLst>
            </p:cNvPr>
            <p:cNvSpPr/>
            <p:nvPr/>
          </p:nvSpPr>
          <p:spPr>
            <a:xfrm rot="-982808">
              <a:off x="7867083" y="4603094"/>
              <a:ext cx="701993" cy="567693"/>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8" name="Google Shape;47;p2">
              <a:extLst>
                <a:ext uri="{FF2B5EF4-FFF2-40B4-BE49-F238E27FC236}">
                  <a16:creationId xmlns:a16="http://schemas.microsoft.com/office/drawing/2014/main" id="{D8AAA867-947C-5CA1-0B14-800859DB9D4E}"/>
                </a:ext>
              </a:extLst>
            </p:cNvPr>
            <p:cNvSpPr/>
            <p:nvPr/>
          </p:nvSpPr>
          <p:spPr>
            <a:xfrm rot="1185294">
              <a:off x="4798350" y="3885963"/>
              <a:ext cx="616477" cy="671778"/>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9" name="Google Shape;48;p2">
              <a:extLst>
                <a:ext uri="{FF2B5EF4-FFF2-40B4-BE49-F238E27FC236}">
                  <a16:creationId xmlns:a16="http://schemas.microsoft.com/office/drawing/2014/main" id="{5B73BE1E-2D35-BD46-2CA1-AE547411BD0F}"/>
                </a:ext>
              </a:extLst>
            </p:cNvPr>
            <p:cNvSpPr/>
            <p:nvPr/>
          </p:nvSpPr>
          <p:spPr>
            <a:xfrm>
              <a:off x="1393062" y="748927"/>
              <a:ext cx="579203" cy="652168"/>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0" name="Google Shape;49;p2">
              <a:extLst>
                <a:ext uri="{FF2B5EF4-FFF2-40B4-BE49-F238E27FC236}">
                  <a16:creationId xmlns:a16="http://schemas.microsoft.com/office/drawing/2014/main" id="{0217332C-902F-5C40-3444-5C3EBA1D43BB}"/>
                </a:ext>
              </a:extLst>
            </p:cNvPr>
            <p:cNvSpPr/>
            <p:nvPr/>
          </p:nvSpPr>
          <p:spPr>
            <a:xfrm>
              <a:off x="7317433" y="2956555"/>
              <a:ext cx="716315" cy="573888"/>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1" name="Google Shape;50;p2">
              <a:extLst>
                <a:ext uri="{FF2B5EF4-FFF2-40B4-BE49-F238E27FC236}">
                  <a16:creationId xmlns:a16="http://schemas.microsoft.com/office/drawing/2014/main" id="{F4891475-3AFC-9B20-65BA-5A24C9363ABD}"/>
                </a:ext>
              </a:extLst>
            </p:cNvPr>
            <p:cNvSpPr/>
            <p:nvPr/>
          </p:nvSpPr>
          <p:spPr>
            <a:xfrm>
              <a:off x="8750637" y="1716146"/>
              <a:ext cx="454206" cy="406096"/>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2" name="Google Shape;51;p2">
              <a:extLst>
                <a:ext uri="{FF2B5EF4-FFF2-40B4-BE49-F238E27FC236}">
                  <a16:creationId xmlns:a16="http://schemas.microsoft.com/office/drawing/2014/main" id="{49026444-46C5-42C7-1A23-4BCACFEE0BFA}"/>
                </a:ext>
              </a:extLst>
            </p:cNvPr>
            <p:cNvSpPr/>
            <p:nvPr/>
          </p:nvSpPr>
          <p:spPr>
            <a:xfrm rot="-2424156">
              <a:off x="2052510" y="-106317"/>
              <a:ext cx="373867" cy="493313"/>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3" name="Google Shape;52;p2">
              <a:extLst>
                <a:ext uri="{FF2B5EF4-FFF2-40B4-BE49-F238E27FC236}">
                  <a16:creationId xmlns:a16="http://schemas.microsoft.com/office/drawing/2014/main" id="{4D078995-9A4D-40F2-6DB7-184B5712A632}"/>
                </a:ext>
              </a:extLst>
            </p:cNvPr>
            <p:cNvSpPr/>
            <p:nvPr/>
          </p:nvSpPr>
          <p:spPr>
            <a:xfrm>
              <a:off x="5960437" y="3855732"/>
              <a:ext cx="712864" cy="419317"/>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24" name="Google Shape;53;p2">
              <a:extLst>
                <a:ext uri="{FF2B5EF4-FFF2-40B4-BE49-F238E27FC236}">
                  <a16:creationId xmlns:a16="http://schemas.microsoft.com/office/drawing/2014/main" id="{3E106C1B-0A4E-42E8-DC62-29F515C5EEC9}"/>
                </a:ext>
              </a:extLst>
            </p:cNvPr>
            <p:cNvGrpSpPr/>
            <p:nvPr/>
          </p:nvGrpSpPr>
          <p:grpSpPr>
            <a:xfrm rot="891035">
              <a:off x="1165229" y="1691730"/>
              <a:ext cx="657771" cy="386113"/>
              <a:chOff x="1429156" y="1387535"/>
              <a:chExt cx="657769" cy="386112"/>
            </a:xfrm>
          </p:grpSpPr>
          <p:sp>
            <p:nvSpPr>
              <p:cNvPr id="78" name="Google Shape;54;p2">
                <a:extLst>
                  <a:ext uri="{FF2B5EF4-FFF2-40B4-BE49-F238E27FC236}">
                    <a16:creationId xmlns:a16="http://schemas.microsoft.com/office/drawing/2014/main" id="{4F9C3FAA-A991-3DE5-51C2-CB82C0FB7E6A}"/>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9" name="Google Shape;55;p2">
                <a:extLst>
                  <a:ext uri="{FF2B5EF4-FFF2-40B4-BE49-F238E27FC236}">
                    <a16:creationId xmlns:a16="http://schemas.microsoft.com/office/drawing/2014/main" id="{0EF30F4D-63BD-C2FA-2338-0F5A315557F4}"/>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25" name="Google Shape;56;p2">
              <a:extLst>
                <a:ext uri="{FF2B5EF4-FFF2-40B4-BE49-F238E27FC236}">
                  <a16:creationId xmlns:a16="http://schemas.microsoft.com/office/drawing/2014/main" id="{D6A4D23F-73FC-5D55-6E79-9E3DCCF10818}"/>
                </a:ext>
              </a:extLst>
            </p:cNvPr>
            <p:cNvSpPr/>
            <p:nvPr/>
          </p:nvSpPr>
          <p:spPr>
            <a:xfrm rot="-1696692">
              <a:off x="7441723" y="1525254"/>
              <a:ext cx="760522" cy="200454"/>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6" name="Google Shape;57;p2">
              <a:extLst>
                <a:ext uri="{FF2B5EF4-FFF2-40B4-BE49-F238E27FC236}">
                  <a16:creationId xmlns:a16="http://schemas.microsoft.com/office/drawing/2014/main" id="{2F7E8455-20E3-959C-7A74-2510861948A0}"/>
                </a:ext>
              </a:extLst>
            </p:cNvPr>
            <p:cNvSpPr/>
            <p:nvPr/>
          </p:nvSpPr>
          <p:spPr>
            <a:xfrm>
              <a:off x="1161548" y="2558031"/>
              <a:ext cx="665135" cy="522113"/>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27" name="Google Shape;58;p2">
              <a:extLst>
                <a:ext uri="{FF2B5EF4-FFF2-40B4-BE49-F238E27FC236}">
                  <a16:creationId xmlns:a16="http://schemas.microsoft.com/office/drawing/2014/main" id="{BFC6B312-A3C9-1523-7ABA-1F8BDD3DB47C}"/>
                </a:ext>
              </a:extLst>
            </p:cNvPr>
            <p:cNvGrpSpPr/>
            <p:nvPr/>
          </p:nvGrpSpPr>
          <p:grpSpPr>
            <a:xfrm>
              <a:off x="346827" y="3411153"/>
              <a:ext cx="376916" cy="455685"/>
              <a:chOff x="1010452" y="1144365"/>
              <a:chExt cx="376916" cy="455685"/>
            </a:xfrm>
          </p:grpSpPr>
          <p:sp>
            <p:nvSpPr>
              <p:cNvPr id="76" name="Google Shape;59;p2">
                <a:extLst>
                  <a:ext uri="{FF2B5EF4-FFF2-40B4-BE49-F238E27FC236}">
                    <a16:creationId xmlns:a16="http://schemas.microsoft.com/office/drawing/2014/main" id="{E30C08A6-F7BE-F853-2A92-90C2AF436FC2}"/>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7" name="Google Shape;60;p2">
                <a:extLst>
                  <a:ext uri="{FF2B5EF4-FFF2-40B4-BE49-F238E27FC236}">
                    <a16:creationId xmlns:a16="http://schemas.microsoft.com/office/drawing/2014/main" id="{BCA30151-56DA-9D77-6AE6-81CE1B3C031B}"/>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28" name="Google Shape;61;p2">
              <a:extLst>
                <a:ext uri="{FF2B5EF4-FFF2-40B4-BE49-F238E27FC236}">
                  <a16:creationId xmlns:a16="http://schemas.microsoft.com/office/drawing/2014/main" id="{21C29430-C694-D107-00E8-6C0CE6007BF8}"/>
                </a:ext>
              </a:extLst>
            </p:cNvPr>
            <p:cNvGrpSpPr/>
            <p:nvPr/>
          </p:nvGrpSpPr>
          <p:grpSpPr>
            <a:xfrm>
              <a:off x="7439637" y="3918577"/>
              <a:ext cx="503800" cy="507307"/>
              <a:chOff x="7439637" y="3918577"/>
              <a:chExt cx="503800" cy="507307"/>
            </a:xfrm>
          </p:grpSpPr>
          <p:sp>
            <p:nvSpPr>
              <p:cNvPr id="74" name="Google Shape;62;p2">
                <a:extLst>
                  <a:ext uri="{FF2B5EF4-FFF2-40B4-BE49-F238E27FC236}">
                    <a16:creationId xmlns:a16="http://schemas.microsoft.com/office/drawing/2014/main" id="{20BDEA82-9E5C-C598-FBB4-0D7E981DEE17}"/>
                  </a:ext>
                </a:extLst>
              </p:cNvPr>
              <p:cNvSpPr/>
              <p:nvPr/>
            </p:nvSpPr>
            <p:spPr>
              <a:xfrm>
                <a:off x="7547126" y="4133375"/>
                <a:ext cx="332324"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5" name="Google Shape;63;p2">
                <a:extLst>
                  <a:ext uri="{FF2B5EF4-FFF2-40B4-BE49-F238E27FC236}">
                    <a16:creationId xmlns:a16="http://schemas.microsoft.com/office/drawing/2014/main" id="{2435F8E0-AF17-512A-C5F4-F31B03BE3459}"/>
                  </a:ext>
                </a:extLst>
              </p:cNvPr>
              <p:cNvSpPr/>
              <p:nvPr/>
            </p:nvSpPr>
            <p:spPr>
              <a:xfrm rot="-1109260">
                <a:off x="7493180" y="3971096"/>
                <a:ext cx="396713" cy="402269"/>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29" name="Google Shape;64;p2">
              <a:extLst>
                <a:ext uri="{FF2B5EF4-FFF2-40B4-BE49-F238E27FC236}">
                  <a16:creationId xmlns:a16="http://schemas.microsoft.com/office/drawing/2014/main" id="{D17B555B-2B1F-85D9-21F2-579B49474F85}"/>
                </a:ext>
              </a:extLst>
            </p:cNvPr>
            <p:cNvSpPr/>
            <p:nvPr/>
          </p:nvSpPr>
          <p:spPr>
            <a:xfrm>
              <a:off x="6255960" y="791694"/>
              <a:ext cx="453103" cy="511439"/>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0" name="Google Shape;65;p2">
              <a:extLst>
                <a:ext uri="{FF2B5EF4-FFF2-40B4-BE49-F238E27FC236}">
                  <a16:creationId xmlns:a16="http://schemas.microsoft.com/office/drawing/2014/main" id="{DFAA52B6-2EBD-64E6-66A4-F653A975BC5A}"/>
                </a:ext>
              </a:extLst>
            </p:cNvPr>
            <p:cNvSpPr/>
            <p:nvPr/>
          </p:nvSpPr>
          <p:spPr>
            <a:xfrm rot="1799564">
              <a:off x="7155158" y="4556613"/>
              <a:ext cx="351219" cy="440001"/>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1" name="Google Shape;66;p2">
              <a:extLst>
                <a:ext uri="{FF2B5EF4-FFF2-40B4-BE49-F238E27FC236}">
                  <a16:creationId xmlns:a16="http://schemas.microsoft.com/office/drawing/2014/main" id="{9F4696AF-4B3E-3D95-9597-FCE11C407156}"/>
                </a:ext>
              </a:extLst>
            </p:cNvPr>
            <p:cNvGrpSpPr/>
            <p:nvPr/>
          </p:nvGrpSpPr>
          <p:grpSpPr>
            <a:xfrm>
              <a:off x="7413193" y="740389"/>
              <a:ext cx="289739" cy="482318"/>
              <a:chOff x="4912930" y="846902"/>
              <a:chExt cx="289739" cy="482318"/>
            </a:xfrm>
          </p:grpSpPr>
          <p:sp>
            <p:nvSpPr>
              <p:cNvPr id="72" name="Google Shape;67;p2">
                <a:extLst>
                  <a:ext uri="{FF2B5EF4-FFF2-40B4-BE49-F238E27FC236}">
                    <a16:creationId xmlns:a16="http://schemas.microsoft.com/office/drawing/2014/main" id="{D773526C-931B-F3CB-7906-FB0BC9656610}"/>
                  </a:ext>
                </a:extLst>
              </p:cNvPr>
              <p:cNvSpPr/>
              <p:nvPr/>
            </p:nvSpPr>
            <p:spPr>
              <a:xfrm rot="-539734">
                <a:off x="4946894" y="1102828"/>
                <a:ext cx="216728" cy="210745"/>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3" name="Google Shape;68;p2">
                <a:extLst>
                  <a:ext uri="{FF2B5EF4-FFF2-40B4-BE49-F238E27FC236}">
                    <a16:creationId xmlns:a16="http://schemas.microsoft.com/office/drawing/2014/main" id="{5AFDCD18-D9A8-FB15-63ED-84F58DCCCD76}"/>
                  </a:ext>
                </a:extLst>
              </p:cNvPr>
              <p:cNvSpPr/>
              <p:nvPr/>
            </p:nvSpPr>
            <p:spPr>
              <a:xfrm>
                <a:off x="4912930" y="846902"/>
                <a:ext cx="289739" cy="45623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2" name="Google Shape;69;p2">
              <a:extLst>
                <a:ext uri="{FF2B5EF4-FFF2-40B4-BE49-F238E27FC236}">
                  <a16:creationId xmlns:a16="http://schemas.microsoft.com/office/drawing/2014/main" id="{B36AC2DF-4135-822C-7575-21C32E4C8404}"/>
                </a:ext>
              </a:extLst>
            </p:cNvPr>
            <p:cNvSpPr/>
            <p:nvPr/>
          </p:nvSpPr>
          <p:spPr>
            <a:xfrm>
              <a:off x="7082287" y="-53997"/>
              <a:ext cx="602898" cy="641121"/>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3" name="Google Shape;70;p2">
              <a:extLst>
                <a:ext uri="{FF2B5EF4-FFF2-40B4-BE49-F238E27FC236}">
                  <a16:creationId xmlns:a16="http://schemas.microsoft.com/office/drawing/2014/main" id="{3CACFAE5-3DB5-446E-E7FB-6798235EA165}"/>
                </a:ext>
              </a:extLst>
            </p:cNvPr>
            <p:cNvSpPr/>
            <p:nvPr/>
          </p:nvSpPr>
          <p:spPr>
            <a:xfrm>
              <a:off x="4981978" y="271723"/>
              <a:ext cx="738779" cy="460515"/>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4" name="Google Shape;71;p2">
              <a:extLst>
                <a:ext uri="{FF2B5EF4-FFF2-40B4-BE49-F238E27FC236}">
                  <a16:creationId xmlns:a16="http://schemas.microsoft.com/office/drawing/2014/main" id="{1D6F03D5-F33E-5C8D-81D7-4B5601BD1C28}"/>
                </a:ext>
              </a:extLst>
            </p:cNvPr>
            <p:cNvGrpSpPr/>
            <p:nvPr/>
          </p:nvGrpSpPr>
          <p:grpSpPr>
            <a:xfrm>
              <a:off x="7801268" y="2011644"/>
              <a:ext cx="583849" cy="670195"/>
              <a:chOff x="7801268" y="2011644"/>
              <a:chExt cx="583849" cy="670195"/>
            </a:xfrm>
          </p:grpSpPr>
          <p:sp>
            <p:nvSpPr>
              <p:cNvPr id="70" name="Google Shape;72;p2">
                <a:extLst>
                  <a:ext uri="{FF2B5EF4-FFF2-40B4-BE49-F238E27FC236}">
                    <a16:creationId xmlns:a16="http://schemas.microsoft.com/office/drawing/2014/main" id="{D8FD9A3F-A34E-FBA9-7736-127DD725330E}"/>
                  </a:ext>
                </a:extLst>
              </p:cNvPr>
              <p:cNvSpPr/>
              <p:nvPr/>
            </p:nvSpPr>
            <p:spPr>
              <a:xfrm rot="6678441">
                <a:off x="7840657" y="2123048"/>
                <a:ext cx="518922" cy="409425"/>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1" name="Google Shape;73;p2">
                <a:extLst>
                  <a:ext uri="{FF2B5EF4-FFF2-40B4-BE49-F238E27FC236}">
                    <a16:creationId xmlns:a16="http://schemas.microsoft.com/office/drawing/2014/main" id="{27916505-AB15-6E35-2F55-20DA739C69E8}"/>
                  </a:ext>
                </a:extLst>
              </p:cNvPr>
              <p:cNvSpPr/>
              <p:nvPr/>
            </p:nvSpPr>
            <p:spPr>
              <a:xfrm rot="-1245048">
                <a:off x="7884626" y="2097617"/>
                <a:ext cx="363919" cy="537176"/>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35" name="Google Shape;74;p2">
              <a:extLst>
                <a:ext uri="{FF2B5EF4-FFF2-40B4-BE49-F238E27FC236}">
                  <a16:creationId xmlns:a16="http://schemas.microsoft.com/office/drawing/2014/main" id="{C9AE4188-F958-F315-AAA6-BFD7AA0877F4}"/>
                </a:ext>
              </a:extLst>
            </p:cNvPr>
            <p:cNvGrpSpPr/>
            <p:nvPr/>
          </p:nvGrpSpPr>
          <p:grpSpPr>
            <a:xfrm>
              <a:off x="286734" y="1360788"/>
              <a:ext cx="437027" cy="515682"/>
              <a:chOff x="286734" y="1360788"/>
              <a:chExt cx="437027" cy="515682"/>
            </a:xfrm>
          </p:grpSpPr>
          <p:sp>
            <p:nvSpPr>
              <p:cNvPr id="68" name="Google Shape;75;p2">
                <a:extLst>
                  <a:ext uri="{FF2B5EF4-FFF2-40B4-BE49-F238E27FC236}">
                    <a16:creationId xmlns:a16="http://schemas.microsoft.com/office/drawing/2014/main" id="{69989F46-730F-F9DB-D857-1C762223FF01}"/>
                  </a:ext>
                </a:extLst>
              </p:cNvPr>
              <p:cNvSpPr/>
              <p:nvPr/>
            </p:nvSpPr>
            <p:spPr>
              <a:xfrm>
                <a:off x="286734" y="1396113"/>
                <a:ext cx="288826"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69" name="Google Shape;76;p2">
                <a:extLst>
                  <a:ext uri="{FF2B5EF4-FFF2-40B4-BE49-F238E27FC236}">
                    <a16:creationId xmlns:a16="http://schemas.microsoft.com/office/drawing/2014/main" id="{A51DF1F5-F1BA-559C-2635-34AE2B3D064F}"/>
                  </a:ext>
                </a:extLst>
              </p:cNvPr>
              <p:cNvSpPr/>
              <p:nvPr/>
            </p:nvSpPr>
            <p:spPr>
              <a:xfrm>
                <a:off x="313599" y="1360788"/>
                <a:ext cx="410163" cy="515682"/>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6" name="Google Shape;77;p2">
              <a:extLst>
                <a:ext uri="{FF2B5EF4-FFF2-40B4-BE49-F238E27FC236}">
                  <a16:creationId xmlns:a16="http://schemas.microsoft.com/office/drawing/2014/main" id="{4CF55771-5B8A-5AE8-803E-BFCB7426B2FA}"/>
                </a:ext>
              </a:extLst>
            </p:cNvPr>
            <p:cNvSpPr/>
            <p:nvPr/>
          </p:nvSpPr>
          <p:spPr>
            <a:xfrm>
              <a:off x="2688787" y="4098763"/>
              <a:ext cx="455682" cy="43272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7" name="Google Shape;78;p2">
              <a:extLst>
                <a:ext uri="{FF2B5EF4-FFF2-40B4-BE49-F238E27FC236}">
                  <a16:creationId xmlns:a16="http://schemas.microsoft.com/office/drawing/2014/main" id="{45369EE2-9B33-69FC-CFAC-8AF8A6D6F40D}"/>
                </a:ext>
              </a:extLst>
            </p:cNvPr>
            <p:cNvSpPr/>
            <p:nvPr/>
          </p:nvSpPr>
          <p:spPr>
            <a:xfrm>
              <a:off x="933400" y="1069738"/>
              <a:ext cx="175646" cy="373020"/>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8" name="Google Shape;79;p2">
              <a:extLst>
                <a:ext uri="{FF2B5EF4-FFF2-40B4-BE49-F238E27FC236}">
                  <a16:creationId xmlns:a16="http://schemas.microsoft.com/office/drawing/2014/main" id="{D548CCC1-DE1D-12B7-4828-5739296F94D7}"/>
                </a:ext>
              </a:extLst>
            </p:cNvPr>
            <p:cNvSpPr/>
            <p:nvPr/>
          </p:nvSpPr>
          <p:spPr>
            <a:xfrm>
              <a:off x="8204352" y="3801552"/>
              <a:ext cx="240787" cy="203050"/>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9" name="Google Shape;80;p2">
              <a:extLst>
                <a:ext uri="{FF2B5EF4-FFF2-40B4-BE49-F238E27FC236}">
                  <a16:creationId xmlns:a16="http://schemas.microsoft.com/office/drawing/2014/main" id="{9FC860A3-BF50-C322-70CF-5B4222B05D62}"/>
                </a:ext>
              </a:extLst>
            </p:cNvPr>
            <p:cNvSpPr/>
            <p:nvPr/>
          </p:nvSpPr>
          <p:spPr>
            <a:xfrm>
              <a:off x="8204357" y="240186"/>
              <a:ext cx="175884" cy="17472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40" name="Google Shape;81;p2">
              <a:extLst>
                <a:ext uri="{FF2B5EF4-FFF2-40B4-BE49-F238E27FC236}">
                  <a16:creationId xmlns:a16="http://schemas.microsoft.com/office/drawing/2014/main" id="{582C6EAB-009D-B557-C84A-628DEFCBC62E}"/>
                </a:ext>
              </a:extLst>
            </p:cNvPr>
            <p:cNvGrpSpPr/>
            <p:nvPr/>
          </p:nvGrpSpPr>
          <p:grpSpPr>
            <a:xfrm>
              <a:off x="8513660" y="3273951"/>
              <a:ext cx="236955" cy="259508"/>
              <a:chOff x="1624551" y="3569952"/>
              <a:chExt cx="236955" cy="259508"/>
            </a:xfrm>
          </p:grpSpPr>
          <p:sp>
            <p:nvSpPr>
              <p:cNvPr id="66" name="Google Shape;82;p2">
                <a:extLst>
                  <a:ext uri="{FF2B5EF4-FFF2-40B4-BE49-F238E27FC236}">
                    <a16:creationId xmlns:a16="http://schemas.microsoft.com/office/drawing/2014/main" id="{CDC21685-E1C7-7FDA-2031-266D08A5E5D8}"/>
                  </a:ext>
                </a:extLst>
              </p:cNvPr>
              <p:cNvSpPr/>
              <p:nvPr/>
            </p:nvSpPr>
            <p:spPr>
              <a:xfrm>
                <a:off x="1624551" y="3569952"/>
                <a:ext cx="224786" cy="227651"/>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67" name="Google Shape;83;p2">
                <a:extLst>
                  <a:ext uri="{FF2B5EF4-FFF2-40B4-BE49-F238E27FC236}">
                    <a16:creationId xmlns:a16="http://schemas.microsoft.com/office/drawing/2014/main" id="{1F721E40-7EC0-6BB6-EC2E-212ED3665036}"/>
                  </a:ext>
                </a:extLst>
              </p:cNvPr>
              <p:cNvSpPr/>
              <p:nvPr/>
            </p:nvSpPr>
            <p:spPr>
              <a:xfrm>
                <a:off x="1625368" y="3599553"/>
                <a:ext cx="236138" cy="229907"/>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41" name="Google Shape;84;p2">
              <a:extLst>
                <a:ext uri="{FF2B5EF4-FFF2-40B4-BE49-F238E27FC236}">
                  <a16:creationId xmlns:a16="http://schemas.microsoft.com/office/drawing/2014/main" id="{AE4CE9A8-6BBC-085E-5AD7-07E934EAD4F7}"/>
                </a:ext>
              </a:extLst>
            </p:cNvPr>
            <p:cNvGrpSpPr/>
            <p:nvPr/>
          </p:nvGrpSpPr>
          <p:grpSpPr>
            <a:xfrm>
              <a:off x="3637530" y="4055057"/>
              <a:ext cx="418773" cy="520154"/>
              <a:chOff x="3637530" y="4055057"/>
              <a:chExt cx="418773" cy="520154"/>
            </a:xfrm>
          </p:grpSpPr>
          <p:sp>
            <p:nvSpPr>
              <p:cNvPr id="64" name="Google Shape;85;p2">
                <a:extLst>
                  <a:ext uri="{FF2B5EF4-FFF2-40B4-BE49-F238E27FC236}">
                    <a16:creationId xmlns:a16="http://schemas.microsoft.com/office/drawing/2014/main" id="{D1B15141-5FD4-715D-1DBA-659D196DF66D}"/>
                  </a:ext>
                </a:extLst>
              </p:cNvPr>
              <p:cNvSpPr/>
              <p:nvPr/>
            </p:nvSpPr>
            <p:spPr>
              <a:xfrm rot="5542319">
                <a:off x="3769303" y="4204066"/>
                <a:ext cx="285154" cy="277283"/>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65" name="Google Shape;86;p2">
                <a:extLst>
                  <a:ext uri="{FF2B5EF4-FFF2-40B4-BE49-F238E27FC236}">
                    <a16:creationId xmlns:a16="http://schemas.microsoft.com/office/drawing/2014/main" id="{4621EA85-404E-C693-C1CC-2B61F79D4A3D}"/>
                  </a:ext>
                </a:extLst>
              </p:cNvPr>
              <p:cNvSpPr/>
              <p:nvPr/>
            </p:nvSpPr>
            <p:spPr>
              <a:xfrm rot="9304419">
                <a:off x="3726725" y="4079275"/>
                <a:ext cx="219185" cy="471718"/>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2" name="Google Shape;87;p2">
              <a:extLst>
                <a:ext uri="{FF2B5EF4-FFF2-40B4-BE49-F238E27FC236}">
                  <a16:creationId xmlns:a16="http://schemas.microsoft.com/office/drawing/2014/main" id="{C4C9C763-BBBA-D0D4-25B2-B8622EC39397}"/>
                </a:ext>
              </a:extLst>
            </p:cNvPr>
            <p:cNvSpPr/>
            <p:nvPr/>
          </p:nvSpPr>
          <p:spPr>
            <a:xfrm>
              <a:off x="3033704" y="205770"/>
              <a:ext cx="238646" cy="243555"/>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3" name="Google Shape;88;p2">
              <a:extLst>
                <a:ext uri="{FF2B5EF4-FFF2-40B4-BE49-F238E27FC236}">
                  <a16:creationId xmlns:a16="http://schemas.microsoft.com/office/drawing/2014/main" id="{B92A7D41-26B8-B67B-2A59-E8D08A8AB14F}"/>
                </a:ext>
              </a:extLst>
            </p:cNvPr>
            <p:cNvSpPr/>
            <p:nvPr/>
          </p:nvSpPr>
          <p:spPr>
            <a:xfrm>
              <a:off x="8737650" y="439219"/>
              <a:ext cx="257856" cy="284838"/>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4" name="Google Shape;89;p2">
              <a:extLst>
                <a:ext uri="{FF2B5EF4-FFF2-40B4-BE49-F238E27FC236}">
                  <a16:creationId xmlns:a16="http://schemas.microsoft.com/office/drawing/2014/main" id="{7EB4C793-261D-DEEA-4004-707B1C8ADBDB}"/>
                </a:ext>
              </a:extLst>
            </p:cNvPr>
            <p:cNvSpPr/>
            <p:nvPr/>
          </p:nvSpPr>
          <p:spPr>
            <a:xfrm>
              <a:off x="1334256" y="207258"/>
              <a:ext cx="223503" cy="240600"/>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5" name="Google Shape;90;p2">
              <a:extLst>
                <a:ext uri="{FF2B5EF4-FFF2-40B4-BE49-F238E27FC236}">
                  <a16:creationId xmlns:a16="http://schemas.microsoft.com/office/drawing/2014/main" id="{78DF96FD-2E9E-1589-6FEC-14689CD72B91}"/>
                </a:ext>
              </a:extLst>
            </p:cNvPr>
            <p:cNvSpPr/>
            <p:nvPr/>
          </p:nvSpPr>
          <p:spPr>
            <a:xfrm>
              <a:off x="7053257" y="3763614"/>
              <a:ext cx="204383" cy="27891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6" name="Google Shape;91;p2">
              <a:extLst>
                <a:ext uri="{FF2B5EF4-FFF2-40B4-BE49-F238E27FC236}">
                  <a16:creationId xmlns:a16="http://schemas.microsoft.com/office/drawing/2014/main" id="{DE79D083-7F87-FEFF-FE01-971784A84E3F}"/>
                </a:ext>
              </a:extLst>
            </p:cNvPr>
            <p:cNvSpPr/>
            <p:nvPr/>
          </p:nvSpPr>
          <p:spPr>
            <a:xfrm>
              <a:off x="711508" y="3001159"/>
              <a:ext cx="154433" cy="272786"/>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7" name="Google Shape;92;p2">
              <a:extLst>
                <a:ext uri="{FF2B5EF4-FFF2-40B4-BE49-F238E27FC236}">
                  <a16:creationId xmlns:a16="http://schemas.microsoft.com/office/drawing/2014/main" id="{C2797596-6630-E1E6-0873-C106FCDA5C82}"/>
                </a:ext>
              </a:extLst>
            </p:cNvPr>
            <p:cNvSpPr/>
            <p:nvPr/>
          </p:nvSpPr>
          <p:spPr>
            <a:xfrm>
              <a:off x="8576875" y="2558027"/>
              <a:ext cx="223822" cy="307981"/>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8" name="Google Shape;93;p2">
              <a:extLst>
                <a:ext uri="{FF2B5EF4-FFF2-40B4-BE49-F238E27FC236}">
                  <a16:creationId xmlns:a16="http://schemas.microsoft.com/office/drawing/2014/main" id="{377B33BA-23F3-E454-F33B-4B5ADAB79869}"/>
                </a:ext>
              </a:extLst>
            </p:cNvPr>
            <p:cNvSpPr/>
            <p:nvPr/>
          </p:nvSpPr>
          <p:spPr>
            <a:xfrm>
              <a:off x="140852" y="836409"/>
              <a:ext cx="224053" cy="290283"/>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49" name="Google Shape;94;p2">
              <a:extLst>
                <a:ext uri="{FF2B5EF4-FFF2-40B4-BE49-F238E27FC236}">
                  <a16:creationId xmlns:a16="http://schemas.microsoft.com/office/drawing/2014/main" id="{E162715E-6D06-C29F-D196-3CE9D9887758}"/>
                </a:ext>
              </a:extLst>
            </p:cNvPr>
            <p:cNvGrpSpPr/>
            <p:nvPr/>
          </p:nvGrpSpPr>
          <p:grpSpPr>
            <a:xfrm>
              <a:off x="6457245" y="4530131"/>
              <a:ext cx="216066" cy="276377"/>
              <a:chOff x="6422295" y="3351500"/>
              <a:chExt cx="252856" cy="323399"/>
            </a:xfrm>
          </p:grpSpPr>
          <p:sp>
            <p:nvSpPr>
              <p:cNvPr id="62" name="Google Shape;95;p2">
                <a:extLst>
                  <a:ext uri="{FF2B5EF4-FFF2-40B4-BE49-F238E27FC236}">
                    <a16:creationId xmlns:a16="http://schemas.microsoft.com/office/drawing/2014/main" id="{1CE1CC33-7D7E-82A9-EAAC-23408940B84C}"/>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3" name="Google Shape;96;p2">
                <a:extLst>
                  <a:ext uri="{FF2B5EF4-FFF2-40B4-BE49-F238E27FC236}">
                    <a16:creationId xmlns:a16="http://schemas.microsoft.com/office/drawing/2014/main" id="{7D9CAAEF-7B53-ED09-209B-E5A0C6F1D33C}"/>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50" name="Google Shape;97;p2">
              <a:extLst>
                <a:ext uri="{FF2B5EF4-FFF2-40B4-BE49-F238E27FC236}">
                  <a16:creationId xmlns:a16="http://schemas.microsoft.com/office/drawing/2014/main" id="{3B4D56F1-9C1E-3CF6-33B9-64FE57210A0B}"/>
                </a:ext>
              </a:extLst>
            </p:cNvPr>
            <p:cNvGrpSpPr/>
            <p:nvPr/>
          </p:nvGrpSpPr>
          <p:grpSpPr>
            <a:xfrm>
              <a:off x="2318449" y="604142"/>
              <a:ext cx="332332" cy="346582"/>
              <a:chOff x="2318449" y="604142"/>
              <a:chExt cx="332332" cy="346582"/>
            </a:xfrm>
          </p:grpSpPr>
          <p:sp>
            <p:nvSpPr>
              <p:cNvPr id="60" name="Google Shape;98;p2">
                <a:extLst>
                  <a:ext uri="{FF2B5EF4-FFF2-40B4-BE49-F238E27FC236}">
                    <a16:creationId xmlns:a16="http://schemas.microsoft.com/office/drawing/2014/main" id="{7E77234A-8CE7-4B2B-8DBF-2C11040B9493}"/>
                  </a:ext>
                </a:extLst>
              </p:cNvPr>
              <p:cNvSpPr/>
              <p:nvPr/>
            </p:nvSpPr>
            <p:spPr>
              <a:xfrm>
                <a:off x="2361884" y="604142"/>
                <a:ext cx="288826"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61" name="Google Shape;99;p2">
                <a:extLst>
                  <a:ext uri="{FF2B5EF4-FFF2-40B4-BE49-F238E27FC236}">
                    <a16:creationId xmlns:a16="http://schemas.microsoft.com/office/drawing/2014/main" id="{DE866DFA-B67D-B09E-22D7-BD201585F84A}"/>
                  </a:ext>
                </a:extLst>
              </p:cNvPr>
              <p:cNvSpPr/>
              <p:nvPr/>
            </p:nvSpPr>
            <p:spPr>
              <a:xfrm>
                <a:off x="2318449" y="613815"/>
                <a:ext cx="332332" cy="336908"/>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51" name="Google Shape;100;p2">
              <a:extLst>
                <a:ext uri="{FF2B5EF4-FFF2-40B4-BE49-F238E27FC236}">
                  <a16:creationId xmlns:a16="http://schemas.microsoft.com/office/drawing/2014/main" id="{A920755E-F4DD-6785-79A3-0478717E01CC}"/>
                </a:ext>
              </a:extLst>
            </p:cNvPr>
            <p:cNvSpPr/>
            <p:nvPr/>
          </p:nvSpPr>
          <p:spPr>
            <a:xfrm>
              <a:off x="6021196" y="137179"/>
              <a:ext cx="265484" cy="205157"/>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2" name="Google Shape;101;p2">
              <a:extLst>
                <a:ext uri="{FF2B5EF4-FFF2-40B4-BE49-F238E27FC236}">
                  <a16:creationId xmlns:a16="http://schemas.microsoft.com/office/drawing/2014/main" id="{BE8DD83A-0E9D-4612-64AD-16E0A4529056}"/>
                </a:ext>
              </a:extLst>
            </p:cNvPr>
            <p:cNvGrpSpPr/>
            <p:nvPr/>
          </p:nvGrpSpPr>
          <p:grpSpPr>
            <a:xfrm>
              <a:off x="1184427" y="4630083"/>
              <a:ext cx="229693" cy="293080"/>
              <a:chOff x="6793660" y="3322411"/>
              <a:chExt cx="268804" cy="342944"/>
            </a:xfrm>
          </p:grpSpPr>
          <p:sp>
            <p:nvSpPr>
              <p:cNvPr id="57" name="Google Shape;102;p2">
                <a:extLst>
                  <a:ext uri="{FF2B5EF4-FFF2-40B4-BE49-F238E27FC236}">
                    <a16:creationId xmlns:a16="http://schemas.microsoft.com/office/drawing/2014/main" id="{3B221F32-03A8-3F23-2DE4-862AC741038F}"/>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8" name="Google Shape;103;p2">
                <a:extLst>
                  <a:ext uri="{FF2B5EF4-FFF2-40B4-BE49-F238E27FC236}">
                    <a16:creationId xmlns:a16="http://schemas.microsoft.com/office/drawing/2014/main" id="{7587873F-1FAD-5A5C-5859-D383A1BAE9C6}"/>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9" name="Google Shape;104;p2">
                <a:extLst>
                  <a:ext uri="{FF2B5EF4-FFF2-40B4-BE49-F238E27FC236}">
                    <a16:creationId xmlns:a16="http://schemas.microsoft.com/office/drawing/2014/main" id="{4AC9D863-5DBF-3930-404D-A1C219D25CE5}"/>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53" name="Google Shape;105;p2">
              <a:extLst>
                <a:ext uri="{FF2B5EF4-FFF2-40B4-BE49-F238E27FC236}">
                  <a16:creationId xmlns:a16="http://schemas.microsoft.com/office/drawing/2014/main" id="{05F82458-A38A-030C-F593-712A04CC6EBC}"/>
                </a:ext>
              </a:extLst>
            </p:cNvPr>
            <p:cNvSpPr/>
            <p:nvPr/>
          </p:nvSpPr>
          <p:spPr>
            <a:xfrm>
              <a:off x="4843337" y="836403"/>
              <a:ext cx="377232" cy="204888"/>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4" name="Google Shape;106;p2">
              <a:extLst>
                <a:ext uri="{FF2B5EF4-FFF2-40B4-BE49-F238E27FC236}">
                  <a16:creationId xmlns:a16="http://schemas.microsoft.com/office/drawing/2014/main" id="{5AA52A4C-BCB7-06AD-9C1D-1C7FBB27DBAB}"/>
                </a:ext>
              </a:extLst>
            </p:cNvPr>
            <p:cNvSpPr/>
            <p:nvPr/>
          </p:nvSpPr>
          <p:spPr>
            <a:xfrm rot="-2218186">
              <a:off x="-38492" y="151543"/>
              <a:ext cx="236276" cy="230041"/>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5" name="Google Shape;107;p2">
              <a:extLst>
                <a:ext uri="{FF2B5EF4-FFF2-40B4-BE49-F238E27FC236}">
                  <a16:creationId xmlns:a16="http://schemas.microsoft.com/office/drawing/2014/main" id="{28DB6D2C-9AC9-AC01-49BF-5F4DF66F6B61}"/>
                </a:ext>
              </a:extLst>
            </p:cNvPr>
            <p:cNvSpPr/>
            <p:nvPr/>
          </p:nvSpPr>
          <p:spPr>
            <a:xfrm rot="1464154">
              <a:off x="4569091" y="-94554"/>
              <a:ext cx="235935" cy="229710"/>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6" name="Google Shape;108;p2">
              <a:extLst>
                <a:ext uri="{FF2B5EF4-FFF2-40B4-BE49-F238E27FC236}">
                  <a16:creationId xmlns:a16="http://schemas.microsoft.com/office/drawing/2014/main" id="{2C15FD77-F8FD-F7E1-C21E-7D75A8676D32}"/>
                </a:ext>
              </a:extLst>
            </p:cNvPr>
            <p:cNvSpPr/>
            <p:nvPr/>
          </p:nvSpPr>
          <p:spPr>
            <a:xfrm rot="-2221343">
              <a:off x="1866371" y="3538528"/>
              <a:ext cx="206347" cy="200902"/>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91" name="Google Shape;694;p13">
            <a:extLst>
              <a:ext uri="{FF2B5EF4-FFF2-40B4-BE49-F238E27FC236}">
                <a16:creationId xmlns:a16="http://schemas.microsoft.com/office/drawing/2014/main" id="{A4F52F74-1602-4292-791E-3DC42330387B}"/>
              </a:ext>
            </a:extLst>
          </p:cNvPr>
          <p:cNvSpPr txBox="1">
            <a:spLocks/>
          </p:cNvSpPr>
          <p:nvPr/>
        </p:nvSpPr>
        <p:spPr>
          <a:xfrm>
            <a:off x="2378345" y="2436884"/>
            <a:ext cx="7223854" cy="1984631"/>
          </a:xfrm>
          <a:prstGeom prst="rect">
            <a:avLst/>
          </a:prstGeom>
        </p:spPr>
        <p:txBody>
          <a:bodyPr spcFirstLastPara="1" wrap="square" lIns="0" tIns="0" rIns="0" bIns="0" anchor="ctr" anchorCtr="0">
            <a:no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ctr"/>
            <a:r>
              <a:rPr lang="da-DK" sz="4800" b="1">
                <a:solidFill>
                  <a:schemeClr val="bg1"/>
                </a:solidFill>
                <a:latin typeface="Amatic SC" panose="00000500000000000000" pitchFamily="2" charset="-79"/>
                <a:cs typeface="Amatic SC" panose="00000500000000000000" pitchFamily="2" charset="-79"/>
              </a:rPr>
              <a:t>Teamsamarbejde er løftestang for udvikling af praksis, når teamet har et fælles børnesyn</a:t>
            </a:r>
          </a:p>
        </p:txBody>
      </p:sp>
    </p:spTree>
    <p:extLst>
      <p:ext uri="{BB962C8B-B14F-4D97-AF65-F5344CB8AC3E}">
        <p14:creationId xmlns:p14="http://schemas.microsoft.com/office/powerpoint/2010/main" val="15844535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29</a:t>
            </a:fld>
            <a:endParaRPr lang="da-DK"/>
          </a:p>
        </p:txBody>
      </p:sp>
      <p:sp>
        <p:nvSpPr>
          <p:cNvPr id="3" name="Slide Number Placeholder 3">
            <a:extLst>
              <a:ext uri="{FF2B5EF4-FFF2-40B4-BE49-F238E27FC236}">
                <a16:creationId xmlns:a16="http://schemas.microsoft.com/office/drawing/2014/main" id="{D649DCE5-69AD-C1B0-9815-C2BE39487E43}"/>
              </a:ext>
            </a:extLst>
          </p:cNvPr>
          <p:cNvSpPr txBox="1">
            <a:spLocks/>
          </p:cNvSpPr>
          <p:nvPr/>
        </p:nvSpPr>
        <p:spPr>
          <a:xfrm>
            <a:off x="11206827" y="5223962"/>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6" name="Rectangle 15">
            <a:extLst>
              <a:ext uri="{FF2B5EF4-FFF2-40B4-BE49-F238E27FC236}">
                <a16:creationId xmlns:a16="http://schemas.microsoft.com/office/drawing/2014/main" id="{69E8CE64-0533-7299-077A-F5CBD4B386AF}"/>
              </a:ext>
            </a:extLst>
          </p:cNvPr>
          <p:cNvSpPr/>
          <p:nvPr/>
        </p:nvSpPr>
        <p:spPr>
          <a:xfrm>
            <a:off x="770411" y="1865191"/>
            <a:ext cx="6653049" cy="2693460"/>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2" name="Google Shape;846;p29">
            <a:extLst>
              <a:ext uri="{FF2B5EF4-FFF2-40B4-BE49-F238E27FC236}">
                <a16:creationId xmlns:a16="http://schemas.microsoft.com/office/drawing/2014/main" id="{15E4C8ED-7C1D-F41F-CFD3-DC21D4DDC86D}"/>
              </a:ext>
            </a:extLst>
          </p:cNvPr>
          <p:cNvSpPr/>
          <p:nvPr/>
        </p:nvSpPr>
        <p:spPr>
          <a:xfrm>
            <a:off x="0" y="346507"/>
            <a:ext cx="12192001" cy="854281"/>
          </a:xfrm>
          <a:prstGeom prst="rect">
            <a:avLst/>
          </a:prstGeom>
          <a:solidFill>
            <a:schemeClr val="accent4"/>
          </a:solidFill>
          <a:ln>
            <a:noFill/>
          </a:ln>
        </p:spPr>
        <p:txBody>
          <a:bodyPr spcFirstLastPara="1" wrap="square" lIns="396000" tIns="91425" rIns="91425" bIns="91425" anchor="ctr" anchorCtr="0">
            <a:noAutofit/>
          </a:bodyPr>
          <a:lstStyle/>
          <a:p>
            <a:pPr algn="ctr">
              <a:tabLst>
                <a:tab pos="2062163" algn="l"/>
              </a:tabLst>
            </a:pPr>
            <a:r>
              <a:rPr lang="da-DK" sz="3200" b="1">
                <a:solidFill>
                  <a:schemeClr val="bg1"/>
                </a:solidFill>
                <a:latin typeface="Amatic SC" panose="00000500000000000000" pitchFamily="2" charset="-79"/>
                <a:cs typeface="Amatic SC" panose="00000500000000000000" pitchFamily="2" charset="-79"/>
              </a:rPr>
              <a:t>Teamsamarbejde er løftestang for udvikling af praksis, når teamet har et fælles børnesyn</a:t>
            </a:r>
          </a:p>
        </p:txBody>
      </p:sp>
      <p:sp>
        <p:nvSpPr>
          <p:cNvPr id="6" name="TextBox 5">
            <a:extLst>
              <a:ext uri="{FF2B5EF4-FFF2-40B4-BE49-F238E27FC236}">
                <a16:creationId xmlns:a16="http://schemas.microsoft.com/office/drawing/2014/main" id="{479CD88A-6E58-621F-7006-85774279DF87}"/>
              </a:ext>
            </a:extLst>
          </p:cNvPr>
          <p:cNvSpPr txBox="1"/>
          <p:nvPr/>
        </p:nvSpPr>
        <p:spPr>
          <a:xfrm>
            <a:off x="770411" y="1583215"/>
            <a:ext cx="6653049" cy="666246"/>
          </a:xfrm>
          <a:prstGeom prst="rect">
            <a:avLst/>
          </a:prstGeom>
          <a:solidFill>
            <a:schemeClr val="accent4"/>
          </a:solidFill>
          <a:ln w="28575">
            <a:solidFill>
              <a:schemeClr val="accent4"/>
            </a:solidFill>
          </a:ln>
        </p:spPr>
        <p:txBody>
          <a:bodyPr wrap="square" lIns="0" tIns="0" rIns="0" bIns="0" rtlCol="0" anchor="ctr">
            <a:noAutofit/>
          </a:bodyPr>
          <a:lstStyle/>
          <a:p>
            <a:pPr algn="ctr"/>
            <a:r>
              <a:rPr lang="da-DK" sz="2400" b="1">
                <a:latin typeface="Amatic SC" panose="00000500000000000000" pitchFamily="2" charset="-79"/>
                <a:cs typeface="Amatic SC" panose="00000500000000000000" pitchFamily="2" charset="-79"/>
              </a:rPr>
              <a:t>det pædagogiske personale oplever, at…</a:t>
            </a:r>
          </a:p>
        </p:txBody>
      </p:sp>
      <p:sp>
        <p:nvSpPr>
          <p:cNvPr id="7" name="TextBox 6">
            <a:extLst>
              <a:ext uri="{FF2B5EF4-FFF2-40B4-BE49-F238E27FC236}">
                <a16:creationId xmlns:a16="http://schemas.microsoft.com/office/drawing/2014/main" id="{BD2606AB-11AB-17EB-93C7-331917089B99}"/>
              </a:ext>
            </a:extLst>
          </p:cNvPr>
          <p:cNvSpPr txBox="1"/>
          <p:nvPr/>
        </p:nvSpPr>
        <p:spPr>
          <a:xfrm>
            <a:off x="879231" y="2518936"/>
            <a:ext cx="6195689" cy="1815882"/>
          </a:xfrm>
          <a:prstGeom prst="rect">
            <a:avLst/>
          </a:prstGeom>
          <a:noFill/>
        </p:spPr>
        <p:txBody>
          <a:bodyPr wrap="square">
            <a:spAutoFit/>
          </a:bodyPr>
          <a:lstStyle/>
          <a:p>
            <a:pPr marL="360000" lvl="1"/>
            <a:r>
              <a:rPr lang="da-DK" sz="1400">
                <a:solidFill>
                  <a:schemeClr val="tx1"/>
                </a:solidFill>
                <a:latin typeface="Quicksand" panose="020B0604020202020204"/>
                <a:cs typeface="Amatic SC" panose="00000500000000000000" pitchFamily="2" charset="-79"/>
              </a:rPr>
              <a:t>… være </a:t>
            </a:r>
            <a:r>
              <a:rPr lang="da-DK" sz="1400" b="1">
                <a:solidFill>
                  <a:schemeClr val="tx1"/>
                </a:solidFill>
                <a:latin typeface="Quicksand" panose="020B0604020202020204"/>
                <a:cs typeface="Amatic SC" panose="00000500000000000000" pitchFamily="2" charset="-79"/>
              </a:rPr>
              <a:t>motiverede for at samarbejde</a:t>
            </a:r>
            <a:r>
              <a:rPr lang="da-DK" sz="1400">
                <a:solidFill>
                  <a:schemeClr val="tx1"/>
                </a:solidFill>
                <a:latin typeface="Quicksand" panose="020B0604020202020204"/>
                <a:cs typeface="Amatic SC" panose="00000500000000000000" pitchFamily="2" charset="-79"/>
              </a:rPr>
              <a:t> i teams om at skabe deltagelsesmuligheder for alle. </a:t>
            </a:r>
          </a:p>
          <a:p>
            <a:pPr marL="360000" lvl="1"/>
            <a:endParaRPr lang="da-DK" sz="1400">
              <a:latin typeface="Quicksand" panose="020B0604020202020204"/>
              <a:cs typeface="Amatic SC" panose="00000500000000000000" pitchFamily="2" charset="-79"/>
            </a:endParaRPr>
          </a:p>
          <a:p>
            <a:pPr marL="360000" lvl="1"/>
            <a:r>
              <a:rPr lang="da-DK" sz="1400">
                <a:latin typeface="Quicksand" panose="020B0604020202020204"/>
                <a:cs typeface="Amatic SC" panose="00000500000000000000" pitchFamily="2" charset="-79"/>
              </a:rPr>
              <a:t>… deres </a:t>
            </a:r>
            <a:r>
              <a:rPr lang="da-DK" sz="1400" b="1">
                <a:latin typeface="Quicksand" panose="020B0604020202020204"/>
                <a:cs typeface="Amatic SC" panose="00000500000000000000" pitchFamily="2" charset="-79"/>
              </a:rPr>
              <a:t>team har viden og kompetencerne </a:t>
            </a:r>
            <a:r>
              <a:rPr lang="da-DK" sz="1400">
                <a:latin typeface="Quicksand" panose="020B0604020202020204"/>
                <a:cs typeface="Amatic SC" panose="00000500000000000000" pitchFamily="2" charset="-79"/>
              </a:rPr>
              <a:t>til at skabe deltagelsesmuligheder for alle.</a:t>
            </a:r>
          </a:p>
          <a:p>
            <a:pPr marL="360000" lvl="1"/>
            <a:endParaRPr lang="da-DK" sz="1400">
              <a:latin typeface="Quicksand" panose="020B0604020202020204"/>
              <a:cs typeface="Amatic SC" panose="00000500000000000000" pitchFamily="2" charset="-79"/>
            </a:endParaRPr>
          </a:p>
          <a:p>
            <a:pPr marL="360000" lvl="1"/>
            <a:r>
              <a:rPr lang="da-DK" sz="1400">
                <a:latin typeface="Quicksand" panose="020B0604020202020204"/>
                <a:cs typeface="Amatic SC" panose="00000500000000000000" pitchFamily="2" charset="-79"/>
              </a:rPr>
              <a:t>… et velfungerende teamsamarbejde er en </a:t>
            </a:r>
            <a:r>
              <a:rPr lang="da-DK" sz="1400" b="1">
                <a:latin typeface="Quicksand" panose="020B0604020202020204"/>
                <a:cs typeface="Amatic SC" panose="00000500000000000000" pitchFamily="2" charset="-79"/>
              </a:rPr>
              <a:t>forudsætning for at lykkes </a:t>
            </a:r>
            <a:r>
              <a:rPr lang="da-DK" sz="1400">
                <a:latin typeface="Quicksand" panose="020B0604020202020204"/>
                <a:cs typeface="Amatic SC" panose="00000500000000000000" pitchFamily="2" charset="-79"/>
              </a:rPr>
              <a:t>med at udvikle praksis. </a:t>
            </a:r>
          </a:p>
        </p:txBody>
      </p:sp>
      <p:sp>
        <p:nvSpPr>
          <p:cNvPr id="11" name="TextBox 10">
            <a:extLst>
              <a:ext uri="{FF2B5EF4-FFF2-40B4-BE49-F238E27FC236}">
                <a16:creationId xmlns:a16="http://schemas.microsoft.com/office/drawing/2014/main" id="{6522811D-D684-D540-607B-3B8A9E427BF6}"/>
              </a:ext>
            </a:extLst>
          </p:cNvPr>
          <p:cNvSpPr txBox="1"/>
          <p:nvPr/>
        </p:nvSpPr>
        <p:spPr>
          <a:xfrm>
            <a:off x="8428257" y="2249461"/>
            <a:ext cx="2993331" cy="1938992"/>
          </a:xfrm>
          <a:prstGeom prst="rect">
            <a:avLst/>
          </a:prstGeom>
          <a:noFill/>
          <a:ln>
            <a:noFill/>
          </a:ln>
        </p:spPr>
        <p:txBody>
          <a:bodyPr wrap="square" lIns="0" tIns="0" rIns="0" bIns="0" rtlCol="0">
            <a:spAutoFit/>
          </a:bodyPr>
          <a:lstStyle/>
          <a:p>
            <a:r>
              <a:rPr lang="da-DK" sz="1400" dirty="0">
                <a:solidFill>
                  <a:schemeClr val="accent4"/>
                </a:solidFill>
                <a:latin typeface="Quicksand" panose="020B0604020202020204" charset="0"/>
                <a:cs typeface="Quicksand" panose="020B0604020202020204" charset="0"/>
              </a:rPr>
              <a:t>Når vi tør være åbne over for at dele vores undervisning med hinanden, så åbner vi ligesom op for at kunne skabe de her læringsmiljøer med deltagelsesmuligheder for alle. I fællesskab kan vi jo se mere og gøre mere, end vi kan som individer.  </a:t>
            </a:r>
          </a:p>
          <a:p>
            <a:pPr algn="r"/>
            <a:r>
              <a:rPr lang="da-DK" sz="1000" i="1" dirty="0">
                <a:solidFill>
                  <a:schemeClr val="accent4"/>
                </a:solidFill>
                <a:latin typeface="Quicksand" panose="020B0604020202020204" charset="0"/>
                <a:cs typeface="Quicksand" panose="020B0604020202020204" charset="0"/>
              </a:rPr>
              <a:t>Pædagogisk personale</a:t>
            </a:r>
          </a:p>
          <a:p>
            <a:pPr algn="r"/>
            <a:endParaRPr lang="da-DK" sz="1000" i="1" dirty="0">
              <a:solidFill>
                <a:schemeClr val="accent4"/>
              </a:solidFill>
              <a:latin typeface="Quicksand" panose="020B0604020202020204" charset="0"/>
              <a:cs typeface="Quicksand" panose="020B0604020202020204" charset="0"/>
            </a:endParaRPr>
          </a:p>
          <a:p>
            <a:endParaRPr lang="da-DK" sz="800" dirty="0">
              <a:latin typeface="Quicksand" panose="020B0604020202020204" charset="0"/>
              <a:cs typeface="Quicksand" panose="020B0604020202020204" charset="0"/>
            </a:endParaRPr>
          </a:p>
        </p:txBody>
      </p:sp>
      <p:sp>
        <p:nvSpPr>
          <p:cNvPr id="15" name="Google Shape;1275;p48">
            <a:extLst>
              <a:ext uri="{FF2B5EF4-FFF2-40B4-BE49-F238E27FC236}">
                <a16:creationId xmlns:a16="http://schemas.microsoft.com/office/drawing/2014/main" id="{1ACACBD9-EF5B-A766-9F60-64E4D71D1475}"/>
              </a:ext>
            </a:extLst>
          </p:cNvPr>
          <p:cNvSpPr/>
          <p:nvPr/>
        </p:nvSpPr>
        <p:spPr>
          <a:xfrm>
            <a:off x="1980228" y="1715877"/>
            <a:ext cx="321749" cy="403662"/>
          </a:xfrm>
          <a:custGeom>
            <a:avLst/>
            <a:gdLst/>
            <a:ahLst/>
            <a:cxnLst/>
            <a:rect l="l" t="t" r="r" b="b"/>
            <a:pathLst>
              <a:path w="14722" h="18470" extrusionOk="0">
                <a:moveTo>
                  <a:pt x="11874" y="658"/>
                </a:moveTo>
                <a:lnTo>
                  <a:pt x="11826" y="1291"/>
                </a:lnTo>
                <a:lnTo>
                  <a:pt x="11777" y="1923"/>
                </a:lnTo>
                <a:lnTo>
                  <a:pt x="11753" y="2264"/>
                </a:lnTo>
                <a:lnTo>
                  <a:pt x="11680" y="2580"/>
                </a:lnTo>
                <a:lnTo>
                  <a:pt x="11607" y="2872"/>
                </a:lnTo>
                <a:lnTo>
                  <a:pt x="11509" y="3188"/>
                </a:lnTo>
                <a:lnTo>
                  <a:pt x="11412" y="3407"/>
                </a:lnTo>
                <a:lnTo>
                  <a:pt x="11290" y="3626"/>
                </a:lnTo>
                <a:lnTo>
                  <a:pt x="11144" y="3797"/>
                </a:lnTo>
                <a:lnTo>
                  <a:pt x="10974" y="3943"/>
                </a:lnTo>
                <a:lnTo>
                  <a:pt x="10779" y="4064"/>
                </a:lnTo>
                <a:lnTo>
                  <a:pt x="10560" y="4162"/>
                </a:lnTo>
                <a:lnTo>
                  <a:pt x="10341" y="4235"/>
                </a:lnTo>
                <a:lnTo>
                  <a:pt x="10122" y="4308"/>
                </a:lnTo>
                <a:lnTo>
                  <a:pt x="9976" y="4332"/>
                </a:lnTo>
                <a:lnTo>
                  <a:pt x="9855" y="4332"/>
                </a:lnTo>
                <a:lnTo>
                  <a:pt x="9563" y="4308"/>
                </a:lnTo>
                <a:lnTo>
                  <a:pt x="9295" y="4259"/>
                </a:lnTo>
                <a:lnTo>
                  <a:pt x="9052" y="4162"/>
                </a:lnTo>
                <a:lnTo>
                  <a:pt x="9392" y="3894"/>
                </a:lnTo>
                <a:lnTo>
                  <a:pt x="9611" y="3675"/>
                </a:lnTo>
                <a:lnTo>
                  <a:pt x="9806" y="3432"/>
                </a:lnTo>
                <a:lnTo>
                  <a:pt x="10025" y="3188"/>
                </a:lnTo>
                <a:lnTo>
                  <a:pt x="10220" y="2921"/>
                </a:lnTo>
                <a:lnTo>
                  <a:pt x="10366" y="2629"/>
                </a:lnTo>
                <a:lnTo>
                  <a:pt x="10512" y="2337"/>
                </a:lnTo>
                <a:lnTo>
                  <a:pt x="10633" y="2045"/>
                </a:lnTo>
                <a:lnTo>
                  <a:pt x="10706" y="1753"/>
                </a:lnTo>
                <a:lnTo>
                  <a:pt x="10706" y="1680"/>
                </a:lnTo>
                <a:lnTo>
                  <a:pt x="10682" y="1607"/>
                </a:lnTo>
                <a:lnTo>
                  <a:pt x="10658" y="1558"/>
                </a:lnTo>
                <a:lnTo>
                  <a:pt x="10585" y="1534"/>
                </a:lnTo>
                <a:lnTo>
                  <a:pt x="10536" y="1510"/>
                </a:lnTo>
                <a:lnTo>
                  <a:pt x="10463" y="1510"/>
                </a:lnTo>
                <a:lnTo>
                  <a:pt x="10414" y="1558"/>
                </a:lnTo>
                <a:lnTo>
                  <a:pt x="10366" y="1607"/>
                </a:lnTo>
                <a:lnTo>
                  <a:pt x="10098" y="2069"/>
                </a:lnTo>
                <a:lnTo>
                  <a:pt x="9855" y="2531"/>
                </a:lnTo>
                <a:lnTo>
                  <a:pt x="9587" y="2969"/>
                </a:lnTo>
                <a:lnTo>
                  <a:pt x="9441" y="3188"/>
                </a:lnTo>
                <a:lnTo>
                  <a:pt x="9271" y="3383"/>
                </a:lnTo>
                <a:lnTo>
                  <a:pt x="9027" y="3626"/>
                </a:lnTo>
                <a:lnTo>
                  <a:pt x="8760" y="3845"/>
                </a:lnTo>
                <a:lnTo>
                  <a:pt x="8735" y="3845"/>
                </a:lnTo>
                <a:lnTo>
                  <a:pt x="8638" y="3724"/>
                </a:lnTo>
                <a:lnTo>
                  <a:pt x="8589" y="3578"/>
                </a:lnTo>
                <a:lnTo>
                  <a:pt x="8565" y="3432"/>
                </a:lnTo>
                <a:lnTo>
                  <a:pt x="8541" y="3261"/>
                </a:lnTo>
                <a:lnTo>
                  <a:pt x="8589" y="2921"/>
                </a:lnTo>
                <a:lnTo>
                  <a:pt x="8638" y="2629"/>
                </a:lnTo>
                <a:lnTo>
                  <a:pt x="8711" y="2410"/>
                </a:lnTo>
                <a:lnTo>
                  <a:pt x="8808" y="2215"/>
                </a:lnTo>
                <a:lnTo>
                  <a:pt x="8930" y="2020"/>
                </a:lnTo>
                <a:lnTo>
                  <a:pt x="9052" y="1850"/>
                </a:lnTo>
                <a:lnTo>
                  <a:pt x="9222" y="1680"/>
                </a:lnTo>
                <a:lnTo>
                  <a:pt x="9392" y="1510"/>
                </a:lnTo>
                <a:lnTo>
                  <a:pt x="9563" y="1388"/>
                </a:lnTo>
                <a:lnTo>
                  <a:pt x="9757" y="1266"/>
                </a:lnTo>
                <a:lnTo>
                  <a:pt x="10001" y="1120"/>
                </a:lnTo>
                <a:lnTo>
                  <a:pt x="10244" y="1023"/>
                </a:lnTo>
                <a:lnTo>
                  <a:pt x="10512" y="950"/>
                </a:lnTo>
                <a:lnTo>
                  <a:pt x="10779" y="877"/>
                </a:lnTo>
                <a:lnTo>
                  <a:pt x="11339" y="755"/>
                </a:lnTo>
                <a:lnTo>
                  <a:pt x="11874" y="658"/>
                </a:lnTo>
                <a:close/>
                <a:moveTo>
                  <a:pt x="1849" y="4527"/>
                </a:moveTo>
                <a:lnTo>
                  <a:pt x="2141" y="4551"/>
                </a:lnTo>
                <a:lnTo>
                  <a:pt x="2433" y="4600"/>
                </a:lnTo>
                <a:lnTo>
                  <a:pt x="2701" y="4648"/>
                </a:lnTo>
                <a:lnTo>
                  <a:pt x="2993" y="4746"/>
                </a:lnTo>
                <a:lnTo>
                  <a:pt x="3236" y="4819"/>
                </a:lnTo>
                <a:lnTo>
                  <a:pt x="3772" y="5062"/>
                </a:lnTo>
                <a:lnTo>
                  <a:pt x="4258" y="5330"/>
                </a:lnTo>
                <a:lnTo>
                  <a:pt x="4721" y="5622"/>
                </a:lnTo>
                <a:lnTo>
                  <a:pt x="4915" y="5768"/>
                </a:lnTo>
                <a:lnTo>
                  <a:pt x="5061" y="5914"/>
                </a:lnTo>
                <a:lnTo>
                  <a:pt x="5232" y="6084"/>
                </a:lnTo>
                <a:lnTo>
                  <a:pt x="5353" y="6254"/>
                </a:lnTo>
                <a:lnTo>
                  <a:pt x="5597" y="6644"/>
                </a:lnTo>
                <a:lnTo>
                  <a:pt x="5816" y="7057"/>
                </a:lnTo>
                <a:lnTo>
                  <a:pt x="5913" y="7301"/>
                </a:lnTo>
                <a:lnTo>
                  <a:pt x="5986" y="7568"/>
                </a:lnTo>
                <a:lnTo>
                  <a:pt x="6059" y="7836"/>
                </a:lnTo>
                <a:lnTo>
                  <a:pt x="6083" y="8104"/>
                </a:lnTo>
                <a:lnTo>
                  <a:pt x="6083" y="8323"/>
                </a:lnTo>
                <a:lnTo>
                  <a:pt x="6059" y="8542"/>
                </a:lnTo>
                <a:lnTo>
                  <a:pt x="5962" y="8858"/>
                </a:lnTo>
                <a:lnTo>
                  <a:pt x="5670" y="8712"/>
                </a:lnTo>
                <a:lnTo>
                  <a:pt x="5305" y="8493"/>
                </a:lnTo>
                <a:lnTo>
                  <a:pt x="4988" y="8250"/>
                </a:lnTo>
                <a:lnTo>
                  <a:pt x="4672" y="7958"/>
                </a:lnTo>
                <a:lnTo>
                  <a:pt x="4380" y="7666"/>
                </a:lnTo>
                <a:lnTo>
                  <a:pt x="4015" y="7179"/>
                </a:lnTo>
                <a:lnTo>
                  <a:pt x="3796" y="6911"/>
                </a:lnTo>
                <a:lnTo>
                  <a:pt x="3553" y="6619"/>
                </a:lnTo>
                <a:lnTo>
                  <a:pt x="3309" y="6376"/>
                </a:lnTo>
                <a:lnTo>
                  <a:pt x="3163" y="6279"/>
                </a:lnTo>
                <a:lnTo>
                  <a:pt x="3042" y="6181"/>
                </a:lnTo>
                <a:lnTo>
                  <a:pt x="2896" y="6108"/>
                </a:lnTo>
                <a:lnTo>
                  <a:pt x="2774" y="6060"/>
                </a:lnTo>
                <a:lnTo>
                  <a:pt x="2628" y="6035"/>
                </a:lnTo>
                <a:lnTo>
                  <a:pt x="2433" y="6035"/>
                </a:lnTo>
                <a:lnTo>
                  <a:pt x="2409" y="6060"/>
                </a:lnTo>
                <a:lnTo>
                  <a:pt x="2409" y="6108"/>
                </a:lnTo>
                <a:lnTo>
                  <a:pt x="2409" y="6157"/>
                </a:lnTo>
                <a:lnTo>
                  <a:pt x="2506" y="6279"/>
                </a:lnTo>
                <a:lnTo>
                  <a:pt x="2604" y="6425"/>
                </a:lnTo>
                <a:lnTo>
                  <a:pt x="2847" y="6668"/>
                </a:lnTo>
                <a:lnTo>
                  <a:pt x="3090" y="6911"/>
                </a:lnTo>
                <a:lnTo>
                  <a:pt x="3309" y="7130"/>
                </a:lnTo>
                <a:lnTo>
                  <a:pt x="3772" y="7739"/>
                </a:lnTo>
                <a:lnTo>
                  <a:pt x="4015" y="8031"/>
                </a:lnTo>
                <a:lnTo>
                  <a:pt x="4258" y="8323"/>
                </a:lnTo>
                <a:lnTo>
                  <a:pt x="4404" y="8444"/>
                </a:lnTo>
                <a:lnTo>
                  <a:pt x="4550" y="8590"/>
                </a:lnTo>
                <a:lnTo>
                  <a:pt x="4867" y="8834"/>
                </a:lnTo>
                <a:lnTo>
                  <a:pt x="5207" y="9053"/>
                </a:lnTo>
                <a:lnTo>
                  <a:pt x="5548" y="9247"/>
                </a:lnTo>
                <a:lnTo>
                  <a:pt x="5353" y="9345"/>
                </a:lnTo>
                <a:lnTo>
                  <a:pt x="5159" y="9418"/>
                </a:lnTo>
                <a:lnTo>
                  <a:pt x="4940" y="9466"/>
                </a:lnTo>
                <a:lnTo>
                  <a:pt x="4745" y="9491"/>
                </a:lnTo>
                <a:lnTo>
                  <a:pt x="4550" y="9491"/>
                </a:lnTo>
                <a:lnTo>
                  <a:pt x="4331" y="9466"/>
                </a:lnTo>
                <a:lnTo>
                  <a:pt x="4112" y="9442"/>
                </a:lnTo>
                <a:lnTo>
                  <a:pt x="3869" y="9369"/>
                </a:lnTo>
                <a:lnTo>
                  <a:pt x="3650" y="9296"/>
                </a:lnTo>
                <a:lnTo>
                  <a:pt x="3407" y="9174"/>
                </a:lnTo>
                <a:lnTo>
                  <a:pt x="3188" y="9053"/>
                </a:lnTo>
                <a:lnTo>
                  <a:pt x="2969" y="8907"/>
                </a:lnTo>
                <a:lnTo>
                  <a:pt x="2774" y="8761"/>
                </a:lnTo>
                <a:lnTo>
                  <a:pt x="2579" y="8590"/>
                </a:lnTo>
                <a:lnTo>
                  <a:pt x="2239" y="8201"/>
                </a:lnTo>
                <a:lnTo>
                  <a:pt x="2068" y="7982"/>
                </a:lnTo>
                <a:lnTo>
                  <a:pt x="1898" y="7714"/>
                </a:lnTo>
                <a:lnTo>
                  <a:pt x="1776" y="7471"/>
                </a:lnTo>
                <a:lnTo>
                  <a:pt x="1655" y="7179"/>
                </a:lnTo>
                <a:lnTo>
                  <a:pt x="1460" y="6619"/>
                </a:lnTo>
                <a:lnTo>
                  <a:pt x="1314" y="6060"/>
                </a:lnTo>
                <a:lnTo>
                  <a:pt x="1144" y="5330"/>
                </a:lnTo>
                <a:lnTo>
                  <a:pt x="1046" y="4940"/>
                </a:lnTo>
                <a:lnTo>
                  <a:pt x="998" y="4575"/>
                </a:lnTo>
                <a:lnTo>
                  <a:pt x="1265" y="4551"/>
                </a:lnTo>
                <a:lnTo>
                  <a:pt x="1557" y="4527"/>
                </a:lnTo>
                <a:close/>
                <a:moveTo>
                  <a:pt x="10974" y="14138"/>
                </a:moveTo>
                <a:lnTo>
                  <a:pt x="10755" y="14187"/>
                </a:lnTo>
                <a:lnTo>
                  <a:pt x="10536" y="14260"/>
                </a:lnTo>
                <a:lnTo>
                  <a:pt x="10098" y="14430"/>
                </a:lnTo>
                <a:lnTo>
                  <a:pt x="9855" y="14503"/>
                </a:lnTo>
                <a:lnTo>
                  <a:pt x="9636" y="14600"/>
                </a:lnTo>
                <a:lnTo>
                  <a:pt x="9198" y="14844"/>
                </a:lnTo>
                <a:lnTo>
                  <a:pt x="9173" y="14868"/>
                </a:lnTo>
                <a:lnTo>
                  <a:pt x="9149" y="14892"/>
                </a:lnTo>
                <a:lnTo>
                  <a:pt x="9173" y="14965"/>
                </a:lnTo>
                <a:lnTo>
                  <a:pt x="9198" y="14990"/>
                </a:lnTo>
                <a:lnTo>
                  <a:pt x="9246" y="15014"/>
                </a:lnTo>
                <a:lnTo>
                  <a:pt x="9271" y="15014"/>
                </a:lnTo>
                <a:lnTo>
                  <a:pt x="9490" y="14941"/>
                </a:lnTo>
                <a:lnTo>
                  <a:pt x="9757" y="14892"/>
                </a:lnTo>
                <a:lnTo>
                  <a:pt x="10268" y="14795"/>
                </a:lnTo>
                <a:lnTo>
                  <a:pt x="10512" y="14722"/>
                </a:lnTo>
                <a:lnTo>
                  <a:pt x="10731" y="14625"/>
                </a:lnTo>
                <a:lnTo>
                  <a:pt x="10828" y="14552"/>
                </a:lnTo>
                <a:lnTo>
                  <a:pt x="10925" y="14479"/>
                </a:lnTo>
                <a:lnTo>
                  <a:pt x="11023" y="14381"/>
                </a:lnTo>
                <a:lnTo>
                  <a:pt x="11096" y="14284"/>
                </a:lnTo>
                <a:lnTo>
                  <a:pt x="11096" y="14235"/>
                </a:lnTo>
                <a:lnTo>
                  <a:pt x="11071" y="14162"/>
                </a:lnTo>
                <a:lnTo>
                  <a:pt x="11023" y="14138"/>
                </a:lnTo>
                <a:close/>
                <a:moveTo>
                  <a:pt x="8297" y="13116"/>
                </a:moveTo>
                <a:lnTo>
                  <a:pt x="8614" y="13140"/>
                </a:lnTo>
                <a:lnTo>
                  <a:pt x="8443" y="13238"/>
                </a:lnTo>
                <a:lnTo>
                  <a:pt x="8370" y="13286"/>
                </a:lnTo>
                <a:lnTo>
                  <a:pt x="8297" y="13335"/>
                </a:lnTo>
                <a:lnTo>
                  <a:pt x="8273" y="13384"/>
                </a:lnTo>
                <a:lnTo>
                  <a:pt x="8249" y="13432"/>
                </a:lnTo>
                <a:lnTo>
                  <a:pt x="8273" y="13505"/>
                </a:lnTo>
                <a:lnTo>
                  <a:pt x="8322" y="13578"/>
                </a:lnTo>
                <a:lnTo>
                  <a:pt x="8370" y="13603"/>
                </a:lnTo>
                <a:lnTo>
                  <a:pt x="8419" y="13627"/>
                </a:lnTo>
                <a:lnTo>
                  <a:pt x="8614" y="13603"/>
                </a:lnTo>
                <a:lnTo>
                  <a:pt x="8784" y="13554"/>
                </a:lnTo>
                <a:lnTo>
                  <a:pt x="9125" y="13432"/>
                </a:lnTo>
                <a:lnTo>
                  <a:pt x="9271" y="13408"/>
                </a:lnTo>
                <a:lnTo>
                  <a:pt x="9538" y="13408"/>
                </a:lnTo>
                <a:lnTo>
                  <a:pt x="9660" y="13384"/>
                </a:lnTo>
                <a:lnTo>
                  <a:pt x="9782" y="13432"/>
                </a:lnTo>
                <a:lnTo>
                  <a:pt x="10220" y="13651"/>
                </a:lnTo>
                <a:lnTo>
                  <a:pt x="9952" y="13724"/>
                </a:lnTo>
                <a:lnTo>
                  <a:pt x="9709" y="13797"/>
                </a:lnTo>
                <a:lnTo>
                  <a:pt x="9149" y="13919"/>
                </a:lnTo>
                <a:lnTo>
                  <a:pt x="8857" y="13968"/>
                </a:lnTo>
                <a:lnTo>
                  <a:pt x="8589" y="14041"/>
                </a:lnTo>
                <a:lnTo>
                  <a:pt x="8541" y="14089"/>
                </a:lnTo>
                <a:lnTo>
                  <a:pt x="8516" y="14138"/>
                </a:lnTo>
                <a:lnTo>
                  <a:pt x="8541" y="14187"/>
                </a:lnTo>
                <a:lnTo>
                  <a:pt x="8589" y="14235"/>
                </a:lnTo>
                <a:lnTo>
                  <a:pt x="8857" y="14284"/>
                </a:lnTo>
                <a:lnTo>
                  <a:pt x="9125" y="14284"/>
                </a:lnTo>
                <a:lnTo>
                  <a:pt x="9392" y="14260"/>
                </a:lnTo>
                <a:lnTo>
                  <a:pt x="9660" y="14211"/>
                </a:lnTo>
                <a:lnTo>
                  <a:pt x="9903" y="14162"/>
                </a:lnTo>
                <a:lnTo>
                  <a:pt x="10171" y="14114"/>
                </a:lnTo>
                <a:lnTo>
                  <a:pt x="10414" y="14016"/>
                </a:lnTo>
                <a:lnTo>
                  <a:pt x="10536" y="13943"/>
                </a:lnTo>
                <a:lnTo>
                  <a:pt x="10633" y="13870"/>
                </a:lnTo>
                <a:lnTo>
                  <a:pt x="11096" y="14162"/>
                </a:lnTo>
                <a:lnTo>
                  <a:pt x="11558" y="14479"/>
                </a:lnTo>
                <a:lnTo>
                  <a:pt x="11631" y="14527"/>
                </a:lnTo>
                <a:lnTo>
                  <a:pt x="11193" y="14722"/>
                </a:lnTo>
                <a:lnTo>
                  <a:pt x="10852" y="14892"/>
                </a:lnTo>
                <a:lnTo>
                  <a:pt x="10512" y="15014"/>
                </a:lnTo>
                <a:lnTo>
                  <a:pt x="10171" y="15136"/>
                </a:lnTo>
                <a:lnTo>
                  <a:pt x="9830" y="15209"/>
                </a:lnTo>
                <a:lnTo>
                  <a:pt x="9782" y="15233"/>
                </a:lnTo>
                <a:lnTo>
                  <a:pt x="9782" y="15257"/>
                </a:lnTo>
                <a:lnTo>
                  <a:pt x="9782" y="15282"/>
                </a:lnTo>
                <a:lnTo>
                  <a:pt x="9830" y="15306"/>
                </a:lnTo>
                <a:lnTo>
                  <a:pt x="9976" y="15330"/>
                </a:lnTo>
                <a:lnTo>
                  <a:pt x="10122" y="15330"/>
                </a:lnTo>
                <a:lnTo>
                  <a:pt x="10414" y="15306"/>
                </a:lnTo>
                <a:lnTo>
                  <a:pt x="10731" y="15233"/>
                </a:lnTo>
                <a:lnTo>
                  <a:pt x="11023" y="15136"/>
                </a:lnTo>
                <a:lnTo>
                  <a:pt x="11485" y="14965"/>
                </a:lnTo>
                <a:lnTo>
                  <a:pt x="11996" y="14771"/>
                </a:lnTo>
                <a:lnTo>
                  <a:pt x="12337" y="15038"/>
                </a:lnTo>
                <a:lnTo>
                  <a:pt x="12093" y="15111"/>
                </a:lnTo>
                <a:lnTo>
                  <a:pt x="11874" y="15209"/>
                </a:lnTo>
                <a:lnTo>
                  <a:pt x="11436" y="15403"/>
                </a:lnTo>
                <a:lnTo>
                  <a:pt x="11047" y="15525"/>
                </a:lnTo>
                <a:lnTo>
                  <a:pt x="10682" y="15647"/>
                </a:lnTo>
                <a:lnTo>
                  <a:pt x="10293" y="15744"/>
                </a:lnTo>
                <a:lnTo>
                  <a:pt x="9903" y="15890"/>
                </a:lnTo>
                <a:lnTo>
                  <a:pt x="9879" y="15914"/>
                </a:lnTo>
                <a:lnTo>
                  <a:pt x="9879" y="15939"/>
                </a:lnTo>
                <a:lnTo>
                  <a:pt x="9879" y="15963"/>
                </a:lnTo>
                <a:lnTo>
                  <a:pt x="9903" y="15987"/>
                </a:lnTo>
                <a:lnTo>
                  <a:pt x="10098" y="16036"/>
                </a:lnTo>
                <a:lnTo>
                  <a:pt x="10268" y="16060"/>
                </a:lnTo>
                <a:lnTo>
                  <a:pt x="10463" y="16036"/>
                </a:lnTo>
                <a:lnTo>
                  <a:pt x="10658" y="16012"/>
                </a:lnTo>
                <a:lnTo>
                  <a:pt x="11023" y="15939"/>
                </a:lnTo>
                <a:lnTo>
                  <a:pt x="11388" y="15817"/>
                </a:lnTo>
                <a:lnTo>
                  <a:pt x="12020" y="15598"/>
                </a:lnTo>
                <a:lnTo>
                  <a:pt x="12337" y="15476"/>
                </a:lnTo>
                <a:lnTo>
                  <a:pt x="12629" y="15306"/>
                </a:lnTo>
                <a:lnTo>
                  <a:pt x="12921" y="15598"/>
                </a:lnTo>
                <a:lnTo>
                  <a:pt x="12434" y="15793"/>
                </a:lnTo>
                <a:lnTo>
                  <a:pt x="11947" y="15963"/>
                </a:lnTo>
                <a:lnTo>
                  <a:pt x="11534" y="16060"/>
                </a:lnTo>
                <a:lnTo>
                  <a:pt x="11096" y="16158"/>
                </a:lnTo>
                <a:lnTo>
                  <a:pt x="10682" y="16255"/>
                </a:lnTo>
                <a:lnTo>
                  <a:pt x="10487" y="16328"/>
                </a:lnTo>
                <a:lnTo>
                  <a:pt x="10293" y="16425"/>
                </a:lnTo>
                <a:lnTo>
                  <a:pt x="10268" y="16450"/>
                </a:lnTo>
                <a:lnTo>
                  <a:pt x="10268" y="16474"/>
                </a:lnTo>
                <a:lnTo>
                  <a:pt x="10268" y="16498"/>
                </a:lnTo>
                <a:lnTo>
                  <a:pt x="10293" y="16523"/>
                </a:lnTo>
                <a:lnTo>
                  <a:pt x="10512" y="16547"/>
                </a:lnTo>
                <a:lnTo>
                  <a:pt x="10731" y="16547"/>
                </a:lnTo>
                <a:lnTo>
                  <a:pt x="10950" y="16523"/>
                </a:lnTo>
                <a:lnTo>
                  <a:pt x="11169" y="16498"/>
                </a:lnTo>
                <a:lnTo>
                  <a:pt x="11607" y="16401"/>
                </a:lnTo>
                <a:lnTo>
                  <a:pt x="12020" y="16279"/>
                </a:lnTo>
                <a:lnTo>
                  <a:pt x="12312" y="16182"/>
                </a:lnTo>
                <a:lnTo>
                  <a:pt x="12604" y="16085"/>
                </a:lnTo>
                <a:lnTo>
                  <a:pt x="12872" y="15963"/>
                </a:lnTo>
                <a:lnTo>
                  <a:pt x="13140" y="15841"/>
                </a:lnTo>
                <a:lnTo>
                  <a:pt x="13164" y="15866"/>
                </a:lnTo>
                <a:lnTo>
                  <a:pt x="13407" y="16133"/>
                </a:lnTo>
                <a:lnTo>
                  <a:pt x="12994" y="16231"/>
                </a:lnTo>
                <a:lnTo>
                  <a:pt x="12604" y="16377"/>
                </a:lnTo>
                <a:lnTo>
                  <a:pt x="11680" y="16669"/>
                </a:lnTo>
                <a:lnTo>
                  <a:pt x="10779" y="16912"/>
                </a:lnTo>
                <a:lnTo>
                  <a:pt x="10731" y="16961"/>
                </a:lnTo>
                <a:lnTo>
                  <a:pt x="10706" y="17034"/>
                </a:lnTo>
                <a:lnTo>
                  <a:pt x="10731" y="17082"/>
                </a:lnTo>
                <a:lnTo>
                  <a:pt x="10804" y="17107"/>
                </a:lnTo>
                <a:lnTo>
                  <a:pt x="11023" y="17082"/>
                </a:lnTo>
                <a:lnTo>
                  <a:pt x="11242" y="17082"/>
                </a:lnTo>
                <a:lnTo>
                  <a:pt x="11680" y="16985"/>
                </a:lnTo>
                <a:lnTo>
                  <a:pt x="12093" y="16888"/>
                </a:lnTo>
                <a:lnTo>
                  <a:pt x="12531" y="16742"/>
                </a:lnTo>
                <a:lnTo>
                  <a:pt x="13091" y="16571"/>
                </a:lnTo>
                <a:lnTo>
                  <a:pt x="13626" y="16401"/>
                </a:lnTo>
                <a:lnTo>
                  <a:pt x="13870" y="16717"/>
                </a:lnTo>
                <a:lnTo>
                  <a:pt x="14089" y="17058"/>
                </a:lnTo>
                <a:lnTo>
                  <a:pt x="13894" y="17155"/>
                </a:lnTo>
                <a:lnTo>
                  <a:pt x="13699" y="17228"/>
                </a:lnTo>
                <a:lnTo>
                  <a:pt x="13286" y="17350"/>
                </a:lnTo>
                <a:lnTo>
                  <a:pt x="12872" y="17423"/>
                </a:lnTo>
                <a:lnTo>
                  <a:pt x="12434" y="17472"/>
                </a:lnTo>
                <a:lnTo>
                  <a:pt x="11339" y="17618"/>
                </a:lnTo>
                <a:lnTo>
                  <a:pt x="10220" y="17788"/>
                </a:lnTo>
                <a:lnTo>
                  <a:pt x="9587" y="17885"/>
                </a:lnTo>
                <a:lnTo>
                  <a:pt x="8930" y="17934"/>
                </a:lnTo>
                <a:lnTo>
                  <a:pt x="8297" y="17958"/>
                </a:lnTo>
                <a:lnTo>
                  <a:pt x="7032" y="17958"/>
                </a:lnTo>
                <a:lnTo>
                  <a:pt x="6400" y="17910"/>
                </a:lnTo>
                <a:lnTo>
                  <a:pt x="5110" y="17837"/>
                </a:lnTo>
                <a:lnTo>
                  <a:pt x="3918" y="17764"/>
                </a:lnTo>
                <a:lnTo>
                  <a:pt x="3334" y="17715"/>
                </a:lnTo>
                <a:lnTo>
                  <a:pt x="2725" y="17666"/>
                </a:lnTo>
                <a:lnTo>
                  <a:pt x="2166" y="17618"/>
                </a:lnTo>
                <a:lnTo>
                  <a:pt x="1849" y="17569"/>
                </a:lnTo>
                <a:lnTo>
                  <a:pt x="1533" y="17520"/>
                </a:lnTo>
                <a:lnTo>
                  <a:pt x="1217" y="17447"/>
                </a:lnTo>
                <a:lnTo>
                  <a:pt x="925" y="17350"/>
                </a:lnTo>
                <a:lnTo>
                  <a:pt x="681" y="17204"/>
                </a:lnTo>
                <a:lnTo>
                  <a:pt x="560" y="17131"/>
                </a:lnTo>
                <a:lnTo>
                  <a:pt x="462" y="17034"/>
                </a:lnTo>
                <a:lnTo>
                  <a:pt x="754" y="16644"/>
                </a:lnTo>
                <a:lnTo>
                  <a:pt x="1046" y="16279"/>
                </a:lnTo>
                <a:lnTo>
                  <a:pt x="1363" y="15914"/>
                </a:lnTo>
                <a:lnTo>
                  <a:pt x="1703" y="15574"/>
                </a:lnTo>
                <a:lnTo>
                  <a:pt x="2044" y="15257"/>
                </a:lnTo>
                <a:lnTo>
                  <a:pt x="2409" y="14941"/>
                </a:lnTo>
                <a:lnTo>
                  <a:pt x="2798" y="14649"/>
                </a:lnTo>
                <a:lnTo>
                  <a:pt x="3212" y="14381"/>
                </a:lnTo>
                <a:lnTo>
                  <a:pt x="3699" y="14089"/>
                </a:lnTo>
                <a:lnTo>
                  <a:pt x="4185" y="13870"/>
                </a:lnTo>
                <a:lnTo>
                  <a:pt x="4721" y="13676"/>
                </a:lnTo>
                <a:lnTo>
                  <a:pt x="5232" y="13505"/>
                </a:lnTo>
                <a:lnTo>
                  <a:pt x="5767" y="13384"/>
                </a:lnTo>
                <a:lnTo>
                  <a:pt x="6327" y="13286"/>
                </a:lnTo>
                <a:lnTo>
                  <a:pt x="6862" y="13189"/>
                </a:lnTo>
                <a:lnTo>
                  <a:pt x="7421" y="13140"/>
                </a:lnTo>
                <a:lnTo>
                  <a:pt x="7373" y="13603"/>
                </a:lnTo>
                <a:lnTo>
                  <a:pt x="7276" y="14065"/>
                </a:lnTo>
                <a:lnTo>
                  <a:pt x="7276" y="14187"/>
                </a:lnTo>
                <a:lnTo>
                  <a:pt x="7324" y="14284"/>
                </a:lnTo>
                <a:lnTo>
                  <a:pt x="7397" y="14357"/>
                </a:lnTo>
                <a:lnTo>
                  <a:pt x="7494" y="14381"/>
                </a:lnTo>
                <a:lnTo>
                  <a:pt x="7592" y="14406"/>
                </a:lnTo>
                <a:lnTo>
                  <a:pt x="7689" y="14381"/>
                </a:lnTo>
                <a:lnTo>
                  <a:pt x="7762" y="14308"/>
                </a:lnTo>
                <a:lnTo>
                  <a:pt x="7811" y="14211"/>
                </a:lnTo>
                <a:lnTo>
                  <a:pt x="7884" y="13676"/>
                </a:lnTo>
                <a:lnTo>
                  <a:pt x="7957" y="13116"/>
                </a:lnTo>
                <a:close/>
                <a:moveTo>
                  <a:pt x="6886" y="1"/>
                </a:moveTo>
                <a:lnTo>
                  <a:pt x="6813" y="25"/>
                </a:lnTo>
                <a:lnTo>
                  <a:pt x="6765" y="25"/>
                </a:lnTo>
                <a:lnTo>
                  <a:pt x="6740" y="74"/>
                </a:lnTo>
                <a:lnTo>
                  <a:pt x="6740" y="98"/>
                </a:lnTo>
                <a:lnTo>
                  <a:pt x="6740" y="147"/>
                </a:lnTo>
                <a:lnTo>
                  <a:pt x="6862" y="536"/>
                </a:lnTo>
                <a:lnTo>
                  <a:pt x="7008" y="926"/>
                </a:lnTo>
                <a:lnTo>
                  <a:pt x="7130" y="1315"/>
                </a:lnTo>
                <a:lnTo>
                  <a:pt x="7227" y="1704"/>
                </a:lnTo>
                <a:lnTo>
                  <a:pt x="7300" y="2118"/>
                </a:lnTo>
                <a:lnTo>
                  <a:pt x="7349" y="2556"/>
                </a:lnTo>
                <a:lnTo>
                  <a:pt x="7373" y="2994"/>
                </a:lnTo>
                <a:lnTo>
                  <a:pt x="7373" y="3407"/>
                </a:lnTo>
                <a:lnTo>
                  <a:pt x="7324" y="3870"/>
                </a:lnTo>
                <a:lnTo>
                  <a:pt x="7276" y="4332"/>
                </a:lnTo>
                <a:lnTo>
                  <a:pt x="7105" y="5257"/>
                </a:lnTo>
                <a:lnTo>
                  <a:pt x="6911" y="6181"/>
                </a:lnTo>
                <a:lnTo>
                  <a:pt x="6838" y="6644"/>
                </a:lnTo>
                <a:lnTo>
                  <a:pt x="6765" y="7106"/>
                </a:lnTo>
                <a:lnTo>
                  <a:pt x="6716" y="7666"/>
                </a:lnTo>
                <a:lnTo>
                  <a:pt x="6716" y="8201"/>
                </a:lnTo>
                <a:lnTo>
                  <a:pt x="6765" y="8712"/>
                </a:lnTo>
                <a:lnTo>
                  <a:pt x="6838" y="9223"/>
                </a:lnTo>
                <a:lnTo>
                  <a:pt x="6424" y="9077"/>
                </a:lnTo>
                <a:lnTo>
                  <a:pt x="6497" y="8834"/>
                </a:lnTo>
                <a:lnTo>
                  <a:pt x="6570" y="8590"/>
                </a:lnTo>
                <a:lnTo>
                  <a:pt x="6594" y="8347"/>
                </a:lnTo>
                <a:lnTo>
                  <a:pt x="6594" y="8079"/>
                </a:lnTo>
                <a:lnTo>
                  <a:pt x="6570" y="7836"/>
                </a:lnTo>
                <a:lnTo>
                  <a:pt x="6521" y="7568"/>
                </a:lnTo>
                <a:lnTo>
                  <a:pt x="6448" y="7325"/>
                </a:lnTo>
                <a:lnTo>
                  <a:pt x="6351" y="7082"/>
                </a:lnTo>
                <a:lnTo>
                  <a:pt x="6254" y="6838"/>
                </a:lnTo>
                <a:lnTo>
                  <a:pt x="6132" y="6595"/>
                </a:lnTo>
                <a:lnTo>
                  <a:pt x="6010" y="6352"/>
                </a:lnTo>
                <a:lnTo>
                  <a:pt x="5864" y="6133"/>
                </a:lnTo>
                <a:lnTo>
                  <a:pt x="5694" y="5938"/>
                </a:lnTo>
                <a:lnTo>
                  <a:pt x="5548" y="5743"/>
                </a:lnTo>
                <a:lnTo>
                  <a:pt x="5378" y="5549"/>
                </a:lnTo>
                <a:lnTo>
                  <a:pt x="5207" y="5403"/>
                </a:lnTo>
                <a:lnTo>
                  <a:pt x="4964" y="5208"/>
                </a:lnTo>
                <a:lnTo>
                  <a:pt x="4696" y="5013"/>
                </a:lnTo>
                <a:lnTo>
                  <a:pt x="4429" y="4867"/>
                </a:lnTo>
                <a:lnTo>
                  <a:pt x="4161" y="4721"/>
                </a:lnTo>
                <a:lnTo>
                  <a:pt x="3869" y="4575"/>
                </a:lnTo>
                <a:lnTo>
                  <a:pt x="3577" y="4454"/>
                </a:lnTo>
                <a:lnTo>
                  <a:pt x="2993" y="4259"/>
                </a:lnTo>
                <a:lnTo>
                  <a:pt x="2506" y="4137"/>
                </a:lnTo>
                <a:lnTo>
                  <a:pt x="2239" y="4089"/>
                </a:lnTo>
                <a:lnTo>
                  <a:pt x="1971" y="4064"/>
                </a:lnTo>
                <a:lnTo>
                  <a:pt x="1679" y="4040"/>
                </a:lnTo>
                <a:lnTo>
                  <a:pt x="1411" y="4064"/>
                </a:lnTo>
                <a:lnTo>
                  <a:pt x="1168" y="4137"/>
                </a:lnTo>
                <a:lnTo>
                  <a:pt x="949" y="4235"/>
                </a:lnTo>
                <a:lnTo>
                  <a:pt x="900" y="4186"/>
                </a:lnTo>
                <a:lnTo>
                  <a:pt x="852" y="4137"/>
                </a:lnTo>
                <a:lnTo>
                  <a:pt x="803" y="4137"/>
                </a:lnTo>
                <a:lnTo>
                  <a:pt x="754" y="4186"/>
                </a:lnTo>
                <a:lnTo>
                  <a:pt x="681" y="4259"/>
                </a:lnTo>
                <a:lnTo>
                  <a:pt x="633" y="4356"/>
                </a:lnTo>
                <a:lnTo>
                  <a:pt x="608" y="4454"/>
                </a:lnTo>
                <a:lnTo>
                  <a:pt x="584" y="4575"/>
                </a:lnTo>
                <a:lnTo>
                  <a:pt x="584" y="4819"/>
                </a:lnTo>
                <a:lnTo>
                  <a:pt x="608" y="5062"/>
                </a:lnTo>
                <a:lnTo>
                  <a:pt x="657" y="5330"/>
                </a:lnTo>
                <a:lnTo>
                  <a:pt x="706" y="5597"/>
                </a:lnTo>
                <a:lnTo>
                  <a:pt x="803" y="6011"/>
                </a:lnTo>
                <a:lnTo>
                  <a:pt x="876" y="6352"/>
                </a:lnTo>
                <a:lnTo>
                  <a:pt x="973" y="6692"/>
                </a:lnTo>
                <a:lnTo>
                  <a:pt x="1071" y="7033"/>
                </a:lnTo>
                <a:lnTo>
                  <a:pt x="1192" y="7349"/>
                </a:lnTo>
                <a:lnTo>
                  <a:pt x="1338" y="7690"/>
                </a:lnTo>
                <a:lnTo>
                  <a:pt x="1484" y="8006"/>
                </a:lnTo>
                <a:lnTo>
                  <a:pt x="1679" y="8298"/>
                </a:lnTo>
                <a:lnTo>
                  <a:pt x="1874" y="8566"/>
                </a:lnTo>
                <a:lnTo>
                  <a:pt x="2068" y="8809"/>
                </a:lnTo>
                <a:lnTo>
                  <a:pt x="2287" y="9004"/>
                </a:lnTo>
                <a:lnTo>
                  <a:pt x="2531" y="9199"/>
                </a:lnTo>
                <a:lnTo>
                  <a:pt x="2774" y="9393"/>
                </a:lnTo>
                <a:lnTo>
                  <a:pt x="3042" y="9539"/>
                </a:lnTo>
                <a:lnTo>
                  <a:pt x="3309" y="9685"/>
                </a:lnTo>
                <a:lnTo>
                  <a:pt x="3577" y="9807"/>
                </a:lnTo>
                <a:lnTo>
                  <a:pt x="3869" y="9904"/>
                </a:lnTo>
                <a:lnTo>
                  <a:pt x="4161" y="9977"/>
                </a:lnTo>
                <a:lnTo>
                  <a:pt x="4453" y="10001"/>
                </a:lnTo>
                <a:lnTo>
                  <a:pt x="4745" y="10001"/>
                </a:lnTo>
                <a:lnTo>
                  <a:pt x="5013" y="9977"/>
                </a:lnTo>
                <a:lnTo>
                  <a:pt x="5280" y="9904"/>
                </a:lnTo>
                <a:lnTo>
                  <a:pt x="5548" y="9807"/>
                </a:lnTo>
                <a:lnTo>
                  <a:pt x="5816" y="9685"/>
                </a:lnTo>
                <a:lnTo>
                  <a:pt x="6059" y="9539"/>
                </a:lnTo>
                <a:lnTo>
                  <a:pt x="6278" y="9637"/>
                </a:lnTo>
                <a:lnTo>
                  <a:pt x="6521" y="9734"/>
                </a:lnTo>
                <a:lnTo>
                  <a:pt x="6740" y="9783"/>
                </a:lnTo>
                <a:lnTo>
                  <a:pt x="6984" y="9807"/>
                </a:lnTo>
                <a:lnTo>
                  <a:pt x="7203" y="10634"/>
                </a:lnTo>
                <a:lnTo>
                  <a:pt x="7324" y="11145"/>
                </a:lnTo>
                <a:lnTo>
                  <a:pt x="7421" y="11632"/>
                </a:lnTo>
                <a:lnTo>
                  <a:pt x="7446" y="12143"/>
                </a:lnTo>
                <a:lnTo>
                  <a:pt x="7446" y="12629"/>
                </a:lnTo>
                <a:lnTo>
                  <a:pt x="6886" y="12678"/>
                </a:lnTo>
                <a:lnTo>
                  <a:pt x="6327" y="12775"/>
                </a:lnTo>
                <a:lnTo>
                  <a:pt x="5767" y="12873"/>
                </a:lnTo>
                <a:lnTo>
                  <a:pt x="5207" y="12994"/>
                </a:lnTo>
                <a:lnTo>
                  <a:pt x="4648" y="13165"/>
                </a:lnTo>
                <a:lnTo>
                  <a:pt x="4112" y="13359"/>
                </a:lnTo>
                <a:lnTo>
                  <a:pt x="3601" y="13603"/>
                </a:lnTo>
                <a:lnTo>
                  <a:pt x="3090" y="13870"/>
                </a:lnTo>
                <a:lnTo>
                  <a:pt x="2652" y="14138"/>
                </a:lnTo>
                <a:lnTo>
                  <a:pt x="2239" y="14454"/>
                </a:lnTo>
                <a:lnTo>
                  <a:pt x="1825" y="14795"/>
                </a:lnTo>
                <a:lnTo>
                  <a:pt x="1411" y="15136"/>
                </a:lnTo>
                <a:lnTo>
                  <a:pt x="1046" y="15525"/>
                </a:lnTo>
                <a:lnTo>
                  <a:pt x="706" y="15939"/>
                </a:lnTo>
                <a:lnTo>
                  <a:pt x="414" y="16377"/>
                </a:lnTo>
                <a:lnTo>
                  <a:pt x="146" y="16839"/>
                </a:lnTo>
                <a:lnTo>
                  <a:pt x="73" y="16863"/>
                </a:lnTo>
                <a:lnTo>
                  <a:pt x="24" y="16912"/>
                </a:lnTo>
                <a:lnTo>
                  <a:pt x="0" y="16985"/>
                </a:lnTo>
                <a:lnTo>
                  <a:pt x="0" y="17058"/>
                </a:lnTo>
                <a:lnTo>
                  <a:pt x="73" y="17204"/>
                </a:lnTo>
                <a:lnTo>
                  <a:pt x="146" y="17326"/>
                </a:lnTo>
                <a:lnTo>
                  <a:pt x="219" y="17423"/>
                </a:lnTo>
                <a:lnTo>
                  <a:pt x="316" y="17520"/>
                </a:lnTo>
                <a:lnTo>
                  <a:pt x="438" y="17618"/>
                </a:lnTo>
                <a:lnTo>
                  <a:pt x="560" y="17691"/>
                </a:lnTo>
                <a:lnTo>
                  <a:pt x="852" y="17812"/>
                </a:lnTo>
                <a:lnTo>
                  <a:pt x="1144" y="17910"/>
                </a:lnTo>
                <a:lnTo>
                  <a:pt x="1460" y="17982"/>
                </a:lnTo>
                <a:lnTo>
                  <a:pt x="1995" y="18080"/>
                </a:lnTo>
                <a:lnTo>
                  <a:pt x="2725" y="18177"/>
                </a:lnTo>
                <a:lnTo>
                  <a:pt x="3455" y="18226"/>
                </a:lnTo>
                <a:lnTo>
                  <a:pt x="4940" y="18323"/>
                </a:lnTo>
                <a:lnTo>
                  <a:pt x="6205" y="18396"/>
                </a:lnTo>
                <a:lnTo>
                  <a:pt x="7470" y="18469"/>
                </a:lnTo>
                <a:lnTo>
                  <a:pt x="8078" y="18469"/>
                </a:lnTo>
                <a:lnTo>
                  <a:pt x="8711" y="18445"/>
                </a:lnTo>
                <a:lnTo>
                  <a:pt x="9344" y="18396"/>
                </a:lnTo>
                <a:lnTo>
                  <a:pt x="9976" y="18323"/>
                </a:lnTo>
                <a:lnTo>
                  <a:pt x="11339" y="18128"/>
                </a:lnTo>
                <a:lnTo>
                  <a:pt x="12726" y="17958"/>
                </a:lnTo>
                <a:lnTo>
                  <a:pt x="13140" y="17885"/>
                </a:lnTo>
                <a:lnTo>
                  <a:pt x="13553" y="17812"/>
                </a:lnTo>
                <a:lnTo>
                  <a:pt x="13967" y="17666"/>
                </a:lnTo>
                <a:lnTo>
                  <a:pt x="14162" y="17593"/>
                </a:lnTo>
                <a:lnTo>
                  <a:pt x="14356" y="17472"/>
                </a:lnTo>
                <a:lnTo>
                  <a:pt x="14429" y="17496"/>
                </a:lnTo>
                <a:lnTo>
                  <a:pt x="14502" y="17496"/>
                </a:lnTo>
                <a:lnTo>
                  <a:pt x="14575" y="17472"/>
                </a:lnTo>
                <a:lnTo>
                  <a:pt x="14624" y="17447"/>
                </a:lnTo>
                <a:lnTo>
                  <a:pt x="14673" y="17399"/>
                </a:lnTo>
                <a:lnTo>
                  <a:pt x="14721" y="17326"/>
                </a:lnTo>
                <a:lnTo>
                  <a:pt x="14721" y="17277"/>
                </a:lnTo>
                <a:lnTo>
                  <a:pt x="14697" y="17180"/>
                </a:lnTo>
                <a:lnTo>
                  <a:pt x="14600" y="16912"/>
                </a:lnTo>
                <a:lnTo>
                  <a:pt x="14454" y="16669"/>
                </a:lnTo>
                <a:lnTo>
                  <a:pt x="14283" y="16401"/>
                </a:lnTo>
                <a:lnTo>
                  <a:pt x="14113" y="16182"/>
                </a:lnTo>
                <a:lnTo>
                  <a:pt x="14137" y="16158"/>
                </a:lnTo>
                <a:lnTo>
                  <a:pt x="14137" y="16133"/>
                </a:lnTo>
                <a:lnTo>
                  <a:pt x="14137" y="16109"/>
                </a:lnTo>
                <a:lnTo>
                  <a:pt x="14113" y="16109"/>
                </a:lnTo>
                <a:lnTo>
                  <a:pt x="14040" y="16085"/>
                </a:lnTo>
                <a:lnTo>
                  <a:pt x="13699" y="15671"/>
                </a:lnTo>
                <a:lnTo>
                  <a:pt x="13553" y="15525"/>
                </a:lnTo>
                <a:lnTo>
                  <a:pt x="13626" y="15452"/>
                </a:lnTo>
                <a:lnTo>
                  <a:pt x="13626" y="15403"/>
                </a:lnTo>
                <a:lnTo>
                  <a:pt x="13626" y="15379"/>
                </a:lnTo>
                <a:lnTo>
                  <a:pt x="13602" y="15355"/>
                </a:lnTo>
                <a:lnTo>
                  <a:pt x="13553" y="15355"/>
                </a:lnTo>
                <a:lnTo>
                  <a:pt x="13432" y="15379"/>
                </a:lnTo>
                <a:lnTo>
                  <a:pt x="13188" y="15136"/>
                </a:lnTo>
                <a:lnTo>
                  <a:pt x="12945" y="14892"/>
                </a:lnTo>
                <a:lnTo>
                  <a:pt x="12385" y="14454"/>
                </a:lnTo>
                <a:lnTo>
                  <a:pt x="12361" y="14381"/>
                </a:lnTo>
                <a:lnTo>
                  <a:pt x="12312" y="14357"/>
                </a:lnTo>
                <a:lnTo>
                  <a:pt x="12264" y="14333"/>
                </a:lnTo>
                <a:lnTo>
                  <a:pt x="12069" y="14211"/>
                </a:lnTo>
                <a:lnTo>
                  <a:pt x="11582" y="13870"/>
                </a:lnTo>
                <a:lnTo>
                  <a:pt x="11071" y="13554"/>
                </a:lnTo>
                <a:lnTo>
                  <a:pt x="10560" y="13262"/>
                </a:lnTo>
                <a:lnTo>
                  <a:pt x="10025" y="12994"/>
                </a:lnTo>
                <a:lnTo>
                  <a:pt x="9782" y="12897"/>
                </a:lnTo>
                <a:lnTo>
                  <a:pt x="9538" y="12824"/>
                </a:lnTo>
                <a:lnTo>
                  <a:pt x="9295" y="12751"/>
                </a:lnTo>
                <a:lnTo>
                  <a:pt x="9027" y="12702"/>
                </a:lnTo>
                <a:lnTo>
                  <a:pt x="8516" y="12629"/>
                </a:lnTo>
                <a:lnTo>
                  <a:pt x="8005" y="12629"/>
                </a:lnTo>
                <a:lnTo>
                  <a:pt x="8005" y="12264"/>
                </a:lnTo>
                <a:lnTo>
                  <a:pt x="7981" y="11899"/>
                </a:lnTo>
                <a:lnTo>
                  <a:pt x="7957" y="11559"/>
                </a:lnTo>
                <a:lnTo>
                  <a:pt x="7884" y="11194"/>
                </a:lnTo>
                <a:lnTo>
                  <a:pt x="7786" y="10731"/>
                </a:lnTo>
                <a:lnTo>
                  <a:pt x="7640" y="10269"/>
                </a:lnTo>
                <a:lnTo>
                  <a:pt x="7494" y="9807"/>
                </a:lnTo>
                <a:lnTo>
                  <a:pt x="7349" y="9345"/>
                </a:lnTo>
                <a:lnTo>
                  <a:pt x="7300" y="9077"/>
                </a:lnTo>
                <a:lnTo>
                  <a:pt x="7251" y="8809"/>
                </a:lnTo>
                <a:lnTo>
                  <a:pt x="7203" y="8250"/>
                </a:lnTo>
                <a:lnTo>
                  <a:pt x="7203" y="7666"/>
                </a:lnTo>
                <a:lnTo>
                  <a:pt x="7251" y="7106"/>
                </a:lnTo>
                <a:lnTo>
                  <a:pt x="7324" y="6522"/>
                </a:lnTo>
                <a:lnTo>
                  <a:pt x="7421" y="5938"/>
                </a:lnTo>
                <a:lnTo>
                  <a:pt x="7616" y="4746"/>
                </a:lnTo>
                <a:lnTo>
                  <a:pt x="7884" y="4746"/>
                </a:lnTo>
                <a:lnTo>
                  <a:pt x="8127" y="4673"/>
                </a:lnTo>
                <a:lnTo>
                  <a:pt x="8370" y="4575"/>
                </a:lnTo>
                <a:lnTo>
                  <a:pt x="8638" y="4454"/>
                </a:lnTo>
                <a:lnTo>
                  <a:pt x="8760" y="4527"/>
                </a:lnTo>
                <a:lnTo>
                  <a:pt x="8906" y="4624"/>
                </a:lnTo>
                <a:lnTo>
                  <a:pt x="9076" y="4673"/>
                </a:lnTo>
                <a:lnTo>
                  <a:pt x="9246" y="4721"/>
                </a:lnTo>
                <a:lnTo>
                  <a:pt x="9587" y="4794"/>
                </a:lnTo>
                <a:lnTo>
                  <a:pt x="10122" y="4794"/>
                </a:lnTo>
                <a:lnTo>
                  <a:pt x="10366" y="4746"/>
                </a:lnTo>
                <a:lnTo>
                  <a:pt x="10609" y="4673"/>
                </a:lnTo>
                <a:lnTo>
                  <a:pt x="10828" y="4575"/>
                </a:lnTo>
                <a:lnTo>
                  <a:pt x="11071" y="4454"/>
                </a:lnTo>
                <a:lnTo>
                  <a:pt x="11266" y="4308"/>
                </a:lnTo>
                <a:lnTo>
                  <a:pt x="11461" y="4162"/>
                </a:lnTo>
                <a:lnTo>
                  <a:pt x="11607" y="3967"/>
                </a:lnTo>
                <a:lnTo>
                  <a:pt x="11728" y="3797"/>
                </a:lnTo>
                <a:lnTo>
                  <a:pt x="11850" y="3602"/>
                </a:lnTo>
                <a:lnTo>
                  <a:pt x="11947" y="3407"/>
                </a:lnTo>
                <a:lnTo>
                  <a:pt x="12020" y="3188"/>
                </a:lnTo>
                <a:lnTo>
                  <a:pt x="12142" y="2775"/>
                </a:lnTo>
                <a:lnTo>
                  <a:pt x="12215" y="2312"/>
                </a:lnTo>
                <a:lnTo>
                  <a:pt x="12288" y="1850"/>
                </a:lnTo>
                <a:lnTo>
                  <a:pt x="12312" y="1412"/>
                </a:lnTo>
                <a:lnTo>
                  <a:pt x="12361" y="512"/>
                </a:lnTo>
                <a:lnTo>
                  <a:pt x="12458" y="463"/>
                </a:lnTo>
                <a:lnTo>
                  <a:pt x="12507" y="390"/>
                </a:lnTo>
                <a:lnTo>
                  <a:pt x="12531" y="317"/>
                </a:lnTo>
                <a:lnTo>
                  <a:pt x="12507" y="220"/>
                </a:lnTo>
                <a:lnTo>
                  <a:pt x="12483" y="147"/>
                </a:lnTo>
                <a:lnTo>
                  <a:pt x="12434" y="98"/>
                </a:lnTo>
                <a:lnTo>
                  <a:pt x="12337" y="74"/>
                </a:lnTo>
                <a:lnTo>
                  <a:pt x="12264" y="98"/>
                </a:lnTo>
                <a:lnTo>
                  <a:pt x="12069" y="147"/>
                </a:lnTo>
                <a:lnTo>
                  <a:pt x="12045" y="147"/>
                </a:lnTo>
                <a:lnTo>
                  <a:pt x="11631" y="269"/>
                </a:lnTo>
                <a:lnTo>
                  <a:pt x="11217" y="366"/>
                </a:lnTo>
                <a:lnTo>
                  <a:pt x="10804" y="463"/>
                </a:lnTo>
                <a:lnTo>
                  <a:pt x="10390" y="561"/>
                </a:lnTo>
                <a:lnTo>
                  <a:pt x="10001" y="707"/>
                </a:lnTo>
                <a:lnTo>
                  <a:pt x="9611" y="877"/>
                </a:lnTo>
                <a:lnTo>
                  <a:pt x="9417" y="974"/>
                </a:lnTo>
                <a:lnTo>
                  <a:pt x="9246" y="1096"/>
                </a:lnTo>
                <a:lnTo>
                  <a:pt x="9076" y="1242"/>
                </a:lnTo>
                <a:lnTo>
                  <a:pt x="8906" y="1388"/>
                </a:lnTo>
                <a:lnTo>
                  <a:pt x="8735" y="1558"/>
                </a:lnTo>
                <a:lnTo>
                  <a:pt x="8614" y="1753"/>
                </a:lnTo>
                <a:lnTo>
                  <a:pt x="8492" y="1947"/>
                </a:lnTo>
                <a:lnTo>
                  <a:pt x="8395" y="2142"/>
                </a:lnTo>
                <a:lnTo>
                  <a:pt x="8297" y="2361"/>
                </a:lnTo>
                <a:lnTo>
                  <a:pt x="8249" y="2580"/>
                </a:lnTo>
                <a:lnTo>
                  <a:pt x="8200" y="2799"/>
                </a:lnTo>
                <a:lnTo>
                  <a:pt x="8151" y="3042"/>
                </a:lnTo>
                <a:lnTo>
                  <a:pt x="8151" y="3286"/>
                </a:lnTo>
                <a:lnTo>
                  <a:pt x="8200" y="3578"/>
                </a:lnTo>
                <a:lnTo>
                  <a:pt x="8224" y="3724"/>
                </a:lnTo>
                <a:lnTo>
                  <a:pt x="8297" y="3845"/>
                </a:lnTo>
                <a:lnTo>
                  <a:pt x="8370" y="3967"/>
                </a:lnTo>
                <a:lnTo>
                  <a:pt x="8443" y="4040"/>
                </a:lnTo>
                <a:lnTo>
                  <a:pt x="8443" y="4064"/>
                </a:lnTo>
                <a:lnTo>
                  <a:pt x="8370" y="4089"/>
                </a:lnTo>
                <a:lnTo>
                  <a:pt x="8200" y="4186"/>
                </a:lnTo>
                <a:lnTo>
                  <a:pt x="8030" y="4259"/>
                </a:lnTo>
                <a:lnTo>
                  <a:pt x="7689" y="4381"/>
                </a:lnTo>
                <a:lnTo>
                  <a:pt x="7762" y="3797"/>
                </a:lnTo>
                <a:lnTo>
                  <a:pt x="7811" y="3237"/>
                </a:lnTo>
                <a:lnTo>
                  <a:pt x="7811" y="2702"/>
                </a:lnTo>
                <a:lnTo>
                  <a:pt x="7786" y="2142"/>
                </a:lnTo>
                <a:lnTo>
                  <a:pt x="7738" y="1874"/>
                </a:lnTo>
                <a:lnTo>
                  <a:pt x="7689" y="1607"/>
                </a:lnTo>
                <a:lnTo>
                  <a:pt x="7616" y="1339"/>
                </a:lnTo>
                <a:lnTo>
                  <a:pt x="7519" y="1072"/>
                </a:lnTo>
                <a:lnTo>
                  <a:pt x="7421" y="828"/>
                </a:lnTo>
                <a:lnTo>
                  <a:pt x="7300" y="561"/>
                </a:lnTo>
                <a:lnTo>
                  <a:pt x="7130" y="317"/>
                </a:lnTo>
                <a:lnTo>
                  <a:pt x="6959" y="50"/>
                </a:lnTo>
                <a:lnTo>
                  <a:pt x="6935" y="25"/>
                </a:lnTo>
                <a:lnTo>
                  <a:pt x="688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 name="Graphic 9" descr="Open quotation mark with solid fill">
            <a:extLst>
              <a:ext uri="{FF2B5EF4-FFF2-40B4-BE49-F238E27FC236}">
                <a16:creationId xmlns:a16="http://schemas.microsoft.com/office/drawing/2014/main" id="{B8B4B913-550A-2D45-5A94-BD94C2C3D8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14722" y="1442113"/>
            <a:ext cx="914400" cy="914400"/>
          </a:xfrm>
          <a:prstGeom prst="rect">
            <a:avLst/>
          </a:prstGeom>
        </p:spPr>
      </p:pic>
    </p:spTree>
    <p:extLst>
      <p:ext uri="{BB962C8B-B14F-4D97-AF65-F5344CB8AC3E}">
        <p14:creationId xmlns:p14="http://schemas.microsoft.com/office/powerpoint/2010/main" val="1248473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Google Shape;994;p40">
            <a:extLst>
              <a:ext uri="{FF2B5EF4-FFF2-40B4-BE49-F238E27FC236}">
                <a16:creationId xmlns:a16="http://schemas.microsoft.com/office/drawing/2014/main" id="{0ADFA097-A14A-E055-8EE8-072145B1352B}"/>
              </a:ext>
            </a:extLst>
          </p:cNvPr>
          <p:cNvSpPr txBox="1">
            <a:spLocks/>
          </p:cNvSpPr>
          <p:nvPr/>
        </p:nvSpPr>
        <p:spPr>
          <a:xfrm>
            <a:off x="0" y="370872"/>
            <a:ext cx="12191999" cy="71435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1pPr>
            <a:lvl2pPr marR="0" lvl="1"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2pPr>
            <a:lvl3pPr marR="0" lvl="2"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3pPr>
            <a:lvl4pPr marR="0" lvl="3"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4pPr>
            <a:lvl5pPr marR="0" lvl="4"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5pPr>
            <a:lvl6pPr marR="0" lvl="5"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6pPr>
            <a:lvl7pPr marR="0" lvl="6"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7pPr>
            <a:lvl8pPr marR="0" lvl="7"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8pPr>
            <a:lvl9pPr marR="0" lvl="8"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9pPr>
          </a:lstStyle>
          <a:p>
            <a:pPr marL="0" marR="0" lvl="0" indent="0" defTabSz="914400" eaLnBrk="1" fontAlgn="auto" latinLnBrk="0" hangingPunct="1">
              <a:lnSpc>
                <a:spcPct val="90000"/>
              </a:lnSpc>
              <a:spcBef>
                <a:spcPts val="0"/>
              </a:spcBef>
              <a:spcAft>
                <a:spcPts val="0"/>
              </a:spcAft>
              <a:buClr>
                <a:srgbClr val="273F68"/>
              </a:buClr>
              <a:buSzPts val="3000"/>
              <a:buFont typeface="Amatic SC"/>
              <a:buNone/>
              <a:tabLst/>
              <a:defRPr/>
            </a:pPr>
            <a:r>
              <a:rPr kumimoji="0" lang="da-DK" sz="4000" b="1" i="0" u="none" strike="noStrike" kern="0" cap="none" spc="0" normalizeH="0" baseline="0" noProof="0">
                <a:ln>
                  <a:noFill/>
                </a:ln>
                <a:solidFill>
                  <a:srgbClr val="273F68"/>
                </a:solidFill>
                <a:effectLst/>
                <a:uLnTx/>
                <a:uFillTx/>
                <a:latin typeface="Amatic SC"/>
                <a:cs typeface="Amatic SC"/>
                <a:sym typeface="Amatic SC"/>
              </a:rPr>
              <a:t>Hvad er den mangfoldige folkeskole?</a:t>
            </a:r>
          </a:p>
        </p:txBody>
      </p:sp>
      <p:sp>
        <p:nvSpPr>
          <p:cNvPr id="4" name="Content Placeholder 1">
            <a:extLst>
              <a:ext uri="{FF2B5EF4-FFF2-40B4-BE49-F238E27FC236}">
                <a16:creationId xmlns:a16="http://schemas.microsoft.com/office/drawing/2014/main" id="{D8C8E874-38CC-AA76-28D6-98D54D7A117B}"/>
              </a:ext>
            </a:extLst>
          </p:cNvPr>
          <p:cNvSpPr txBox="1">
            <a:spLocks/>
          </p:cNvSpPr>
          <p:nvPr/>
        </p:nvSpPr>
        <p:spPr>
          <a:xfrm>
            <a:off x="1021191" y="1924774"/>
            <a:ext cx="8756882" cy="4295442"/>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nSpc>
                <a:spcPct val="107000"/>
              </a:lnSpc>
              <a:spcAft>
                <a:spcPts val="800"/>
              </a:spcAft>
              <a:buNone/>
            </a:pPr>
            <a:r>
              <a:rPr lang="da-DK" b="1">
                <a:latin typeface="Quicksand" panose="020B0604020202020204"/>
                <a:ea typeface="ＭＳ Ｐゴシック"/>
              </a:rPr>
              <a:t>Næsten alle</a:t>
            </a:r>
            <a:r>
              <a:rPr lang="da-DK" sz="1600" b="1">
                <a:latin typeface="Quicksand" panose="020B0604020202020204"/>
                <a:ea typeface="ＭＳ Ｐゴシック"/>
              </a:rPr>
              <a:t> nordjyske kommuner </a:t>
            </a:r>
            <a:r>
              <a:rPr lang="da-DK" sz="1600">
                <a:latin typeface="Quicksand" panose="020B0604020202020204"/>
                <a:ea typeface="ＭＳ Ｐゴシック"/>
              </a:rPr>
              <a:t>samarbejder med UCN om at udvikle og </a:t>
            </a:r>
            <a:r>
              <a:rPr lang="da-DK" sz="1600" err="1">
                <a:latin typeface="Quicksand" panose="020B0604020202020204"/>
                <a:ea typeface="ＭＳ Ｐゴシック"/>
              </a:rPr>
              <a:t>videndele</a:t>
            </a:r>
            <a:r>
              <a:rPr lang="da-DK" sz="1600">
                <a:latin typeface="Quicksand" panose="020B0604020202020204"/>
                <a:ea typeface="ＭＳ Ｐゴシック"/>
              </a:rPr>
              <a:t> om modeller for praksisnær kompetenceudvikling.</a:t>
            </a:r>
            <a:endParaRPr lang="da-DK" sz="1600" baseline="30000">
              <a:latin typeface="Quicksand" panose="020B0604020202020204"/>
              <a:ea typeface="ＭＳ Ｐゴシック"/>
            </a:endParaRPr>
          </a:p>
          <a:p>
            <a:pPr marL="0" indent="0">
              <a:lnSpc>
                <a:spcPct val="107000"/>
              </a:lnSpc>
              <a:spcAft>
                <a:spcPts val="800"/>
              </a:spcAft>
              <a:buNone/>
            </a:pPr>
            <a:br>
              <a:rPr lang="da-DK" sz="1600">
                <a:effectLst/>
                <a:latin typeface="Quicksand" panose="020B0604020202020204"/>
                <a:ea typeface="Calibri" panose="020F0502020204030204" pitchFamily="34" charset="0"/>
                <a:cs typeface="Times New Roman" panose="02020603050405020304" pitchFamily="18" charset="0"/>
              </a:rPr>
            </a:br>
            <a:r>
              <a:rPr lang="da-DK" sz="1600">
                <a:latin typeface="Quicksand" panose="020B0604020202020204"/>
                <a:ea typeface="ＭＳ Ｐゴシック"/>
              </a:rPr>
              <a:t>Formålet er at </a:t>
            </a:r>
            <a:r>
              <a:rPr lang="da-DK" sz="1600" b="1">
                <a:latin typeface="Quicksand" panose="020B0604020202020204"/>
                <a:ea typeface="ＭＳ Ｐゴシック"/>
              </a:rPr>
              <a:t>udvikle nye og lokale virksomme tilgange og metoder gennem aktionslæring</a:t>
            </a:r>
            <a:r>
              <a:rPr lang="da-DK" sz="1600">
                <a:latin typeface="Quicksand" panose="020B0604020202020204"/>
                <a:ea typeface="ＭＳ Ｐゴシック"/>
              </a:rPr>
              <a:t>, som bidrager til at styrke alle elevers deltagelsesmuligheder. </a:t>
            </a:r>
          </a:p>
          <a:p>
            <a:pPr marL="0" indent="0">
              <a:lnSpc>
                <a:spcPct val="107000"/>
              </a:lnSpc>
              <a:spcAft>
                <a:spcPts val="800"/>
              </a:spcAft>
              <a:buNone/>
            </a:pPr>
            <a:endParaRPr lang="da-DK">
              <a:latin typeface="Quicksand" panose="020B0604020202020204"/>
              <a:ea typeface="ＭＳ Ｐゴシック"/>
            </a:endParaRPr>
          </a:p>
          <a:p>
            <a:pPr marL="0" indent="0">
              <a:lnSpc>
                <a:spcPct val="107000"/>
              </a:lnSpc>
              <a:spcAft>
                <a:spcPts val="800"/>
              </a:spcAft>
              <a:buNone/>
            </a:pPr>
            <a:r>
              <a:rPr lang="da-DK" sz="1600">
                <a:latin typeface="Quicksand" panose="020B0604020202020204"/>
                <a:ea typeface="ＭＳ Ｐゴシック"/>
              </a:rPr>
              <a:t>Projektet består af et </a:t>
            </a:r>
            <a:r>
              <a:rPr lang="da-DK" sz="1600" b="1">
                <a:latin typeface="Quicksand" panose="020B0604020202020204"/>
                <a:ea typeface="ＭＳ Ｐゴシック"/>
              </a:rPr>
              <a:t>kommunalt</a:t>
            </a:r>
            <a:r>
              <a:rPr lang="da-DK" sz="1600">
                <a:latin typeface="Quicksand" panose="020B0604020202020204"/>
                <a:ea typeface="ＭＳ Ｐゴシック"/>
              </a:rPr>
              <a:t> aktionslæringsbaseret kompetenceudviklingsspor og et </a:t>
            </a:r>
            <a:r>
              <a:rPr lang="da-DK" sz="1600" b="1">
                <a:latin typeface="Quicksand" panose="020B0604020202020204"/>
                <a:ea typeface="ＭＳ Ｐゴシック"/>
              </a:rPr>
              <a:t>regionalt</a:t>
            </a:r>
            <a:r>
              <a:rPr lang="da-DK" sz="1600">
                <a:latin typeface="Quicksand" panose="020B0604020202020204"/>
                <a:ea typeface="ＭＳ Ｐゴシック"/>
              </a:rPr>
              <a:t> videndelingsspor.</a:t>
            </a:r>
            <a:endParaRPr lang="da-DK" sz="1600">
              <a:latin typeface="Quicksand" panose="020B0604020202020204"/>
            </a:endParaRPr>
          </a:p>
          <a:p>
            <a:pPr marL="0" indent="0">
              <a:lnSpc>
                <a:spcPct val="107000"/>
              </a:lnSpc>
              <a:spcAft>
                <a:spcPts val="800"/>
              </a:spcAft>
              <a:buNone/>
            </a:pPr>
            <a:endParaRPr lang="da-DK"/>
          </a:p>
        </p:txBody>
      </p:sp>
      <p:sp>
        <p:nvSpPr>
          <p:cNvPr id="5" name="L-Shape 4">
            <a:extLst>
              <a:ext uri="{FF2B5EF4-FFF2-40B4-BE49-F238E27FC236}">
                <a16:creationId xmlns:a16="http://schemas.microsoft.com/office/drawing/2014/main" id="{45F8D1CC-104E-8FCC-BB1F-B0DBDE48FDF2}"/>
              </a:ext>
            </a:extLst>
          </p:cNvPr>
          <p:cNvSpPr/>
          <p:nvPr/>
        </p:nvSpPr>
        <p:spPr>
          <a:xfrm rot="13500000">
            <a:off x="547099" y="1986952"/>
            <a:ext cx="300219" cy="300219"/>
          </a:xfrm>
          <a:prstGeom prst="corner">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991" tIns="35995" rIns="71991" bIns="35995" rtlCol="0" anchor="ctr"/>
          <a:lstStyle/>
          <a:p>
            <a:pPr algn="ctr"/>
            <a:endParaRPr lang="da-DK" sz="2000" err="1">
              <a:solidFill>
                <a:schemeClr val="tx1"/>
              </a:solidFill>
            </a:endParaRPr>
          </a:p>
        </p:txBody>
      </p:sp>
      <p:sp>
        <p:nvSpPr>
          <p:cNvPr id="6" name="L-Shape 5">
            <a:extLst>
              <a:ext uri="{FF2B5EF4-FFF2-40B4-BE49-F238E27FC236}">
                <a16:creationId xmlns:a16="http://schemas.microsoft.com/office/drawing/2014/main" id="{545D2170-51B3-40EC-94DD-707C38FC6DF3}"/>
              </a:ext>
            </a:extLst>
          </p:cNvPr>
          <p:cNvSpPr/>
          <p:nvPr/>
        </p:nvSpPr>
        <p:spPr>
          <a:xfrm rot="13500000">
            <a:off x="547099" y="2884749"/>
            <a:ext cx="300219" cy="300219"/>
          </a:xfrm>
          <a:prstGeom prst="corner">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991" tIns="35995" rIns="71991" bIns="35995" rtlCol="0" anchor="ctr"/>
          <a:lstStyle/>
          <a:p>
            <a:pPr algn="ctr"/>
            <a:endParaRPr lang="da-DK" sz="2000" err="1">
              <a:solidFill>
                <a:schemeClr val="tx1">
                  <a:lumMod val="65000"/>
                  <a:lumOff val="35000"/>
                </a:schemeClr>
              </a:solidFill>
            </a:endParaRPr>
          </a:p>
        </p:txBody>
      </p:sp>
      <p:sp>
        <p:nvSpPr>
          <p:cNvPr id="7" name="L-Shape 6">
            <a:extLst>
              <a:ext uri="{FF2B5EF4-FFF2-40B4-BE49-F238E27FC236}">
                <a16:creationId xmlns:a16="http://schemas.microsoft.com/office/drawing/2014/main" id="{B0841951-7DF9-6DB2-8585-9522B6930965}"/>
              </a:ext>
            </a:extLst>
          </p:cNvPr>
          <p:cNvSpPr/>
          <p:nvPr/>
        </p:nvSpPr>
        <p:spPr>
          <a:xfrm rot="13500000">
            <a:off x="547099" y="3887057"/>
            <a:ext cx="300219" cy="300219"/>
          </a:xfrm>
          <a:prstGeom prst="corner">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991" tIns="35995" rIns="71991" bIns="35995" rtlCol="0" anchor="ctr"/>
          <a:lstStyle/>
          <a:p>
            <a:pPr algn="ctr"/>
            <a:endParaRPr lang="da-DK" sz="2000" err="1">
              <a:solidFill>
                <a:schemeClr val="tx1">
                  <a:lumMod val="65000"/>
                  <a:lumOff val="35000"/>
                </a:schemeClr>
              </a:solidFill>
            </a:endParaRPr>
          </a:p>
        </p:txBody>
      </p:sp>
      <p:sp>
        <p:nvSpPr>
          <p:cNvPr id="3" name="Google Shape;1218;p48">
            <a:extLst>
              <a:ext uri="{FF2B5EF4-FFF2-40B4-BE49-F238E27FC236}">
                <a16:creationId xmlns:a16="http://schemas.microsoft.com/office/drawing/2014/main" id="{EAE20328-2035-6478-91FB-0C43B9464197}"/>
              </a:ext>
            </a:extLst>
          </p:cNvPr>
          <p:cNvSpPr/>
          <p:nvPr/>
        </p:nvSpPr>
        <p:spPr>
          <a:xfrm>
            <a:off x="2574025" y="313134"/>
            <a:ext cx="582532" cy="716291"/>
          </a:xfrm>
          <a:custGeom>
            <a:avLst/>
            <a:gdLst/>
            <a:ahLst/>
            <a:cxnLst/>
            <a:rect l="l" t="t" r="r" b="b"/>
            <a:pathLst>
              <a:path w="16279" h="18810" extrusionOk="0">
                <a:moveTo>
                  <a:pt x="8297" y="536"/>
                </a:moveTo>
                <a:lnTo>
                  <a:pt x="8078" y="658"/>
                </a:lnTo>
                <a:lnTo>
                  <a:pt x="7859" y="780"/>
                </a:lnTo>
                <a:lnTo>
                  <a:pt x="7567" y="974"/>
                </a:lnTo>
                <a:lnTo>
                  <a:pt x="7665" y="804"/>
                </a:lnTo>
                <a:lnTo>
                  <a:pt x="7786" y="682"/>
                </a:lnTo>
                <a:lnTo>
                  <a:pt x="7884" y="609"/>
                </a:lnTo>
                <a:lnTo>
                  <a:pt x="7981" y="585"/>
                </a:lnTo>
                <a:lnTo>
                  <a:pt x="8078" y="561"/>
                </a:lnTo>
                <a:lnTo>
                  <a:pt x="8200" y="536"/>
                </a:lnTo>
                <a:close/>
                <a:moveTo>
                  <a:pt x="8687" y="731"/>
                </a:moveTo>
                <a:lnTo>
                  <a:pt x="8760" y="828"/>
                </a:lnTo>
                <a:lnTo>
                  <a:pt x="8808" y="950"/>
                </a:lnTo>
                <a:lnTo>
                  <a:pt x="8760" y="974"/>
                </a:lnTo>
                <a:lnTo>
                  <a:pt x="8541" y="1072"/>
                </a:lnTo>
                <a:lnTo>
                  <a:pt x="8346" y="1169"/>
                </a:lnTo>
                <a:lnTo>
                  <a:pt x="7957" y="1412"/>
                </a:lnTo>
                <a:lnTo>
                  <a:pt x="7689" y="1583"/>
                </a:lnTo>
                <a:lnTo>
                  <a:pt x="7543" y="1680"/>
                </a:lnTo>
                <a:lnTo>
                  <a:pt x="7397" y="1777"/>
                </a:lnTo>
                <a:lnTo>
                  <a:pt x="7421" y="1534"/>
                </a:lnTo>
                <a:lnTo>
                  <a:pt x="7446" y="1315"/>
                </a:lnTo>
                <a:lnTo>
                  <a:pt x="8054" y="999"/>
                </a:lnTo>
                <a:lnTo>
                  <a:pt x="8370" y="853"/>
                </a:lnTo>
                <a:lnTo>
                  <a:pt x="8687" y="731"/>
                </a:lnTo>
                <a:close/>
                <a:moveTo>
                  <a:pt x="8881" y="1364"/>
                </a:moveTo>
                <a:lnTo>
                  <a:pt x="8881" y="1583"/>
                </a:lnTo>
                <a:lnTo>
                  <a:pt x="8687" y="1656"/>
                </a:lnTo>
                <a:lnTo>
                  <a:pt x="8492" y="1753"/>
                </a:lnTo>
                <a:lnTo>
                  <a:pt x="8249" y="1875"/>
                </a:lnTo>
                <a:lnTo>
                  <a:pt x="8005" y="2021"/>
                </a:lnTo>
                <a:lnTo>
                  <a:pt x="7957" y="2069"/>
                </a:lnTo>
                <a:lnTo>
                  <a:pt x="7932" y="2142"/>
                </a:lnTo>
                <a:lnTo>
                  <a:pt x="7786" y="2142"/>
                </a:lnTo>
                <a:lnTo>
                  <a:pt x="7373" y="2118"/>
                </a:lnTo>
                <a:lnTo>
                  <a:pt x="7373" y="2069"/>
                </a:lnTo>
                <a:lnTo>
                  <a:pt x="7470" y="2069"/>
                </a:lnTo>
                <a:lnTo>
                  <a:pt x="7567" y="2045"/>
                </a:lnTo>
                <a:lnTo>
                  <a:pt x="7738" y="1972"/>
                </a:lnTo>
                <a:lnTo>
                  <a:pt x="8054" y="1777"/>
                </a:lnTo>
                <a:lnTo>
                  <a:pt x="8881" y="1364"/>
                </a:lnTo>
                <a:close/>
                <a:moveTo>
                  <a:pt x="8857" y="2021"/>
                </a:moveTo>
                <a:lnTo>
                  <a:pt x="8857" y="2191"/>
                </a:lnTo>
                <a:lnTo>
                  <a:pt x="8541" y="2167"/>
                </a:lnTo>
                <a:lnTo>
                  <a:pt x="8857" y="2021"/>
                </a:lnTo>
                <a:close/>
                <a:moveTo>
                  <a:pt x="5937" y="2556"/>
                </a:moveTo>
                <a:lnTo>
                  <a:pt x="6765" y="2580"/>
                </a:lnTo>
                <a:lnTo>
                  <a:pt x="7592" y="2629"/>
                </a:lnTo>
                <a:lnTo>
                  <a:pt x="9173" y="2677"/>
                </a:lnTo>
                <a:lnTo>
                  <a:pt x="9976" y="2702"/>
                </a:lnTo>
                <a:lnTo>
                  <a:pt x="10755" y="2726"/>
                </a:lnTo>
                <a:lnTo>
                  <a:pt x="11582" y="2702"/>
                </a:lnTo>
                <a:lnTo>
                  <a:pt x="12385" y="2677"/>
                </a:lnTo>
                <a:lnTo>
                  <a:pt x="13213" y="2629"/>
                </a:lnTo>
                <a:lnTo>
                  <a:pt x="14016" y="2605"/>
                </a:lnTo>
                <a:lnTo>
                  <a:pt x="14064" y="2605"/>
                </a:lnTo>
                <a:lnTo>
                  <a:pt x="14235" y="2750"/>
                </a:lnTo>
                <a:lnTo>
                  <a:pt x="14405" y="2872"/>
                </a:lnTo>
                <a:lnTo>
                  <a:pt x="15038" y="3432"/>
                </a:lnTo>
                <a:lnTo>
                  <a:pt x="15329" y="3724"/>
                </a:lnTo>
                <a:lnTo>
                  <a:pt x="15597" y="4040"/>
                </a:lnTo>
                <a:lnTo>
                  <a:pt x="15694" y="4235"/>
                </a:lnTo>
                <a:lnTo>
                  <a:pt x="15792" y="4405"/>
                </a:lnTo>
                <a:lnTo>
                  <a:pt x="15694" y="4551"/>
                </a:lnTo>
                <a:lnTo>
                  <a:pt x="15573" y="4673"/>
                </a:lnTo>
                <a:lnTo>
                  <a:pt x="15402" y="4843"/>
                </a:lnTo>
                <a:lnTo>
                  <a:pt x="15232" y="4989"/>
                </a:lnTo>
                <a:lnTo>
                  <a:pt x="14843" y="5281"/>
                </a:lnTo>
                <a:lnTo>
                  <a:pt x="14454" y="5549"/>
                </a:lnTo>
                <a:lnTo>
                  <a:pt x="14235" y="5719"/>
                </a:lnTo>
                <a:lnTo>
                  <a:pt x="14064" y="5889"/>
                </a:lnTo>
                <a:lnTo>
                  <a:pt x="13286" y="5865"/>
                </a:lnTo>
                <a:lnTo>
                  <a:pt x="12507" y="5841"/>
                </a:lnTo>
                <a:lnTo>
                  <a:pt x="10974" y="5841"/>
                </a:lnTo>
                <a:lnTo>
                  <a:pt x="7859" y="5889"/>
                </a:lnTo>
                <a:lnTo>
                  <a:pt x="4623" y="5938"/>
                </a:lnTo>
                <a:lnTo>
                  <a:pt x="2385" y="5938"/>
                </a:lnTo>
                <a:lnTo>
                  <a:pt x="2117" y="5962"/>
                </a:lnTo>
                <a:lnTo>
                  <a:pt x="1874" y="6011"/>
                </a:lnTo>
                <a:lnTo>
                  <a:pt x="1849" y="5889"/>
                </a:lnTo>
                <a:lnTo>
                  <a:pt x="1849" y="5768"/>
                </a:lnTo>
                <a:lnTo>
                  <a:pt x="1801" y="5524"/>
                </a:lnTo>
                <a:lnTo>
                  <a:pt x="1655" y="4332"/>
                </a:lnTo>
                <a:lnTo>
                  <a:pt x="1606" y="3724"/>
                </a:lnTo>
                <a:lnTo>
                  <a:pt x="1557" y="3091"/>
                </a:lnTo>
                <a:lnTo>
                  <a:pt x="1557" y="2848"/>
                </a:lnTo>
                <a:lnTo>
                  <a:pt x="1533" y="2580"/>
                </a:lnTo>
                <a:lnTo>
                  <a:pt x="1874" y="2629"/>
                </a:lnTo>
                <a:lnTo>
                  <a:pt x="2214" y="2653"/>
                </a:lnTo>
                <a:lnTo>
                  <a:pt x="2920" y="2653"/>
                </a:lnTo>
                <a:lnTo>
                  <a:pt x="3626" y="2629"/>
                </a:lnTo>
                <a:lnTo>
                  <a:pt x="4283" y="2580"/>
                </a:lnTo>
                <a:lnTo>
                  <a:pt x="5110" y="2556"/>
                </a:lnTo>
                <a:close/>
                <a:moveTo>
                  <a:pt x="8468" y="6352"/>
                </a:moveTo>
                <a:lnTo>
                  <a:pt x="8200" y="6449"/>
                </a:lnTo>
                <a:lnTo>
                  <a:pt x="7835" y="6644"/>
                </a:lnTo>
                <a:lnTo>
                  <a:pt x="7665" y="6765"/>
                </a:lnTo>
                <a:lnTo>
                  <a:pt x="7494" y="6887"/>
                </a:lnTo>
                <a:lnTo>
                  <a:pt x="7470" y="6619"/>
                </a:lnTo>
                <a:lnTo>
                  <a:pt x="7421" y="6352"/>
                </a:lnTo>
                <a:close/>
                <a:moveTo>
                  <a:pt x="8735" y="6644"/>
                </a:moveTo>
                <a:lnTo>
                  <a:pt x="8735" y="6692"/>
                </a:lnTo>
                <a:lnTo>
                  <a:pt x="8735" y="6960"/>
                </a:lnTo>
                <a:lnTo>
                  <a:pt x="8103" y="6936"/>
                </a:lnTo>
                <a:lnTo>
                  <a:pt x="8030" y="6936"/>
                </a:lnTo>
                <a:lnTo>
                  <a:pt x="8200" y="6863"/>
                </a:lnTo>
                <a:lnTo>
                  <a:pt x="8735" y="6644"/>
                </a:lnTo>
                <a:close/>
                <a:moveTo>
                  <a:pt x="3942" y="7301"/>
                </a:moveTo>
                <a:lnTo>
                  <a:pt x="4331" y="7325"/>
                </a:lnTo>
                <a:lnTo>
                  <a:pt x="5061" y="7374"/>
                </a:lnTo>
                <a:lnTo>
                  <a:pt x="5864" y="7422"/>
                </a:lnTo>
                <a:lnTo>
                  <a:pt x="6667" y="7447"/>
                </a:lnTo>
                <a:lnTo>
                  <a:pt x="8297" y="7471"/>
                </a:lnTo>
                <a:lnTo>
                  <a:pt x="8833" y="7495"/>
                </a:lnTo>
                <a:lnTo>
                  <a:pt x="8930" y="7520"/>
                </a:lnTo>
                <a:lnTo>
                  <a:pt x="9052" y="7495"/>
                </a:lnTo>
                <a:lnTo>
                  <a:pt x="11607" y="7593"/>
                </a:lnTo>
                <a:lnTo>
                  <a:pt x="12361" y="7617"/>
                </a:lnTo>
                <a:lnTo>
                  <a:pt x="13115" y="7593"/>
                </a:lnTo>
                <a:lnTo>
                  <a:pt x="13870" y="7568"/>
                </a:lnTo>
                <a:lnTo>
                  <a:pt x="14624" y="7568"/>
                </a:lnTo>
                <a:lnTo>
                  <a:pt x="14600" y="7739"/>
                </a:lnTo>
                <a:lnTo>
                  <a:pt x="14575" y="7933"/>
                </a:lnTo>
                <a:lnTo>
                  <a:pt x="14575" y="8298"/>
                </a:lnTo>
                <a:lnTo>
                  <a:pt x="14624" y="8980"/>
                </a:lnTo>
                <a:lnTo>
                  <a:pt x="14697" y="9539"/>
                </a:lnTo>
                <a:lnTo>
                  <a:pt x="14746" y="10123"/>
                </a:lnTo>
                <a:lnTo>
                  <a:pt x="14770" y="10391"/>
                </a:lnTo>
                <a:lnTo>
                  <a:pt x="14794" y="10659"/>
                </a:lnTo>
                <a:lnTo>
                  <a:pt x="13310" y="10707"/>
                </a:lnTo>
                <a:lnTo>
                  <a:pt x="11826" y="10780"/>
                </a:lnTo>
                <a:lnTo>
                  <a:pt x="10341" y="10829"/>
                </a:lnTo>
                <a:lnTo>
                  <a:pt x="9587" y="10853"/>
                </a:lnTo>
                <a:lnTo>
                  <a:pt x="8833" y="10829"/>
                </a:lnTo>
                <a:lnTo>
                  <a:pt x="7178" y="10780"/>
                </a:lnTo>
                <a:lnTo>
                  <a:pt x="6327" y="10780"/>
                </a:lnTo>
                <a:lnTo>
                  <a:pt x="5499" y="10804"/>
                </a:lnTo>
                <a:lnTo>
                  <a:pt x="4088" y="10853"/>
                </a:lnTo>
                <a:lnTo>
                  <a:pt x="3358" y="10902"/>
                </a:lnTo>
                <a:lnTo>
                  <a:pt x="3017" y="10926"/>
                </a:lnTo>
                <a:lnTo>
                  <a:pt x="2677" y="10999"/>
                </a:lnTo>
                <a:lnTo>
                  <a:pt x="2677" y="10926"/>
                </a:lnTo>
                <a:lnTo>
                  <a:pt x="2652" y="10853"/>
                </a:lnTo>
                <a:lnTo>
                  <a:pt x="2604" y="10804"/>
                </a:lnTo>
                <a:lnTo>
                  <a:pt x="2531" y="10756"/>
                </a:lnTo>
                <a:lnTo>
                  <a:pt x="2239" y="10586"/>
                </a:lnTo>
                <a:lnTo>
                  <a:pt x="1947" y="10391"/>
                </a:lnTo>
                <a:lnTo>
                  <a:pt x="1411" y="10002"/>
                </a:lnTo>
                <a:lnTo>
                  <a:pt x="1168" y="9807"/>
                </a:lnTo>
                <a:lnTo>
                  <a:pt x="925" y="9612"/>
                </a:lnTo>
                <a:lnTo>
                  <a:pt x="681" y="9393"/>
                </a:lnTo>
                <a:lnTo>
                  <a:pt x="438" y="9199"/>
                </a:lnTo>
                <a:lnTo>
                  <a:pt x="633" y="9028"/>
                </a:lnTo>
                <a:lnTo>
                  <a:pt x="1338" y="8396"/>
                </a:lnTo>
                <a:lnTo>
                  <a:pt x="1703" y="8104"/>
                </a:lnTo>
                <a:lnTo>
                  <a:pt x="2068" y="7812"/>
                </a:lnTo>
                <a:lnTo>
                  <a:pt x="2336" y="7641"/>
                </a:lnTo>
                <a:lnTo>
                  <a:pt x="2458" y="7568"/>
                </a:lnTo>
                <a:lnTo>
                  <a:pt x="2579" y="7447"/>
                </a:lnTo>
                <a:lnTo>
                  <a:pt x="2604" y="7374"/>
                </a:lnTo>
                <a:lnTo>
                  <a:pt x="2847" y="7374"/>
                </a:lnTo>
                <a:lnTo>
                  <a:pt x="3115" y="7349"/>
                </a:lnTo>
                <a:lnTo>
                  <a:pt x="3577" y="7301"/>
                </a:lnTo>
                <a:close/>
                <a:moveTo>
                  <a:pt x="7446" y="11242"/>
                </a:moveTo>
                <a:lnTo>
                  <a:pt x="8541" y="11291"/>
                </a:lnTo>
                <a:lnTo>
                  <a:pt x="8395" y="11364"/>
                </a:lnTo>
                <a:lnTo>
                  <a:pt x="8249" y="11461"/>
                </a:lnTo>
                <a:lnTo>
                  <a:pt x="7981" y="11632"/>
                </a:lnTo>
                <a:lnTo>
                  <a:pt x="7567" y="11851"/>
                </a:lnTo>
                <a:lnTo>
                  <a:pt x="7519" y="11534"/>
                </a:lnTo>
                <a:lnTo>
                  <a:pt x="7494" y="11388"/>
                </a:lnTo>
                <a:lnTo>
                  <a:pt x="7446" y="11242"/>
                </a:lnTo>
                <a:close/>
                <a:moveTo>
                  <a:pt x="8784" y="11632"/>
                </a:moveTo>
                <a:lnTo>
                  <a:pt x="8735" y="12094"/>
                </a:lnTo>
                <a:lnTo>
                  <a:pt x="8541" y="12167"/>
                </a:lnTo>
                <a:lnTo>
                  <a:pt x="8370" y="12264"/>
                </a:lnTo>
                <a:lnTo>
                  <a:pt x="8005" y="12459"/>
                </a:lnTo>
                <a:lnTo>
                  <a:pt x="7762" y="12581"/>
                </a:lnTo>
                <a:lnTo>
                  <a:pt x="7640" y="12678"/>
                </a:lnTo>
                <a:lnTo>
                  <a:pt x="7543" y="12751"/>
                </a:lnTo>
                <a:lnTo>
                  <a:pt x="7543" y="12678"/>
                </a:lnTo>
                <a:lnTo>
                  <a:pt x="7567" y="12216"/>
                </a:lnTo>
                <a:lnTo>
                  <a:pt x="7713" y="12167"/>
                </a:lnTo>
                <a:lnTo>
                  <a:pt x="7859" y="12118"/>
                </a:lnTo>
                <a:lnTo>
                  <a:pt x="8103" y="11997"/>
                </a:lnTo>
                <a:lnTo>
                  <a:pt x="8443" y="11826"/>
                </a:lnTo>
                <a:lnTo>
                  <a:pt x="8614" y="11729"/>
                </a:lnTo>
                <a:lnTo>
                  <a:pt x="8784" y="11632"/>
                </a:lnTo>
                <a:close/>
                <a:moveTo>
                  <a:pt x="8735" y="12581"/>
                </a:moveTo>
                <a:lnTo>
                  <a:pt x="8735" y="13189"/>
                </a:lnTo>
                <a:lnTo>
                  <a:pt x="8662" y="13165"/>
                </a:lnTo>
                <a:lnTo>
                  <a:pt x="8565" y="13165"/>
                </a:lnTo>
                <a:lnTo>
                  <a:pt x="8468" y="13189"/>
                </a:lnTo>
                <a:lnTo>
                  <a:pt x="8249" y="13262"/>
                </a:lnTo>
                <a:lnTo>
                  <a:pt x="8054" y="13384"/>
                </a:lnTo>
                <a:lnTo>
                  <a:pt x="7859" y="13481"/>
                </a:lnTo>
                <a:lnTo>
                  <a:pt x="7665" y="13627"/>
                </a:lnTo>
                <a:lnTo>
                  <a:pt x="7446" y="13797"/>
                </a:lnTo>
                <a:lnTo>
                  <a:pt x="7494" y="13140"/>
                </a:lnTo>
                <a:lnTo>
                  <a:pt x="7665" y="13116"/>
                </a:lnTo>
                <a:lnTo>
                  <a:pt x="7835" y="13043"/>
                </a:lnTo>
                <a:lnTo>
                  <a:pt x="8151" y="12873"/>
                </a:lnTo>
                <a:lnTo>
                  <a:pt x="8735" y="12581"/>
                </a:lnTo>
                <a:close/>
                <a:moveTo>
                  <a:pt x="8735" y="13578"/>
                </a:moveTo>
                <a:lnTo>
                  <a:pt x="8735" y="14138"/>
                </a:lnTo>
                <a:lnTo>
                  <a:pt x="8541" y="14211"/>
                </a:lnTo>
                <a:lnTo>
                  <a:pt x="8346" y="14284"/>
                </a:lnTo>
                <a:lnTo>
                  <a:pt x="7981" y="14454"/>
                </a:lnTo>
                <a:lnTo>
                  <a:pt x="7689" y="14576"/>
                </a:lnTo>
                <a:lnTo>
                  <a:pt x="7543" y="14673"/>
                </a:lnTo>
                <a:lnTo>
                  <a:pt x="7421" y="14746"/>
                </a:lnTo>
                <a:lnTo>
                  <a:pt x="7421" y="14454"/>
                </a:lnTo>
                <a:lnTo>
                  <a:pt x="7421" y="14138"/>
                </a:lnTo>
                <a:lnTo>
                  <a:pt x="7567" y="14089"/>
                </a:lnTo>
                <a:lnTo>
                  <a:pt x="7738" y="14016"/>
                </a:lnTo>
                <a:lnTo>
                  <a:pt x="8005" y="13870"/>
                </a:lnTo>
                <a:lnTo>
                  <a:pt x="8176" y="13773"/>
                </a:lnTo>
                <a:lnTo>
                  <a:pt x="8370" y="13724"/>
                </a:lnTo>
                <a:lnTo>
                  <a:pt x="8735" y="13578"/>
                </a:lnTo>
                <a:close/>
                <a:moveTo>
                  <a:pt x="8735" y="14625"/>
                </a:moveTo>
                <a:lnTo>
                  <a:pt x="8735" y="15014"/>
                </a:lnTo>
                <a:lnTo>
                  <a:pt x="8687" y="15038"/>
                </a:lnTo>
                <a:lnTo>
                  <a:pt x="7908" y="15501"/>
                </a:lnTo>
                <a:lnTo>
                  <a:pt x="7689" y="15598"/>
                </a:lnTo>
                <a:lnTo>
                  <a:pt x="7446" y="15720"/>
                </a:lnTo>
                <a:lnTo>
                  <a:pt x="7421" y="15087"/>
                </a:lnTo>
                <a:lnTo>
                  <a:pt x="7592" y="15063"/>
                </a:lnTo>
                <a:lnTo>
                  <a:pt x="7738" y="15014"/>
                </a:lnTo>
                <a:lnTo>
                  <a:pt x="8054" y="14892"/>
                </a:lnTo>
                <a:lnTo>
                  <a:pt x="8735" y="14625"/>
                </a:lnTo>
                <a:close/>
                <a:moveTo>
                  <a:pt x="8711" y="15452"/>
                </a:moveTo>
                <a:lnTo>
                  <a:pt x="8711" y="16231"/>
                </a:lnTo>
                <a:lnTo>
                  <a:pt x="8419" y="16328"/>
                </a:lnTo>
                <a:lnTo>
                  <a:pt x="8151" y="16425"/>
                </a:lnTo>
                <a:lnTo>
                  <a:pt x="7811" y="16523"/>
                </a:lnTo>
                <a:lnTo>
                  <a:pt x="7494" y="16620"/>
                </a:lnTo>
                <a:lnTo>
                  <a:pt x="7470" y="16012"/>
                </a:lnTo>
                <a:lnTo>
                  <a:pt x="7567" y="16012"/>
                </a:lnTo>
                <a:lnTo>
                  <a:pt x="7689" y="15963"/>
                </a:lnTo>
                <a:lnTo>
                  <a:pt x="7908" y="15890"/>
                </a:lnTo>
                <a:lnTo>
                  <a:pt x="8322" y="15671"/>
                </a:lnTo>
                <a:lnTo>
                  <a:pt x="8711" y="15452"/>
                </a:lnTo>
                <a:close/>
                <a:moveTo>
                  <a:pt x="8687" y="16717"/>
                </a:moveTo>
                <a:lnTo>
                  <a:pt x="8687" y="17082"/>
                </a:lnTo>
                <a:lnTo>
                  <a:pt x="8687" y="17107"/>
                </a:lnTo>
                <a:lnTo>
                  <a:pt x="8346" y="17228"/>
                </a:lnTo>
                <a:lnTo>
                  <a:pt x="8005" y="17399"/>
                </a:lnTo>
                <a:lnTo>
                  <a:pt x="7543" y="17593"/>
                </a:lnTo>
                <a:lnTo>
                  <a:pt x="7519" y="17009"/>
                </a:lnTo>
                <a:lnTo>
                  <a:pt x="7689" y="17009"/>
                </a:lnTo>
                <a:lnTo>
                  <a:pt x="7859" y="16961"/>
                </a:lnTo>
                <a:lnTo>
                  <a:pt x="8176" y="16888"/>
                </a:lnTo>
                <a:lnTo>
                  <a:pt x="8687" y="16717"/>
                </a:lnTo>
                <a:close/>
                <a:moveTo>
                  <a:pt x="8687" y="17545"/>
                </a:moveTo>
                <a:lnTo>
                  <a:pt x="8687" y="18250"/>
                </a:lnTo>
                <a:lnTo>
                  <a:pt x="8370" y="18275"/>
                </a:lnTo>
                <a:lnTo>
                  <a:pt x="8054" y="18299"/>
                </a:lnTo>
                <a:lnTo>
                  <a:pt x="7835" y="18323"/>
                </a:lnTo>
                <a:lnTo>
                  <a:pt x="7592" y="18348"/>
                </a:lnTo>
                <a:lnTo>
                  <a:pt x="7543" y="18372"/>
                </a:lnTo>
                <a:lnTo>
                  <a:pt x="7543" y="18031"/>
                </a:lnTo>
                <a:lnTo>
                  <a:pt x="7689" y="17983"/>
                </a:lnTo>
                <a:lnTo>
                  <a:pt x="7811" y="17934"/>
                </a:lnTo>
                <a:lnTo>
                  <a:pt x="8078" y="17812"/>
                </a:lnTo>
                <a:lnTo>
                  <a:pt x="8687" y="17545"/>
                </a:lnTo>
                <a:close/>
                <a:moveTo>
                  <a:pt x="8078" y="1"/>
                </a:moveTo>
                <a:lnTo>
                  <a:pt x="7884" y="25"/>
                </a:lnTo>
                <a:lnTo>
                  <a:pt x="7713" y="74"/>
                </a:lnTo>
                <a:lnTo>
                  <a:pt x="7567" y="171"/>
                </a:lnTo>
                <a:lnTo>
                  <a:pt x="7446" y="269"/>
                </a:lnTo>
                <a:lnTo>
                  <a:pt x="7324" y="390"/>
                </a:lnTo>
                <a:lnTo>
                  <a:pt x="7227" y="536"/>
                </a:lnTo>
                <a:lnTo>
                  <a:pt x="7154" y="682"/>
                </a:lnTo>
                <a:lnTo>
                  <a:pt x="7081" y="853"/>
                </a:lnTo>
                <a:lnTo>
                  <a:pt x="7032" y="1023"/>
                </a:lnTo>
                <a:lnTo>
                  <a:pt x="6959" y="1388"/>
                </a:lnTo>
                <a:lnTo>
                  <a:pt x="6935" y="1753"/>
                </a:lnTo>
                <a:lnTo>
                  <a:pt x="6959" y="2118"/>
                </a:lnTo>
                <a:lnTo>
                  <a:pt x="6959" y="2118"/>
                </a:lnTo>
                <a:lnTo>
                  <a:pt x="5816" y="2094"/>
                </a:lnTo>
                <a:lnTo>
                  <a:pt x="4672" y="2094"/>
                </a:lnTo>
                <a:lnTo>
                  <a:pt x="2993" y="2167"/>
                </a:lnTo>
                <a:lnTo>
                  <a:pt x="1801" y="2167"/>
                </a:lnTo>
                <a:lnTo>
                  <a:pt x="1387" y="2191"/>
                </a:lnTo>
                <a:lnTo>
                  <a:pt x="1338" y="2191"/>
                </a:lnTo>
                <a:lnTo>
                  <a:pt x="1290" y="2215"/>
                </a:lnTo>
                <a:lnTo>
                  <a:pt x="1290" y="2240"/>
                </a:lnTo>
                <a:lnTo>
                  <a:pt x="1217" y="2288"/>
                </a:lnTo>
                <a:lnTo>
                  <a:pt x="1192" y="2361"/>
                </a:lnTo>
                <a:lnTo>
                  <a:pt x="1119" y="2556"/>
                </a:lnTo>
                <a:lnTo>
                  <a:pt x="1071" y="2775"/>
                </a:lnTo>
                <a:lnTo>
                  <a:pt x="1046" y="3018"/>
                </a:lnTo>
                <a:lnTo>
                  <a:pt x="1046" y="3261"/>
                </a:lnTo>
                <a:lnTo>
                  <a:pt x="1071" y="3748"/>
                </a:lnTo>
                <a:lnTo>
                  <a:pt x="1119" y="4162"/>
                </a:lnTo>
                <a:lnTo>
                  <a:pt x="1168" y="4770"/>
                </a:lnTo>
                <a:lnTo>
                  <a:pt x="1241" y="5378"/>
                </a:lnTo>
                <a:lnTo>
                  <a:pt x="1265" y="5622"/>
                </a:lnTo>
                <a:lnTo>
                  <a:pt x="1290" y="5889"/>
                </a:lnTo>
                <a:lnTo>
                  <a:pt x="1314" y="6011"/>
                </a:lnTo>
                <a:lnTo>
                  <a:pt x="1338" y="6133"/>
                </a:lnTo>
                <a:lnTo>
                  <a:pt x="1411" y="6230"/>
                </a:lnTo>
                <a:lnTo>
                  <a:pt x="1484" y="6303"/>
                </a:lnTo>
                <a:lnTo>
                  <a:pt x="1557" y="6352"/>
                </a:lnTo>
                <a:lnTo>
                  <a:pt x="1630" y="6352"/>
                </a:lnTo>
                <a:lnTo>
                  <a:pt x="1703" y="6327"/>
                </a:lnTo>
                <a:lnTo>
                  <a:pt x="1776" y="6279"/>
                </a:lnTo>
                <a:lnTo>
                  <a:pt x="1801" y="6254"/>
                </a:lnTo>
                <a:lnTo>
                  <a:pt x="2020" y="6303"/>
                </a:lnTo>
                <a:lnTo>
                  <a:pt x="2239" y="6327"/>
                </a:lnTo>
                <a:lnTo>
                  <a:pt x="2701" y="6352"/>
                </a:lnTo>
                <a:lnTo>
                  <a:pt x="4429" y="6376"/>
                </a:lnTo>
                <a:lnTo>
                  <a:pt x="6959" y="6352"/>
                </a:lnTo>
                <a:lnTo>
                  <a:pt x="6984" y="6595"/>
                </a:lnTo>
                <a:lnTo>
                  <a:pt x="7008" y="6911"/>
                </a:lnTo>
                <a:lnTo>
                  <a:pt x="5962" y="6887"/>
                </a:lnTo>
                <a:lnTo>
                  <a:pt x="4891" y="6838"/>
                </a:lnTo>
                <a:lnTo>
                  <a:pt x="4161" y="6814"/>
                </a:lnTo>
                <a:lnTo>
                  <a:pt x="3163" y="6814"/>
                </a:lnTo>
                <a:lnTo>
                  <a:pt x="2896" y="6863"/>
                </a:lnTo>
                <a:lnTo>
                  <a:pt x="2628" y="6936"/>
                </a:lnTo>
                <a:lnTo>
                  <a:pt x="2506" y="6984"/>
                </a:lnTo>
                <a:lnTo>
                  <a:pt x="2409" y="7057"/>
                </a:lnTo>
                <a:lnTo>
                  <a:pt x="2360" y="7033"/>
                </a:lnTo>
                <a:lnTo>
                  <a:pt x="2263" y="7033"/>
                </a:lnTo>
                <a:lnTo>
                  <a:pt x="2190" y="7057"/>
                </a:lnTo>
                <a:lnTo>
                  <a:pt x="1995" y="7130"/>
                </a:lnTo>
                <a:lnTo>
                  <a:pt x="1825" y="7228"/>
                </a:lnTo>
                <a:lnTo>
                  <a:pt x="1630" y="7374"/>
                </a:lnTo>
                <a:lnTo>
                  <a:pt x="1290" y="7666"/>
                </a:lnTo>
                <a:lnTo>
                  <a:pt x="1022" y="7933"/>
                </a:lnTo>
                <a:lnTo>
                  <a:pt x="681" y="8250"/>
                </a:lnTo>
                <a:lnTo>
                  <a:pt x="365" y="8590"/>
                </a:lnTo>
                <a:lnTo>
                  <a:pt x="243" y="8712"/>
                </a:lnTo>
                <a:lnTo>
                  <a:pt x="122" y="8858"/>
                </a:lnTo>
                <a:lnTo>
                  <a:pt x="24" y="9004"/>
                </a:lnTo>
                <a:lnTo>
                  <a:pt x="0" y="9077"/>
                </a:lnTo>
                <a:lnTo>
                  <a:pt x="0" y="9174"/>
                </a:lnTo>
                <a:lnTo>
                  <a:pt x="0" y="9199"/>
                </a:lnTo>
                <a:lnTo>
                  <a:pt x="0" y="9247"/>
                </a:lnTo>
                <a:lnTo>
                  <a:pt x="0" y="9320"/>
                </a:lnTo>
                <a:lnTo>
                  <a:pt x="73" y="9466"/>
                </a:lnTo>
                <a:lnTo>
                  <a:pt x="170" y="9612"/>
                </a:lnTo>
                <a:lnTo>
                  <a:pt x="292" y="9758"/>
                </a:lnTo>
                <a:lnTo>
                  <a:pt x="414" y="9904"/>
                </a:lnTo>
                <a:lnTo>
                  <a:pt x="681" y="10148"/>
                </a:lnTo>
                <a:lnTo>
                  <a:pt x="949" y="10367"/>
                </a:lnTo>
                <a:lnTo>
                  <a:pt x="1265" y="10610"/>
                </a:lnTo>
                <a:lnTo>
                  <a:pt x="1582" y="10829"/>
                </a:lnTo>
                <a:lnTo>
                  <a:pt x="1922" y="11048"/>
                </a:lnTo>
                <a:lnTo>
                  <a:pt x="2239" y="11242"/>
                </a:lnTo>
                <a:lnTo>
                  <a:pt x="2312" y="11267"/>
                </a:lnTo>
                <a:lnTo>
                  <a:pt x="2385" y="11267"/>
                </a:lnTo>
                <a:lnTo>
                  <a:pt x="2750" y="11340"/>
                </a:lnTo>
                <a:lnTo>
                  <a:pt x="3139" y="11388"/>
                </a:lnTo>
                <a:lnTo>
                  <a:pt x="3528" y="11388"/>
                </a:lnTo>
                <a:lnTo>
                  <a:pt x="3918" y="11364"/>
                </a:lnTo>
                <a:lnTo>
                  <a:pt x="4721" y="11315"/>
                </a:lnTo>
                <a:lnTo>
                  <a:pt x="5499" y="11267"/>
                </a:lnTo>
                <a:lnTo>
                  <a:pt x="6278" y="11242"/>
                </a:lnTo>
                <a:lnTo>
                  <a:pt x="7081" y="11242"/>
                </a:lnTo>
                <a:lnTo>
                  <a:pt x="7081" y="11607"/>
                </a:lnTo>
                <a:lnTo>
                  <a:pt x="7081" y="11972"/>
                </a:lnTo>
                <a:lnTo>
                  <a:pt x="7081" y="12313"/>
                </a:lnTo>
                <a:lnTo>
                  <a:pt x="7057" y="12678"/>
                </a:lnTo>
                <a:lnTo>
                  <a:pt x="6984" y="13578"/>
                </a:lnTo>
                <a:lnTo>
                  <a:pt x="6935" y="14016"/>
                </a:lnTo>
                <a:lnTo>
                  <a:pt x="6911" y="14454"/>
                </a:lnTo>
                <a:lnTo>
                  <a:pt x="6911" y="15476"/>
                </a:lnTo>
                <a:lnTo>
                  <a:pt x="6959" y="16498"/>
                </a:lnTo>
                <a:lnTo>
                  <a:pt x="7057" y="18542"/>
                </a:lnTo>
                <a:lnTo>
                  <a:pt x="7057" y="18615"/>
                </a:lnTo>
                <a:lnTo>
                  <a:pt x="7081" y="18688"/>
                </a:lnTo>
                <a:lnTo>
                  <a:pt x="7130" y="18737"/>
                </a:lnTo>
                <a:lnTo>
                  <a:pt x="7203" y="18761"/>
                </a:lnTo>
                <a:lnTo>
                  <a:pt x="7251" y="18786"/>
                </a:lnTo>
                <a:lnTo>
                  <a:pt x="7324" y="18786"/>
                </a:lnTo>
                <a:lnTo>
                  <a:pt x="7373" y="18761"/>
                </a:lnTo>
                <a:lnTo>
                  <a:pt x="7446" y="18737"/>
                </a:lnTo>
                <a:lnTo>
                  <a:pt x="7519" y="18786"/>
                </a:lnTo>
                <a:lnTo>
                  <a:pt x="7640" y="18810"/>
                </a:lnTo>
                <a:lnTo>
                  <a:pt x="8662" y="18810"/>
                </a:lnTo>
                <a:lnTo>
                  <a:pt x="8954" y="18786"/>
                </a:lnTo>
                <a:lnTo>
                  <a:pt x="9003" y="18786"/>
                </a:lnTo>
                <a:lnTo>
                  <a:pt x="9076" y="18761"/>
                </a:lnTo>
                <a:lnTo>
                  <a:pt x="9149" y="18664"/>
                </a:lnTo>
                <a:lnTo>
                  <a:pt x="9198" y="18542"/>
                </a:lnTo>
                <a:lnTo>
                  <a:pt x="9198" y="18421"/>
                </a:lnTo>
                <a:lnTo>
                  <a:pt x="9198" y="18323"/>
                </a:lnTo>
                <a:lnTo>
                  <a:pt x="9222" y="16547"/>
                </a:lnTo>
                <a:lnTo>
                  <a:pt x="9246" y="14771"/>
                </a:lnTo>
                <a:lnTo>
                  <a:pt x="9271" y="12946"/>
                </a:lnTo>
                <a:lnTo>
                  <a:pt x="9295" y="12118"/>
                </a:lnTo>
                <a:lnTo>
                  <a:pt x="9271" y="11729"/>
                </a:lnTo>
                <a:lnTo>
                  <a:pt x="9246" y="11315"/>
                </a:lnTo>
                <a:lnTo>
                  <a:pt x="10682" y="11315"/>
                </a:lnTo>
                <a:lnTo>
                  <a:pt x="12142" y="11267"/>
                </a:lnTo>
                <a:lnTo>
                  <a:pt x="13578" y="11194"/>
                </a:lnTo>
                <a:lnTo>
                  <a:pt x="14283" y="11169"/>
                </a:lnTo>
                <a:lnTo>
                  <a:pt x="15013" y="11169"/>
                </a:lnTo>
                <a:lnTo>
                  <a:pt x="15135" y="11145"/>
                </a:lnTo>
                <a:lnTo>
                  <a:pt x="15208" y="11072"/>
                </a:lnTo>
                <a:lnTo>
                  <a:pt x="15257" y="10999"/>
                </a:lnTo>
                <a:lnTo>
                  <a:pt x="15257" y="10902"/>
                </a:lnTo>
                <a:lnTo>
                  <a:pt x="15305" y="10731"/>
                </a:lnTo>
                <a:lnTo>
                  <a:pt x="15305" y="10586"/>
                </a:lnTo>
                <a:lnTo>
                  <a:pt x="15281" y="10245"/>
                </a:lnTo>
                <a:lnTo>
                  <a:pt x="15135" y="9126"/>
                </a:lnTo>
                <a:lnTo>
                  <a:pt x="15086" y="8615"/>
                </a:lnTo>
                <a:lnTo>
                  <a:pt x="15086" y="8104"/>
                </a:lnTo>
                <a:lnTo>
                  <a:pt x="15086" y="7933"/>
                </a:lnTo>
                <a:lnTo>
                  <a:pt x="15111" y="7739"/>
                </a:lnTo>
                <a:lnTo>
                  <a:pt x="15135" y="7568"/>
                </a:lnTo>
                <a:lnTo>
                  <a:pt x="15135" y="7374"/>
                </a:lnTo>
                <a:lnTo>
                  <a:pt x="15135" y="7276"/>
                </a:lnTo>
                <a:lnTo>
                  <a:pt x="15111" y="7179"/>
                </a:lnTo>
                <a:lnTo>
                  <a:pt x="15086" y="7130"/>
                </a:lnTo>
                <a:lnTo>
                  <a:pt x="15038" y="7106"/>
                </a:lnTo>
                <a:lnTo>
                  <a:pt x="14965" y="7057"/>
                </a:lnTo>
                <a:lnTo>
                  <a:pt x="14892" y="7033"/>
                </a:lnTo>
                <a:lnTo>
                  <a:pt x="14064" y="7033"/>
                </a:lnTo>
                <a:lnTo>
                  <a:pt x="13237" y="7057"/>
                </a:lnTo>
                <a:lnTo>
                  <a:pt x="12434" y="7082"/>
                </a:lnTo>
                <a:lnTo>
                  <a:pt x="11607" y="7082"/>
                </a:lnTo>
                <a:lnTo>
                  <a:pt x="9246" y="6984"/>
                </a:lnTo>
                <a:lnTo>
                  <a:pt x="9246" y="6765"/>
                </a:lnTo>
                <a:lnTo>
                  <a:pt x="9246" y="6571"/>
                </a:lnTo>
                <a:lnTo>
                  <a:pt x="9198" y="6352"/>
                </a:lnTo>
                <a:lnTo>
                  <a:pt x="9222" y="6327"/>
                </a:lnTo>
                <a:lnTo>
                  <a:pt x="10925" y="6303"/>
                </a:lnTo>
                <a:lnTo>
                  <a:pt x="12556" y="6303"/>
                </a:lnTo>
                <a:lnTo>
                  <a:pt x="14186" y="6376"/>
                </a:lnTo>
                <a:lnTo>
                  <a:pt x="14259" y="6376"/>
                </a:lnTo>
                <a:lnTo>
                  <a:pt x="14308" y="6352"/>
                </a:lnTo>
                <a:lnTo>
                  <a:pt x="14381" y="6279"/>
                </a:lnTo>
                <a:lnTo>
                  <a:pt x="14405" y="6206"/>
                </a:lnTo>
                <a:lnTo>
                  <a:pt x="14405" y="6108"/>
                </a:lnTo>
                <a:lnTo>
                  <a:pt x="14575" y="5962"/>
                </a:lnTo>
                <a:lnTo>
                  <a:pt x="14940" y="5670"/>
                </a:lnTo>
                <a:lnTo>
                  <a:pt x="15329" y="5427"/>
                </a:lnTo>
                <a:lnTo>
                  <a:pt x="15597" y="5232"/>
                </a:lnTo>
                <a:lnTo>
                  <a:pt x="15913" y="4965"/>
                </a:lnTo>
                <a:lnTo>
                  <a:pt x="16059" y="4819"/>
                </a:lnTo>
                <a:lnTo>
                  <a:pt x="16181" y="4673"/>
                </a:lnTo>
                <a:lnTo>
                  <a:pt x="16254" y="4502"/>
                </a:lnTo>
                <a:lnTo>
                  <a:pt x="16254" y="4429"/>
                </a:lnTo>
                <a:lnTo>
                  <a:pt x="16254" y="4356"/>
                </a:lnTo>
                <a:lnTo>
                  <a:pt x="16278" y="4283"/>
                </a:lnTo>
                <a:lnTo>
                  <a:pt x="16278" y="4210"/>
                </a:lnTo>
                <a:lnTo>
                  <a:pt x="16230" y="4064"/>
                </a:lnTo>
                <a:lnTo>
                  <a:pt x="16132" y="3894"/>
                </a:lnTo>
                <a:lnTo>
                  <a:pt x="16011" y="3724"/>
                </a:lnTo>
                <a:lnTo>
                  <a:pt x="15743" y="3432"/>
                </a:lnTo>
                <a:lnTo>
                  <a:pt x="15524" y="3213"/>
                </a:lnTo>
                <a:lnTo>
                  <a:pt x="15135" y="2848"/>
                </a:lnTo>
                <a:lnTo>
                  <a:pt x="14746" y="2532"/>
                </a:lnTo>
                <a:lnTo>
                  <a:pt x="14478" y="2288"/>
                </a:lnTo>
                <a:lnTo>
                  <a:pt x="14308" y="2215"/>
                </a:lnTo>
                <a:lnTo>
                  <a:pt x="14235" y="2167"/>
                </a:lnTo>
                <a:lnTo>
                  <a:pt x="14162" y="2167"/>
                </a:lnTo>
                <a:lnTo>
                  <a:pt x="14089" y="2118"/>
                </a:lnTo>
                <a:lnTo>
                  <a:pt x="14016" y="2118"/>
                </a:lnTo>
                <a:lnTo>
                  <a:pt x="13237" y="2142"/>
                </a:lnTo>
                <a:lnTo>
                  <a:pt x="12483" y="2167"/>
                </a:lnTo>
                <a:lnTo>
                  <a:pt x="11704" y="2215"/>
                </a:lnTo>
                <a:lnTo>
                  <a:pt x="10950" y="2240"/>
                </a:lnTo>
                <a:lnTo>
                  <a:pt x="10171" y="2240"/>
                </a:lnTo>
                <a:lnTo>
                  <a:pt x="9392" y="2215"/>
                </a:lnTo>
                <a:lnTo>
                  <a:pt x="9441" y="2069"/>
                </a:lnTo>
                <a:lnTo>
                  <a:pt x="9465" y="1899"/>
                </a:lnTo>
                <a:lnTo>
                  <a:pt x="9465" y="1558"/>
                </a:lnTo>
                <a:lnTo>
                  <a:pt x="9417" y="1218"/>
                </a:lnTo>
                <a:lnTo>
                  <a:pt x="9368" y="950"/>
                </a:lnTo>
                <a:lnTo>
                  <a:pt x="9295" y="755"/>
                </a:lnTo>
                <a:lnTo>
                  <a:pt x="9222" y="561"/>
                </a:lnTo>
                <a:lnTo>
                  <a:pt x="9125" y="415"/>
                </a:lnTo>
                <a:lnTo>
                  <a:pt x="8979" y="293"/>
                </a:lnTo>
                <a:lnTo>
                  <a:pt x="8833" y="196"/>
                </a:lnTo>
                <a:lnTo>
                  <a:pt x="8662" y="98"/>
                </a:lnTo>
                <a:lnTo>
                  <a:pt x="8492" y="50"/>
                </a:lnTo>
                <a:lnTo>
                  <a:pt x="829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665907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30</a:t>
            </a:fld>
            <a:endParaRPr lang="da-DK"/>
          </a:p>
        </p:txBody>
      </p:sp>
      <p:sp>
        <p:nvSpPr>
          <p:cNvPr id="3" name="Slide Number Placeholder 3">
            <a:extLst>
              <a:ext uri="{FF2B5EF4-FFF2-40B4-BE49-F238E27FC236}">
                <a16:creationId xmlns:a16="http://schemas.microsoft.com/office/drawing/2014/main" id="{D649DCE5-69AD-C1B0-9815-C2BE39487E43}"/>
              </a:ext>
            </a:extLst>
          </p:cNvPr>
          <p:cNvSpPr txBox="1">
            <a:spLocks/>
          </p:cNvSpPr>
          <p:nvPr/>
        </p:nvSpPr>
        <p:spPr>
          <a:xfrm>
            <a:off x="11206827" y="5223962"/>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6" name="Rectangle 15">
            <a:extLst>
              <a:ext uri="{FF2B5EF4-FFF2-40B4-BE49-F238E27FC236}">
                <a16:creationId xmlns:a16="http://schemas.microsoft.com/office/drawing/2014/main" id="{69E8CE64-0533-7299-077A-F5CBD4B386AF}"/>
              </a:ext>
            </a:extLst>
          </p:cNvPr>
          <p:cNvSpPr/>
          <p:nvPr/>
        </p:nvSpPr>
        <p:spPr>
          <a:xfrm>
            <a:off x="770411" y="1865191"/>
            <a:ext cx="6791744" cy="3113951"/>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2" name="Google Shape;846;p29">
            <a:extLst>
              <a:ext uri="{FF2B5EF4-FFF2-40B4-BE49-F238E27FC236}">
                <a16:creationId xmlns:a16="http://schemas.microsoft.com/office/drawing/2014/main" id="{15E4C8ED-7C1D-F41F-CFD3-DC21D4DDC86D}"/>
              </a:ext>
            </a:extLst>
          </p:cNvPr>
          <p:cNvSpPr/>
          <p:nvPr/>
        </p:nvSpPr>
        <p:spPr>
          <a:xfrm>
            <a:off x="0" y="346507"/>
            <a:ext cx="12192001" cy="854281"/>
          </a:xfrm>
          <a:prstGeom prst="rect">
            <a:avLst/>
          </a:prstGeom>
          <a:solidFill>
            <a:schemeClr val="accent4"/>
          </a:solidFill>
          <a:ln>
            <a:noFill/>
          </a:ln>
        </p:spPr>
        <p:txBody>
          <a:bodyPr spcFirstLastPara="1" wrap="square" lIns="396000" tIns="91425" rIns="91425" bIns="91425" anchor="ctr" anchorCtr="0">
            <a:noAutofit/>
          </a:bodyPr>
          <a:lstStyle/>
          <a:p>
            <a:pPr algn="ctr"/>
            <a:r>
              <a:rPr lang="da-DK" sz="3200" b="1">
                <a:solidFill>
                  <a:schemeClr val="bg1"/>
                </a:solidFill>
                <a:latin typeface="Amatic SC" panose="00000500000000000000" pitchFamily="2" charset="-79"/>
                <a:cs typeface="Amatic SC" panose="00000500000000000000" pitchFamily="2" charset="-79"/>
              </a:rPr>
              <a:t>Teamsamarbejde er løftestang for udvikling af praksis, når teamet har et fælles børnesyn</a:t>
            </a:r>
          </a:p>
        </p:txBody>
      </p:sp>
      <p:sp>
        <p:nvSpPr>
          <p:cNvPr id="6" name="TextBox 5">
            <a:extLst>
              <a:ext uri="{FF2B5EF4-FFF2-40B4-BE49-F238E27FC236}">
                <a16:creationId xmlns:a16="http://schemas.microsoft.com/office/drawing/2014/main" id="{479CD88A-6E58-621F-7006-85774279DF87}"/>
              </a:ext>
            </a:extLst>
          </p:cNvPr>
          <p:cNvSpPr txBox="1"/>
          <p:nvPr/>
        </p:nvSpPr>
        <p:spPr>
          <a:xfrm>
            <a:off x="770411" y="1584585"/>
            <a:ext cx="6791744" cy="666246"/>
          </a:xfrm>
          <a:prstGeom prst="rect">
            <a:avLst/>
          </a:prstGeom>
          <a:solidFill>
            <a:schemeClr val="accent4"/>
          </a:solidFill>
          <a:ln w="28575">
            <a:solidFill>
              <a:schemeClr val="accent4"/>
            </a:solidFill>
          </a:ln>
        </p:spPr>
        <p:txBody>
          <a:bodyPr wrap="square" lIns="0" tIns="0" rIns="0" bIns="0" rtlCol="0" anchor="ctr">
            <a:noAutofit/>
          </a:bodyPr>
          <a:lstStyle/>
          <a:p>
            <a:pPr algn="ctr"/>
            <a:r>
              <a:rPr lang="da-DK" sz="2400" b="1">
                <a:latin typeface="Amatic SC" panose="00000500000000000000" pitchFamily="2" charset="-79"/>
                <a:cs typeface="Amatic SC" panose="00000500000000000000" pitchFamily="2" charset="-79"/>
              </a:rPr>
              <a:t>Samarbejde om udvikling af praksis er særligt motiverende, når…</a:t>
            </a:r>
          </a:p>
        </p:txBody>
      </p:sp>
      <p:sp>
        <p:nvSpPr>
          <p:cNvPr id="7" name="TextBox 6">
            <a:extLst>
              <a:ext uri="{FF2B5EF4-FFF2-40B4-BE49-F238E27FC236}">
                <a16:creationId xmlns:a16="http://schemas.microsoft.com/office/drawing/2014/main" id="{BD2606AB-11AB-17EB-93C7-331917089B99}"/>
              </a:ext>
            </a:extLst>
          </p:cNvPr>
          <p:cNvSpPr txBox="1"/>
          <p:nvPr/>
        </p:nvSpPr>
        <p:spPr>
          <a:xfrm>
            <a:off x="873235" y="2384883"/>
            <a:ext cx="6447399" cy="2462213"/>
          </a:xfrm>
          <a:prstGeom prst="rect">
            <a:avLst/>
          </a:prstGeom>
          <a:noFill/>
        </p:spPr>
        <p:txBody>
          <a:bodyPr wrap="square">
            <a:spAutoFit/>
          </a:bodyPr>
          <a:lstStyle/>
          <a:p>
            <a:pPr marL="360000" lvl="1"/>
            <a:r>
              <a:rPr lang="da-DK" sz="1400">
                <a:latin typeface="Quicksand" panose="020B0604020202020204" charset="0"/>
              </a:rPr>
              <a:t>… teamet </a:t>
            </a:r>
            <a:r>
              <a:rPr lang="da-DK" sz="1400" b="1">
                <a:latin typeface="Quicksand" panose="020B0604020202020204" charset="0"/>
              </a:rPr>
              <a:t>systematisk følger op på og drøfter</a:t>
            </a:r>
            <a:r>
              <a:rPr lang="da-DK" sz="1400">
                <a:latin typeface="Quicksand" panose="020B0604020202020204" charset="0"/>
              </a:rPr>
              <a:t>, hvordan praksis kan forbedres.</a:t>
            </a:r>
          </a:p>
          <a:p>
            <a:pPr marL="360000" lvl="1"/>
            <a:endParaRPr lang="da-DK" sz="1400" b="1">
              <a:latin typeface="Quicksand" panose="020B0604020202020204" charset="0"/>
            </a:endParaRPr>
          </a:p>
          <a:p>
            <a:pPr marL="360000" lvl="1"/>
            <a:r>
              <a:rPr lang="da-DK" sz="1400">
                <a:latin typeface="Quicksand" panose="020B0604020202020204" charset="0"/>
              </a:rPr>
              <a:t>… m</a:t>
            </a:r>
            <a:r>
              <a:rPr lang="da-DK" sz="1400">
                <a:latin typeface="Quicksand" panose="020B0604020202020204" charset="0"/>
                <a:cs typeface="Quicksand" panose="020B0604020202020204" charset="0"/>
              </a:rPr>
              <a:t>an reflekterer over praksis </a:t>
            </a:r>
            <a:r>
              <a:rPr lang="da-DK" sz="1400" b="1">
                <a:latin typeface="Quicksand" panose="020B0604020202020204" charset="0"/>
                <a:cs typeface="Quicksand" panose="020B0604020202020204" charset="0"/>
              </a:rPr>
              <a:t>på tværs af teams</a:t>
            </a:r>
            <a:r>
              <a:rPr lang="da-DK" sz="1400">
                <a:latin typeface="Quicksand" panose="020B0604020202020204" charset="0"/>
                <a:cs typeface="Quicksand" panose="020B0604020202020204" charset="0"/>
              </a:rPr>
              <a:t>.</a:t>
            </a:r>
          </a:p>
          <a:p>
            <a:pPr marL="360000" lvl="1"/>
            <a:endParaRPr lang="da-DK" sz="1400" b="1">
              <a:latin typeface="Quicksand" panose="020B0604020202020204" charset="0"/>
            </a:endParaRPr>
          </a:p>
          <a:p>
            <a:pPr marL="360000" lvl="1"/>
            <a:r>
              <a:rPr lang="da-DK" sz="1400">
                <a:latin typeface="Quicksand" panose="020B0604020202020204" charset="0"/>
              </a:rPr>
              <a:t>… teamet arbejder med </a:t>
            </a:r>
            <a:r>
              <a:rPr lang="da-DK" sz="1400" b="1">
                <a:latin typeface="Quicksand" panose="020B0604020202020204" charset="0"/>
              </a:rPr>
              <a:t>konkrete værktøjer </a:t>
            </a:r>
            <a:r>
              <a:rPr lang="da-DK" sz="1400">
                <a:latin typeface="Quicksand" panose="020B0604020202020204" charset="0"/>
              </a:rPr>
              <a:t>til at analysere en problemstilling.</a:t>
            </a:r>
          </a:p>
          <a:p>
            <a:pPr marL="360000" lvl="1"/>
            <a:endParaRPr lang="da-DK" sz="1400" b="1">
              <a:latin typeface="Quicksand" panose="020B0604020202020204" charset="0"/>
            </a:endParaRPr>
          </a:p>
          <a:p>
            <a:pPr marL="360000" lvl="1"/>
            <a:r>
              <a:rPr lang="da-DK" sz="1400">
                <a:latin typeface="Quicksand" panose="020B0604020202020204" charset="0"/>
              </a:rPr>
              <a:t>… teamet</a:t>
            </a:r>
            <a:r>
              <a:rPr lang="da-DK" sz="1400" b="1">
                <a:latin typeface="Quicksand" panose="020B0604020202020204" charset="0"/>
                <a:cs typeface="Quicksand" panose="020B0604020202020204" charset="0"/>
              </a:rPr>
              <a:t> indsamler og anvender data </a:t>
            </a:r>
            <a:r>
              <a:rPr lang="da-DK" sz="1400">
                <a:latin typeface="Quicksand" panose="020B0604020202020204" charset="0"/>
                <a:cs typeface="Quicksand" panose="020B0604020202020204" charset="0"/>
              </a:rPr>
              <a:t>til at vurdere deres eksisterende praksis og hvordan den kan forbedres.</a:t>
            </a:r>
          </a:p>
          <a:p>
            <a:pPr marL="360000" lvl="1"/>
            <a:endParaRPr lang="da-DK" sz="1400" b="1">
              <a:latin typeface="Quicksand" panose="020B0604020202020204" charset="0"/>
            </a:endParaRPr>
          </a:p>
          <a:p>
            <a:pPr marL="360000" lvl="1"/>
            <a:r>
              <a:rPr lang="da-DK" sz="1400">
                <a:latin typeface="Quicksand" panose="020B0604020202020204" charset="0"/>
              </a:rPr>
              <a:t>…</a:t>
            </a:r>
            <a:r>
              <a:rPr lang="da-DK" sz="1400">
                <a:latin typeface="Quicksand" panose="020B0604020202020204" charset="0"/>
                <a:cs typeface="Quicksand" panose="020B0604020202020204" charset="0"/>
              </a:rPr>
              <a:t> der er </a:t>
            </a:r>
            <a:r>
              <a:rPr lang="da-DK" sz="1400" b="1">
                <a:latin typeface="Quicksand" panose="020B0604020202020204" charset="0"/>
                <a:cs typeface="Quicksand" panose="020B0604020202020204" charset="0"/>
              </a:rPr>
              <a:t>psykologisk tryghed </a:t>
            </a:r>
            <a:r>
              <a:rPr lang="da-DK" sz="1400">
                <a:latin typeface="Quicksand" panose="020B0604020202020204" charset="0"/>
                <a:cs typeface="Quicksand" panose="020B0604020202020204" charset="0"/>
              </a:rPr>
              <a:t>i teamet, så man tør at åbne op om egne udfordringer.</a:t>
            </a:r>
            <a:endParaRPr lang="da-DK" sz="1400" b="1">
              <a:latin typeface="Quicksand" panose="020B0604020202020204" charset="0"/>
            </a:endParaRPr>
          </a:p>
        </p:txBody>
      </p:sp>
      <p:sp>
        <p:nvSpPr>
          <p:cNvPr id="8" name="TextBox 7">
            <a:extLst>
              <a:ext uri="{FF2B5EF4-FFF2-40B4-BE49-F238E27FC236}">
                <a16:creationId xmlns:a16="http://schemas.microsoft.com/office/drawing/2014/main" id="{C17575AC-6326-264C-378F-10DE84939037}"/>
              </a:ext>
            </a:extLst>
          </p:cNvPr>
          <p:cNvSpPr txBox="1"/>
          <p:nvPr/>
        </p:nvSpPr>
        <p:spPr>
          <a:xfrm>
            <a:off x="8428257" y="2249461"/>
            <a:ext cx="2993331" cy="1508105"/>
          </a:xfrm>
          <a:prstGeom prst="rect">
            <a:avLst/>
          </a:prstGeom>
          <a:noFill/>
          <a:ln>
            <a:noFill/>
          </a:ln>
        </p:spPr>
        <p:txBody>
          <a:bodyPr wrap="square" lIns="0" tIns="0" rIns="0" bIns="0" rtlCol="0">
            <a:spAutoFit/>
          </a:bodyPr>
          <a:lstStyle/>
          <a:p>
            <a:r>
              <a:rPr lang="da-DK" sz="1400" dirty="0">
                <a:solidFill>
                  <a:schemeClr val="accent4"/>
                </a:solidFill>
                <a:latin typeface="Quicksand" panose="020B0604020202020204" charset="0"/>
                <a:cs typeface="Quicksand" panose="020B0604020202020204" charset="0"/>
              </a:rPr>
              <a:t>I klasseteamet skal vi have fundet ud af, hvem skal sidde hvor, hvornår der er lejrskole osv. Det er drift. Det er, når vi har fælles reflektion på tværs af teams, at der sker noget. </a:t>
            </a:r>
          </a:p>
          <a:p>
            <a:pPr algn="r"/>
            <a:r>
              <a:rPr lang="da-DK" sz="1000" i="1" dirty="0">
                <a:solidFill>
                  <a:schemeClr val="accent4"/>
                </a:solidFill>
                <a:latin typeface="Quicksand" panose="020B0604020202020204" charset="0"/>
                <a:cs typeface="Quicksand" panose="020B0604020202020204" charset="0"/>
              </a:rPr>
              <a:t>Pædagogisk personale</a:t>
            </a:r>
          </a:p>
          <a:p>
            <a:pPr algn="r"/>
            <a:endParaRPr lang="da-DK" sz="1000" i="1" dirty="0">
              <a:solidFill>
                <a:schemeClr val="accent4"/>
              </a:solidFill>
              <a:latin typeface="Quicksand" panose="020B0604020202020204" charset="0"/>
              <a:cs typeface="Quicksand" panose="020B0604020202020204" charset="0"/>
            </a:endParaRPr>
          </a:p>
          <a:p>
            <a:endParaRPr lang="da-DK" sz="800" dirty="0">
              <a:latin typeface="Quicksand" panose="020B0604020202020204" charset="0"/>
              <a:cs typeface="Quicksand" panose="020B0604020202020204" charset="0"/>
            </a:endParaRPr>
          </a:p>
        </p:txBody>
      </p:sp>
      <p:sp>
        <p:nvSpPr>
          <p:cNvPr id="11" name="Google Shape;1251;p48">
            <a:extLst>
              <a:ext uri="{FF2B5EF4-FFF2-40B4-BE49-F238E27FC236}">
                <a16:creationId xmlns:a16="http://schemas.microsoft.com/office/drawing/2014/main" id="{9B502AFB-D63C-1840-C711-4239F459C481}"/>
              </a:ext>
            </a:extLst>
          </p:cNvPr>
          <p:cNvSpPr/>
          <p:nvPr/>
        </p:nvSpPr>
        <p:spPr>
          <a:xfrm>
            <a:off x="820112" y="1710293"/>
            <a:ext cx="345681" cy="414830"/>
          </a:xfrm>
          <a:custGeom>
            <a:avLst/>
            <a:gdLst/>
            <a:ahLst/>
            <a:cxnLst/>
            <a:rect l="l" t="t" r="r" b="b"/>
            <a:pathLst>
              <a:path w="15817" h="18981" extrusionOk="0">
                <a:moveTo>
                  <a:pt x="11364" y="1"/>
                </a:moveTo>
                <a:lnTo>
                  <a:pt x="11242" y="25"/>
                </a:lnTo>
                <a:lnTo>
                  <a:pt x="11169" y="74"/>
                </a:lnTo>
                <a:lnTo>
                  <a:pt x="11096" y="171"/>
                </a:lnTo>
                <a:lnTo>
                  <a:pt x="10780" y="731"/>
                </a:lnTo>
                <a:lnTo>
                  <a:pt x="10634" y="999"/>
                </a:lnTo>
                <a:lnTo>
                  <a:pt x="10537" y="1315"/>
                </a:lnTo>
                <a:lnTo>
                  <a:pt x="10512" y="1388"/>
                </a:lnTo>
                <a:lnTo>
                  <a:pt x="10537" y="1461"/>
                </a:lnTo>
                <a:lnTo>
                  <a:pt x="10585" y="1534"/>
                </a:lnTo>
                <a:lnTo>
                  <a:pt x="10634" y="1583"/>
                </a:lnTo>
                <a:lnTo>
                  <a:pt x="10707" y="1607"/>
                </a:lnTo>
                <a:lnTo>
                  <a:pt x="10804" y="1631"/>
                </a:lnTo>
                <a:lnTo>
                  <a:pt x="10877" y="1607"/>
                </a:lnTo>
                <a:lnTo>
                  <a:pt x="10950" y="1558"/>
                </a:lnTo>
                <a:lnTo>
                  <a:pt x="11145" y="1315"/>
                </a:lnTo>
                <a:lnTo>
                  <a:pt x="11291" y="1047"/>
                </a:lnTo>
                <a:lnTo>
                  <a:pt x="11510" y="731"/>
                </a:lnTo>
                <a:lnTo>
                  <a:pt x="11583" y="682"/>
                </a:lnTo>
                <a:lnTo>
                  <a:pt x="11656" y="609"/>
                </a:lnTo>
                <a:lnTo>
                  <a:pt x="11705" y="463"/>
                </a:lnTo>
                <a:lnTo>
                  <a:pt x="11729" y="342"/>
                </a:lnTo>
                <a:lnTo>
                  <a:pt x="11705" y="220"/>
                </a:lnTo>
                <a:lnTo>
                  <a:pt x="11656" y="123"/>
                </a:lnTo>
                <a:lnTo>
                  <a:pt x="11583" y="50"/>
                </a:lnTo>
                <a:lnTo>
                  <a:pt x="11486" y="25"/>
                </a:lnTo>
                <a:lnTo>
                  <a:pt x="11461" y="1"/>
                </a:lnTo>
                <a:close/>
                <a:moveTo>
                  <a:pt x="3821" y="171"/>
                </a:moveTo>
                <a:lnTo>
                  <a:pt x="3748" y="196"/>
                </a:lnTo>
                <a:lnTo>
                  <a:pt x="3699" y="244"/>
                </a:lnTo>
                <a:lnTo>
                  <a:pt x="3651" y="317"/>
                </a:lnTo>
                <a:lnTo>
                  <a:pt x="3651" y="390"/>
                </a:lnTo>
                <a:lnTo>
                  <a:pt x="3651" y="463"/>
                </a:lnTo>
                <a:lnTo>
                  <a:pt x="3699" y="634"/>
                </a:lnTo>
                <a:lnTo>
                  <a:pt x="3772" y="804"/>
                </a:lnTo>
                <a:lnTo>
                  <a:pt x="3943" y="1120"/>
                </a:lnTo>
                <a:lnTo>
                  <a:pt x="4113" y="1461"/>
                </a:lnTo>
                <a:lnTo>
                  <a:pt x="4259" y="1802"/>
                </a:lnTo>
                <a:lnTo>
                  <a:pt x="4332" y="1923"/>
                </a:lnTo>
                <a:lnTo>
                  <a:pt x="4429" y="1996"/>
                </a:lnTo>
                <a:lnTo>
                  <a:pt x="4527" y="2021"/>
                </a:lnTo>
                <a:lnTo>
                  <a:pt x="4624" y="1996"/>
                </a:lnTo>
                <a:lnTo>
                  <a:pt x="4721" y="1972"/>
                </a:lnTo>
                <a:lnTo>
                  <a:pt x="4794" y="1899"/>
                </a:lnTo>
                <a:lnTo>
                  <a:pt x="4843" y="1777"/>
                </a:lnTo>
                <a:lnTo>
                  <a:pt x="4843" y="1656"/>
                </a:lnTo>
                <a:lnTo>
                  <a:pt x="4794" y="1461"/>
                </a:lnTo>
                <a:lnTo>
                  <a:pt x="4697" y="1266"/>
                </a:lnTo>
                <a:lnTo>
                  <a:pt x="4502" y="901"/>
                </a:lnTo>
                <a:lnTo>
                  <a:pt x="4283" y="536"/>
                </a:lnTo>
                <a:lnTo>
                  <a:pt x="4162" y="390"/>
                </a:lnTo>
                <a:lnTo>
                  <a:pt x="4040" y="244"/>
                </a:lnTo>
                <a:lnTo>
                  <a:pt x="3967" y="196"/>
                </a:lnTo>
                <a:lnTo>
                  <a:pt x="3894" y="171"/>
                </a:lnTo>
                <a:close/>
                <a:moveTo>
                  <a:pt x="15452" y="4405"/>
                </a:moveTo>
                <a:lnTo>
                  <a:pt x="15379" y="4429"/>
                </a:lnTo>
                <a:lnTo>
                  <a:pt x="15306" y="4454"/>
                </a:lnTo>
                <a:lnTo>
                  <a:pt x="15135" y="4551"/>
                </a:lnTo>
                <a:lnTo>
                  <a:pt x="14941" y="4600"/>
                </a:lnTo>
                <a:lnTo>
                  <a:pt x="14551" y="4697"/>
                </a:lnTo>
                <a:lnTo>
                  <a:pt x="14357" y="4746"/>
                </a:lnTo>
                <a:lnTo>
                  <a:pt x="14162" y="4819"/>
                </a:lnTo>
                <a:lnTo>
                  <a:pt x="14016" y="4916"/>
                </a:lnTo>
                <a:lnTo>
                  <a:pt x="13870" y="5062"/>
                </a:lnTo>
                <a:lnTo>
                  <a:pt x="13822" y="5135"/>
                </a:lnTo>
                <a:lnTo>
                  <a:pt x="13822" y="5232"/>
                </a:lnTo>
                <a:lnTo>
                  <a:pt x="13846" y="5330"/>
                </a:lnTo>
                <a:lnTo>
                  <a:pt x="13895" y="5354"/>
                </a:lnTo>
                <a:lnTo>
                  <a:pt x="13943" y="5354"/>
                </a:lnTo>
                <a:lnTo>
                  <a:pt x="14138" y="5378"/>
                </a:lnTo>
                <a:lnTo>
                  <a:pt x="14357" y="5378"/>
                </a:lnTo>
                <a:lnTo>
                  <a:pt x="14600" y="5354"/>
                </a:lnTo>
                <a:lnTo>
                  <a:pt x="14819" y="5330"/>
                </a:lnTo>
                <a:lnTo>
                  <a:pt x="15038" y="5257"/>
                </a:lnTo>
                <a:lnTo>
                  <a:pt x="15257" y="5208"/>
                </a:lnTo>
                <a:lnTo>
                  <a:pt x="15452" y="5111"/>
                </a:lnTo>
                <a:lnTo>
                  <a:pt x="15646" y="5038"/>
                </a:lnTo>
                <a:lnTo>
                  <a:pt x="15719" y="4989"/>
                </a:lnTo>
                <a:lnTo>
                  <a:pt x="15768" y="4940"/>
                </a:lnTo>
                <a:lnTo>
                  <a:pt x="15817" y="4819"/>
                </a:lnTo>
                <a:lnTo>
                  <a:pt x="15792" y="4697"/>
                </a:lnTo>
                <a:lnTo>
                  <a:pt x="15768" y="4575"/>
                </a:lnTo>
                <a:lnTo>
                  <a:pt x="15671" y="4478"/>
                </a:lnTo>
                <a:lnTo>
                  <a:pt x="15573" y="4429"/>
                </a:lnTo>
                <a:lnTo>
                  <a:pt x="15452" y="4405"/>
                </a:lnTo>
                <a:close/>
                <a:moveTo>
                  <a:pt x="317" y="4697"/>
                </a:moveTo>
                <a:lnTo>
                  <a:pt x="220" y="4721"/>
                </a:lnTo>
                <a:lnTo>
                  <a:pt x="122" y="4746"/>
                </a:lnTo>
                <a:lnTo>
                  <a:pt x="25" y="4794"/>
                </a:lnTo>
                <a:lnTo>
                  <a:pt x="1" y="4867"/>
                </a:lnTo>
                <a:lnTo>
                  <a:pt x="1" y="4965"/>
                </a:lnTo>
                <a:lnTo>
                  <a:pt x="49" y="5038"/>
                </a:lnTo>
                <a:lnTo>
                  <a:pt x="195" y="5184"/>
                </a:lnTo>
                <a:lnTo>
                  <a:pt x="390" y="5305"/>
                </a:lnTo>
                <a:lnTo>
                  <a:pt x="779" y="5524"/>
                </a:lnTo>
                <a:lnTo>
                  <a:pt x="1169" y="5743"/>
                </a:lnTo>
                <a:lnTo>
                  <a:pt x="1388" y="5841"/>
                </a:lnTo>
                <a:lnTo>
                  <a:pt x="1582" y="5938"/>
                </a:lnTo>
                <a:lnTo>
                  <a:pt x="1655" y="5962"/>
                </a:lnTo>
                <a:lnTo>
                  <a:pt x="1801" y="5962"/>
                </a:lnTo>
                <a:lnTo>
                  <a:pt x="1850" y="5938"/>
                </a:lnTo>
                <a:lnTo>
                  <a:pt x="1923" y="5841"/>
                </a:lnTo>
                <a:lnTo>
                  <a:pt x="1972" y="5743"/>
                </a:lnTo>
                <a:lnTo>
                  <a:pt x="1996" y="5622"/>
                </a:lnTo>
                <a:lnTo>
                  <a:pt x="1972" y="5476"/>
                </a:lnTo>
                <a:lnTo>
                  <a:pt x="1899" y="5378"/>
                </a:lnTo>
                <a:lnTo>
                  <a:pt x="1826" y="5330"/>
                </a:lnTo>
                <a:lnTo>
                  <a:pt x="1777" y="5305"/>
                </a:lnTo>
                <a:lnTo>
                  <a:pt x="1582" y="5208"/>
                </a:lnTo>
                <a:lnTo>
                  <a:pt x="1388" y="5111"/>
                </a:lnTo>
                <a:lnTo>
                  <a:pt x="974" y="4892"/>
                </a:lnTo>
                <a:lnTo>
                  <a:pt x="755" y="4794"/>
                </a:lnTo>
                <a:lnTo>
                  <a:pt x="536" y="4721"/>
                </a:lnTo>
                <a:lnTo>
                  <a:pt x="317" y="4697"/>
                </a:lnTo>
                <a:close/>
                <a:moveTo>
                  <a:pt x="8809" y="6936"/>
                </a:moveTo>
                <a:lnTo>
                  <a:pt x="8736" y="6984"/>
                </a:lnTo>
                <a:lnTo>
                  <a:pt x="8663" y="7057"/>
                </a:lnTo>
                <a:lnTo>
                  <a:pt x="8566" y="7252"/>
                </a:lnTo>
                <a:lnTo>
                  <a:pt x="8468" y="7495"/>
                </a:lnTo>
                <a:lnTo>
                  <a:pt x="8420" y="7739"/>
                </a:lnTo>
                <a:lnTo>
                  <a:pt x="8395" y="7958"/>
                </a:lnTo>
                <a:lnTo>
                  <a:pt x="8395" y="8128"/>
                </a:lnTo>
                <a:lnTo>
                  <a:pt x="8322" y="8177"/>
                </a:lnTo>
                <a:lnTo>
                  <a:pt x="8201" y="8225"/>
                </a:lnTo>
                <a:lnTo>
                  <a:pt x="8079" y="8250"/>
                </a:lnTo>
                <a:lnTo>
                  <a:pt x="7982" y="8225"/>
                </a:lnTo>
                <a:lnTo>
                  <a:pt x="7909" y="8201"/>
                </a:lnTo>
                <a:lnTo>
                  <a:pt x="7982" y="8079"/>
                </a:lnTo>
                <a:lnTo>
                  <a:pt x="8055" y="7933"/>
                </a:lnTo>
                <a:lnTo>
                  <a:pt x="8103" y="7812"/>
                </a:lnTo>
                <a:lnTo>
                  <a:pt x="8103" y="7666"/>
                </a:lnTo>
                <a:lnTo>
                  <a:pt x="8103" y="7520"/>
                </a:lnTo>
                <a:lnTo>
                  <a:pt x="8055" y="7398"/>
                </a:lnTo>
                <a:lnTo>
                  <a:pt x="7957" y="7252"/>
                </a:lnTo>
                <a:lnTo>
                  <a:pt x="7836" y="7130"/>
                </a:lnTo>
                <a:lnTo>
                  <a:pt x="7763" y="7082"/>
                </a:lnTo>
                <a:lnTo>
                  <a:pt x="7617" y="7082"/>
                </a:lnTo>
                <a:lnTo>
                  <a:pt x="7544" y="7130"/>
                </a:lnTo>
                <a:lnTo>
                  <a:pt x="7446" y="7252"/>
                </a:lnTo>
                <a:lnTo>
                  <a:pt x="7373" y="7374"/>
                </a:lnTo>
                <a:lnTo>
                  <a:pt x="7325" y="7495"/>
                </a:lnTo>
                <a:lnTo>
                  <a:pt x="7300" y="7641"/>
                </a:lnTo>
                <a:lnTo>
                  <a:pt x="7300" y="7787"/>
                </a:lnTo>
                <a:lnTo>
                  <a:pt x="7300" y="7909"/>
                </a:lnTo>
                <a:lnTo>
                  <a:pt x="7325" y="8055"/>
                </a:lnTo>
                <a:lnTo>
                  <a:pt x="7373" y="8177"/>
                </a:lnTo>
                <a:lnTo>
                  <a:pt x="7179" y="8298"/>
                </a:lnTo>
                <a:lnTo>
                  <a:pt x="7081" y="8323"/>
                </a:lnTo>
                <a:lnTo>
                  <a:pt x="6984" y="8347"/>
                </a:lnTo>
                <a:lnTo>
                  <a:pt x="6911" y="8371"/>
                </a:lnTo>
                <a:lnTo>
                  <a:pt x="6814" y="8347"/>
                </a:lnTo>
                <a:lnTo>
                  <a:pt x="6692" y="8298"/>
                </a:lnTo>
                <a:lnTo>
                  <a:pt x="6570" y="8201"/>
                </a:lnTo>
                <a:lnTo>
                  <a:pt x="6497" y="8055"/>
                </a:lnTo>
                <a:lnTo>
                  <a:pt x="6449" y="7909"/>
                </a:lnTo>
                <a:lnTo>
                  <a:pt x="6449" y="7739"/>
                </a:lnTo>
                <a:lnTo>
                  <a:pt x="6497" y="7544"/>
                </a:lnTo>
                <a:lnTo>
                  <a:pt x="6497" y="7520"/>
                </a:lnTo>
                <a:lnTo>
                  <a:pt x="6473" y="7520"/>
                </a:lnTo>
                <a:lnTo>
                  <a:pt x="6449" y="7495"/>
                </a:lnTo>
                <a:lnTo>
                  <a:pt x="6424" y="7520"/>
                </a:lnTo>
                <a:lnTo>
                  <a:pt x="6327" y="7617"/>
                </a:lnTo>
                <a:lnTo>
                  <a:pt x="6254" y="7739"/>
                </a:lnTo>
                <a:lnTo>
                  <a:pt x="6230" y="7836"/>
                </a:lnTo>
                <a:lnTo>
                  <a:pt x="6206" y="7958"/>
                </a:lnTo>
                <a:lnTo>
                  <a:pt x="6206" y="8055"/>
                </a:lnTo>
                <a:lnTo>
                  <a:pt x="6206" y="8177"/>
                </a:lnTo>
                <a:lnTo>
                  <a:pt x="6254" y="8274"/>
                </a:lnTo>
                <a:lnTo>
                  <a:pt x="6303" y="8371"/>
                </a:lnTo>
                <a:lnTo>
                  <a:pt x="6376" y="8469"/>
                </a:lnTo>
                <a:lnTo>
                  <a:pt x="6449" y="8542"/>
                </a:lnTo>
                <a:lnTo>
                  <a:pt x="6546" y="8615"/>
                </a:lnTo>
                <a:lnTo>
                  <a:pt x="6643" y="8663"/>
                </a:lnTo>
                <a:lnTo>
                  <a:pt x="6765" y="8712"/>
                </a:lnTo>
                <a:lnTo>
                  <a:pt x="6862" y="8736"/>
                </a:lnTo>
                <a:lnTo>
                  <a:pt x="7008" y="8736"/>
                </a:lnTo>
                <a:lnTo>
                  <a:pt x="7130" y="8712"/>
                </a:lnTo>
                <a:lnTo>
                  <a:pt x="7349" y="8615"/>
                </a:lnTo>
                <a:lnTo>
                  <a:pt x="7592" y="8493"/>
                </a:lnTo>
                <a:lnTo>
                  <a:pt x="7690" y="8566"/>
                </a:lnTo>
                <a:lnTo>
                  <a:pt x="7836" y="8639"/>
                </a:lnTo>
                <a:lnTo>
                  <a:pt x="7982" y="8663"/>
                </a:lnTo>
                <a:lnTo>
                  <a:pt x="8128" y="8688"/>
                </a:lnTo>
                <a:lnTo>
                  <a:pt x="8225" y="8688"/>
                </a:lnTo>
                <a:lnTo>
                  <a:pt x="8347" y="8663"/>
                </a:lnTo>
                <a:lnTo>
                  <a:pt x="8566" y="8566"/>
                </a:lnTo>
                <a:lnTo>
                  <a:pt x="8639" y="8663"/>
                </a:lnTo>
                <a:lnTo>
                  <a:pt x="8736" y="8736"/>
                </a:lnTo>
                <a:lnTo>
                  <a:pt x="8833" y="8809"/>
                </a:lnTo>
                <a:lnTo>
                  <a:pt x="8931" y="8858"/>
                </a:lnTo>
                <a:lnTo>
                  <a:pt x="9174" y="8907"/>
                </a:lnTo>
                <a:lnTo>
                  <a:pt x="9417" y="8931"/>
                </a:lnTo>
                <a:lnTo>
                  <a:pt x="9661" y="8882"/>
                </a:lnTo>
                <a:lnTo>
                  <a:pt x="9880" y="8809"/>
                </a:lnTo>
                <a:lnTo>
                  <a:pt x="9977" y="8736"/>
                </a:lnTo>
                <a:lnTo>
                  <a:pt x="10074" y="8663"/>
                </a:lnTo>
                <a:lnTo>
                  <a:pt x="10172" y="8566"/>
                </a:lnTo>
                <a:lnTo>
                  <a:pt x="10269" y="8469"/>
                </a:lnTo>
                <a:lnTo>
                  <a:pt x="10293" y="8396"/>
                </a:lnTo>
                <a:lnTo>
                  <a:pt x="10293" y="8347"/>
                </a:lnTo>
                <a:lnTo>
                  <a:pt x="10269" y="8298"/>
                </a:lnTo>
                <a:lnTo>
                  <a:pt x="10245" y="8250"/>
                </a:lnTo>
                <a:lnTo>
                  <a:pt x="10172" y="8225"/>
                </a:lnTo>
                <a:lnTo>
                  <a:pt x="10123" y="8201"/>
                </a:lnTo>
                <a:lnTo>
                  <a:pt x="10001" y="8201"/>
                </a:lnTo>
                <a:lnTo>
                  <a:pt x="9782" y="8323"/>
                </a:lnTo>
                <a:lnTo>
                  <a:pt x="9563" y="8420"/>
                </a:lnTo>
                <a:lnTo>
                  <a:pt x="9442" y="8444"/>
                </a:lnTo>
                <a:lnTo>
                  <a:pt x="9344" y="8469"/>
                </a:lnTo>
                <a:lnTo>
                  <a:pt x="9223" y="8469"/>
                </a:lnTo>
                <a:lnTo>
                  <a:pt x="9101" y="8420"/>
                </a:lnTo>
                <a:lnTo>
                  <a:pt x="9004" y="8347"/>
                </a:lnTo>
                <a:lnTo>
                  <a:pt x="8931" y="8274"/>
                </a:lnTo>
                <a:lnTo>
                  <a:pt x="9052" y="8128"/>
                </a:lnTo>
                <a:lnTo>
                  <a:pt x="9150" y="7982"/>
                </a:lnTo>
                <a:lnTo>
                  <a:pt x="9247" y="7836"/>
                </a:lnTo>
                <a:lnTo>
                  <a:pt x="9296" y="7666"/>
                </a:lnTo>
                <a:lnTo>
                  <a:pt x="9320" y="7495"/>
                </a:lnTo>
                <a:lnTo>
                  <a:pt x="9296" y="7349"/>
                </a:lnTo>
                <a:lnTo>
                  <a:pt x="9247" y="7203"/>
                </a:lnTo>
                <a:lnTo>
                  <a:pt x="9150" y="7057"/>
                </a:lnTo>
                <a:lnTo>
                  <a:pt x="9052" y="6984"/>
                </a:lnTo>
                <a:lnTo>
                  <a:pt x="8955" y="6936"/>
                </a:lnTo>
                <a:close/>
                <a:moveTo>
                  <a:pt x="1947" y="9710"/>
                </a:moveTo>
                <a:lnTo>
                  <a:pt x="1801" y="9758"/>
                </a:lnTo>
                <a:lnTo>
                  <a:pt x="1582" y="9856"/>
                </a:lnTo>
                <a:lnTo>
                  <a:pt x="1363" y="10002"/>
                </a:lnTo>
                <a:lnTo>
                  <a:pt x="925" y="10294"/>
                </a:lnTo>
                <a:lnTo>
                  <a:pt x="706" y="10415"/>
                </a:lnTo>
                <a:lnTo>
                  <a:pt x="585" y="10513"/>
                </a:lnTo>
                <a:lnTo>
                  <a:pt x="463" y="10610"/>
                </a:lnTo>
                <a:lnTo>
                  <a:pt x="366" y="10707"/>
                </a:lnTo>
                <a:lnTo>
                  <a:pt x="317" y="10829"/>
                </a:lnTo>
                <a:lnTo>
                  <a:pt x="317" y="10878"/>
                </a:lnTo>
                <a:lnTo>
                  <a:pt x="341" y="10926"/>
                </a:lnTo>
                <a:lnTo>
                  <a:pt x="366" y="10999"/>
                </a:lnTo>
                <a:lnTo>
                  <a:pt x="439" y="11048"/>
                </a:lnTo>
                <a:lnTo>
                  <a:pt x="536" y="11097"/>
                </a:lnTo>
                <a:lnTo>
                  <a:pt x="633" y="11097"/>
                </a:lnTo>
                <a:lnTo>
                  <a:pt x="755" y="11072"/>
                </a:lnTo>
                <a:lnTo>
                  <a:pt x="877" y="11048"/>
                </a:lnTo>
                <a:lnTo>
                  <a:pt x="1120" y="10926"/>
                </a:lnTo>
                <a:lnTo>
                  <a:pt x="1315" y="10829"/>
                </a:lnTo>
                <a:lnTo>
                  <a:pt x="1728" y="10610"/>
                </a:lnTo>
                <a:lnTo>
                  <a:pt x="1947" y="10488"/>
                </a:lnTo>
                <a:lnTo>
                  <a:pt x="2142" y="10342"/>
                </a:lnTo>
                <a:lnTo>
                  <a:pt x="2264" y="10245"/>
                </a:lnTo>
                <a:lnTo>
                  <a:pt x="2312" y="10123"/>
                </a:lnTo>
                <a:lnTo>
                  <a:pt x="2312" y="10002"/>
                </a:lnTo>
                <a:lnTo>
                  <a:pt x="2264" y="9880"/>
                </a:lnTo>
                <a:lnTo>
                  <a:pt x="2191" y="9783"/>
                </a:lnTo>
                <a:lnTo>
                  <a:pt x="2069" y="9734"/>
                </a:lnTo>
                <a:lnTo>
                  <a:pt x="1947" y="9710"/>
                </a:lnTo>
                <a:close/>
                <a:moveTo>
                  <a:pt x="14065" y="10026"/>
                </a:moveTo>
                <a:lnTo>
                  <a:pt x="13895" y="10050"/>
                </a:lnTo>
                <a:lnTo>
                  <a:pt x="13846" y="10075"/>
                </a:lnTo>
                <a:lnTo>
                  <a:pt x="13797" y="10123"/>
                </a:lnTo>
                <a:lnTo>
                  <a:pt x="13773" y="10172"/>
                </a:lnTo>
                <a:lnTo>
                  <a:pt x="13749" y="10221"/>
                </a:lnTo>
                <a:lnTo>
                  <a:pt x="13773" y="10318"/>
                </a:lnTo>
                <a:lnTo>
                  <a:pt x="13797" y="10367"/>
                </a:lnTo>
                <a:lnTo>
                  <a:pt x="13846" y="10415"/>
                </a:lnTo>
                <a:lnTo>
                  <a:pt x="14138" y="10586"/>
                </a:lnTo>
                <a:lnTo>
                  <a:pt x="14454" y="10756"/>
                </a:lnTo>
                <a:lnTo>
                  <a:pt x="14624" y="10878"/>
                </a:lnTo>
                <a:lnTo>
                  <a:pt x="14819" y="10975"/>
                </a:lnTo>
                <a:lnTo>
                  <a:pt x="15014" y="11048"/>
                </a:lnTo>
                <a:lnTo>
                  <a:pt x="15208" y="11097"/>
                </a:lnTo>
                <a:lnTo>
                  <a:pt x="15379" y="11097"/>
                </a:lnTo>
                <a:lnTo>
                  <a:pt x="15427" y="11072"/>
                </a:lnTo>
                <a:lnTo>
                  <a:pt x="15500" y="11024"/>
                </a:lnTo>
                <a:lnTo>
                  <a:pt x="15573" y="10951"/>
                </a:lnTo>
                <a:lnTo>
                  <a:pt x="15598" y="10829"/>
                </a:lnTo>
                <a:lnTo>
                  <a:pt x="15598" y="10707"/>
                </a:lnTo>
                <a:lnTo>
                  <a:pt x="15549" y="10586"/>
                </a:lnTo>
                <a:lnTo>
                  <a:pt x="15500" y="10537"/>
                </a:lnTo>
                <a:lnTo>
                  <a:pt x="15452" y="10513"/>
                </a:lnTo>
                <a:lnTo>
                  <a:pt x="15379" y="10464"/>
                </a:lnTo>
                <a:lnTo>
                  <a:pt x="15306" y="10464"/>
                </a:lnTo>
                <a:lnTo>
                  <a:pt x="15135" y="10415"/>
                </a:lnTo>
                <a:lnTo>
                  <a:pt x="14965" y="10367"/>
                </a:lnTo>
                <a:lnTo>
                  <a:pt x="14600" y="10196"/>
                </a:lnTo>
                <a:lnTo>
                  <a:pt x="14430" y="10099"/>
                </a:lnTo>
                <a:lnTo>
                  <a:pt x="14260" y="10050"/>
                </a:lnTo>
                <a:lnTo>
                  <a:pt x="14065" y="10026"/>
                </a:lnTo>
                <a:close/>
                <a:moveTo>
                  <a:pt x="8468" y="2605"/>
                </a:moveTo>
                <a:lnTo>
                  <a:pt x="8760" y="2629"/>
                </a:lnTo>
                <a:lnTo>
                  <a:pt x="9052" y="2678"/>
                </a:lnTo>
                <a:lnTo>
                  <a:pt x="9344" y="2726"/>
                </a:lnTo>
                <a:lnTo>
                  <a:pt x="9125" y="2799"/>
                </a:lnTo>
                <a:lnTo>
                  <a:pt x="9101" y="2824"/>
                </a:lnTo>
                <a:lnTo>
                  <a:pt x="9101" y="2848"/>
                </a:lnTo>
                <a:lnTo>
                  <a:pt x="9101" y="2872"/>
                </a:lnTo>
                <a:lnTo>
                  <a:pt x="9125" y="2897"/>
                </a:lnTo>
                <a:lnTo>
                  <a:pt x="9223" y="2945"/>
                </a:lnTo>
                <a:lnTo>
                  <a:pt x="9320" y="2970"/>
                </a:lnTo>
                <a:lnTo>
                  <a:pt x="9442" y="2945"/>
                </a:lnTo>
                <a:lnTo>
                  <a:pt x="9563" y="2921"/>
                </a:lnTo>
                <a:lnTo>
                  <a:pt x="9855" y="2872"/>
                </a:lnTo>
                <a:lnTo>
                  <a:pt x="10269" y="3043"/>
                </a:lnTo>
                <a:lnTo>
                  <a:pt x="10074" y="3067"/>
                </a:lnTo>
                <a:lnTo>
                  <a:pt x="9855" y="3116"/>
                </a:lnTo>
                <a:lnTo>
                  <a:pt x="9685" y="3189"/>
                </a:lnTo>
                <a:lnTo>
                  <a:pt x="9515" y="3262"/>
                </a:lnTo>
                <a:lnTo>
                  <a:pt x="9515" y="3286"/>
                </a:lnTo>
                <a:lnTo>
                  <a:pt x="9490" y="3310"/>
                </a:lnTo>
                <a:lnTo>
                  <a:pt x="9515" y="3335"/>
                </a:lnTo>
                <a:lnTo>
                  <a:pt x="9539" y="3359"/>
                </a:lnTo>
                <a:lnTo>
                  <a:pt x="9953" y="3335"/>
                </a:lnTo>
                <a:lnTo>
                  <a:pt x="10342" y="3310"/>
                </a:lnTo>
                <a:lnTo>
                  <a:pt x="10780" y="3310"/>
                </a:lnTo>
                <a:lnTo>
                  <a:pt x="11048" y="3505"/>
                </a:lnTo>
                <a:lnTo>
                  <a:pt x="10756" y="3578"/>
                </a:lnTo>
                <a:lnTo>
                  <a:pt x="10464" y="3675"/>
                </a:lnTo>
                <a:lnTo>
                  <a:pt x="10245" y="3797"/>
                </a:lnTo>
                <a:lnTo>
                  <a:pt x="10099" y="3918"/>
                </a:lnTo>
                <a:lnTo>
                  <a:pt x="10074" y="3943"/>
                </a:lnTo>
                <a:lnTo>
                  <a:pt x="10099" y="3943"/>
                </a:lnTo>
                <a:lnTo>
                  <a:pt x="10391" y="3918"/>
                </a:lnTo>
                <a:lnTo>
                  <a:pt x="10683" y="3870"/>
                </a:lnTo>
                <a:lnTo>
                  <a:pt x="10975" y="3821"/>
                </a:lnTo>
                <a:lnTo>
                  <a:pt x="11291" y="3773"/>
                </a:lnTo>
                <a:lnTo>
                  <a:pt x="11364" y="3773"/>
                </a:lnTo>
                <a:lnTo>
                  <a:pt x="11583" y="3967"/>
                </a:lnTo>
                <a:lnTo>
                  <a:pt x="11778" y="4186"/>
                </a:lnTo>
                <a:lnTo>
                  <a:pt x="11388" y="4210"/>
                </a:lnTo>
                <a:lnTo>
                  <a:pt x="10829" y="4259"/>
                </a:lnTo>
                <a:lnTo>
                  <a:pt x="10561" y="4283"/>
                </a:lnTo>
                <a:lnTo>
                  <a:pt x="10318" y="4381"/>
                </a:lnTo>
                <a:lnTo>
                  <a:pt x="10293" y="4405"/>
                </a:lnTo>
                <a:lnTo>
                  <a:pt x="10293" y="4429"/>
                </a:lnTo>
                <a:lnTo>
                  <a:pt x="10318" y="4454"/>
                </a:lnTo>
                <a:lnTo>
                  <a:pt x="10585" y="4527"/>
                </a:lnTo>
                <a:lnTo>
                  <a:pt x="11705" y="4527"/>
                </a:lnTo>
                <a:lnTo>
                  <a:pt x="11997" y="4502"/>
                </a:lnTo>
                <a:lnTo>
                  <a:pt x="12216" y="4867"/>
                </a:lnTo>
                <a:lnTo>
                  <a:pt x="11851" y="4867"/>
                </a:lnTo>
                <a:lnTo>
                  <a:pt x="11267" y="4892"/>
                </a:lnTo>
                <a:lnTo>
                  <a:pt x="10658" y="4940"/>
                </a:lnTo>
                <a:lnTo>
                  <a:pt x="10634" y="4940"/>
                </a:lnTo>
                <a:lnTo>
                  <a:pt x="10634" y="4965"/>
                </a:lnTo>
                <a:lnTo>
                  <a:pt x="10634" y="4989"/>
                </a:lnTo>
                <a:lnTo>
                  <a:pt x="10658" y="5013"/>
                </a:lnTo>
                <a:lnTo>
                  <a:pt x="10902" y="5086"/>
                </a:lnTo>
                <a:lnTo>
                  <a:pt x="11169" y="5111"/>
                </a:lnTo>
                <a:lnTo>
                  <a:pt x="12021" y="5111"/>
                </a:lnTo>
                <a:lnTo>
                  <a:pt x="12362" y="5135"/>
                </a:lnTo>
                <a:lnTo>
                  <a:pt x="12556" y="5622"/>
                </a:lnTo>
                <a:lnTo>
                  <a:pt x="11461" y="5622"/>
                </a:lnTo>
                <a:lnTo>
                  <a:pt x="11291" y="5646"/>
                </a:lnTo>
                <a:lnTo>
                  <a:pt x="11145" y="5695"/>
                </a:lnTo>
                <a:lnTo>
                  <a:pt x="10999" y="5768"/>
                </a:lnTo>
                <a:lnTo>
                  <a:pt x="10975" y="5792"/>
                </a:lnTo>
                <a:lnTo>
                  <a:pt x="10999" y="5841"/>
                </a:lnTo>
                <a:lnTo>
                  <a:pt x="11267" y="5889"/>
                </a:lnTo>
                <a:lnTo>
                  <a:pt x="11534" y="5889"/>
                </a:lnTo>
                <a:lnTo>
                  <a:pt x="12070" y="5914"/>
                </a:lnTo>
                <a:lnTo>
                  <a:pt x="12654" y="5938"/>
                </a:lnTo>
                <a:lnTo>
                  <a:pt x="12702" y="6060"/>
                </a:lnTo>
                <a:lnTo>
                  <a:pt x="12727" y="6181"/>
                </a:lnTo>
                <a:lnTo>
                  <a:pt x="12386" y="6181"/>
                </a:lnTo>
                <a:lnTo>
                  <a:pt x="11729" y="6254"/>
                </a:lnTo>
                <a:lnTo>
                  <a:pt x="11413" y="6279"/>
                </a:lnTo>
                <a:lnTo>
                  <a:pt x="11121" y="6352"/>
                </a:lnTo>
                <a:lnTo>
                  <a:pt x="11096" y="6352"/>
                </a:lnTo>
                <a:lnTo>
                  <a:pt x="11096" y="6376"/>
                </a:lnTo>
                <a:lnTo>
                  <a:pt x="11096" y="6400"/>
                </a:lnTo>
                <a:lnTo>
                  <a:pt x="11121" y="6425"/>
                </a:lnTo>
                <a:lnTo>
                  <a:pt x="11388" y="6473"/>
                </a:lnTo>
                <a:lnTo>
                  <a:pt x="11656" y="6498"/>
                </a:lnTo>
                <a:lnTo>
                  <a:pt x="12508" y="6498"/>
                </a:lnTo>
                <a:lnTo>
                  <a:pt x="12824" y="6522"/>
                </a:lnTo>
                <a:lnTo>
                  <a:pt x="12873" y="6838"/>
                </a:lnTo>
                <a:lnTo>
                  <a:pt x="12556" y="6838"/>
                </a:lnTo>
                <a:lnTo>
                  <a:pt x="12240" y="6863"/>
                </a:lnTo>
                <a:lnTo>
                  <a:pt x="11753" y="6887"/>
                </a:lnTo>
                <a:lnTo>
                  <a:pt x="11510" y="6911"/>
                </a:lnTo>
                <a:lnTo>
                  <a:pt x="11267" y="6936"/>
                </a:lnTo>
                <a:lnTo>
                  <a:pt x="11242" y="6936"/>
                </a:lnTo>
                <a:lnTo>
                  <a:pt x="11242" y="6960"/>
                </a:lnTo>
                <a:lnTo>
                  <a:pt x="11242" y="7009"/>
                </a:lnTo>
                <a:lnTo>
                  <a:pt x="11267" y="7009"/>
                </a:lnTo>
                <a:lnTo>
                  <a:pt x="11461" y="7082"/>
                </a:lnTo>
                <a:lnTo>
                  <a:pt x="11680" y="7130"/>
                </a:lnTo>
                <a:lnTo>
                  <a:pt x="12727" y="7130"/>
                </a:lnTo>
                <a:lnTo>
                  <a:pt x="12921" y="7106"/>
                </a:lnTo>
                <a:lnTo>
                  <a:pt x="12994" y="7593"/>
                </a:lnTo>
                <a:lnTo>
                  <a:pt x="12994" y="7593"/>
                </a:lnTo>
                <a:lnTo>
                  <a:pt x="12848" y="7568"/>
                </a:lnTo>
                <a:lnTo>
                  <a:pt x="12702" y="7568"/>
                </a:lnTo>
                <a:lnTo>
                  <a:pt x="12435" y="7593"/>
                </a:lnTo>
                <a:lnTo>
                  <a:pt x="11997" y="7593"/>
                </a:lnTo>
                <a:lnTo>
                  <a:pt x="11778" y="7617"/>
                </a:lnTo>
                <a:lnTo>
                  <a:pt x="11559" y="7690"/>
                </a:lnTo>
                <a:lnTo>
                  <a:pt x="11534" y="7690"/>
                </a:lnTo>
                <a:lnTo>
                  <a:pt x="11534" y="7739"/>
                </a:lnTo>
                <a:lnTo>
                  <a:pt x="11534" y="7763"/>
                </a:lnTo>
                <a:lnTo>
                  <a:pt x="11559" y="7787"/>
                </a:lnTo>
                <a:lnTo>
                  <a:pt x="11778" y="7836"/>
                </a:lnTo>
                <a:lnTo>
                  <a:pt x="11997" y="7860"/>
                </a:lnTo>
                <a:lnTo>
                  <a:pt x="12435" y="7860"/>
                </a:lnTo>
                <a:lnTo>
                  <a:pt x="12702" y="7885"/>
                </a:lnTo>
                <a:lnTo>
                  <a:pt x="12848" y="7885"/>
                </a:lnTo>
                <a:lnTo>
                  <a:pt x="12994" y="7860"/>
                </a:lnTo>
                <a:lnTo>
                  <a:pt x="12994" y="7909"/>
                </a:lnTo>
                <a:lnTo>
                  <a:pt x="12994" y="8250"/>
                </a:lnTo>
                <a:lnTo>
                  <a:pt x="12873" y="8201"/>
                </a:lnTo>
                <a:lnTo>
                  <a:pt x="12775" y="8201"/>
                </a:lnTo>
                <a:lnTo>
                  <a:pt x="12532" y="8177"/>
                </a:lnTo>
                <a:lnTo>
                  <a:pt x="12094" y="8177"/>
                </a:lnTo>
                <a:lnTo>
                  <a:pt x="11875" y="8201"/>
                </a:lnTo>
                <a:lnTo>
                  <a:pt x="11656" y="8250"/>
                </a:lnTo>
                <a:lnTo>
                  <a:pt x="11656" y="8274"/>
                </a:lnTo>
                <a:lnTo>
                  <a:pt x="11632" y="8298"/>
                </a:lnTo>
                <a:lnTo>
                  <a:pt x="11656" y="8298"/>
                </a:lnTo>
                <a:lnTo>
                  <a:pt x="11656" y="8323"/>
                </a:lnTo>
                <a:lnTo>
                  <a:pt x="12045" y="8396"/>
                </a:lnTo>
                <a:lnTo>
                  <a:pt x="12410" y="8444"/>
                </a:lnTo>
                <a:lnTo>
                  <a:pt x="12702" y="8469"/>
                </a:lnTo>
                <a:lnTo>
                  <a:pt x="12824" y="8493"/>
                </a:lnTo>
                <a:lnTo>
                  <a:pt x="12970" y="8469"/>
                </a:lnTo>
                <a:lnTo>
                  <a:pt x="12873" y="8858"/>
                </a:lnTo>
                <a:lnTo>
                  <a:pt x="12654" y="8809"/>
                </a:lnTo>
                <a:lnTo>
                  <a:pt x="12483" y="8785"/>
                </a:lnTo>
                <a:lnTo>
                  <a:pt x="12264" y="8736"/>
                </a:lnTo>
                <a:lnTo>
                  <a:pt x="11826" y="8736"/>
                </a:lnTo>
                <a:lnTo>
                  <a:pt x="11607" y="8809"/>
                </a:lnTo>
                <a:lnTo>
                  <a:pt x="11583" y="8834"/>
                </a:lnTo>
                <a:lnTo>
                  <a:pt x="11583" y="8858"/>
                </a:lnTo>
                <a:lnTo>
                  <a:pt x="11583" y="8882"/>
                </a:lnTo>
                <a:lnTo>
                  <a:pt x="11851" y="8882"/>
                </a:lnTo>
                <a:lnTo>
                  <a:pt x="12094" y="8931"/>
                </a:lnTo>
                <a:lnTo>
                  <a:pt x="12556" y="9053"/>
                </a:lnTo>
                <a:lnTo>
                  <a:pt x="12775" y="9126"/>
                </a:lnTo>
                <a:lnTo>
                  <a:pt x="12654" y="9345"/>
                </a:lnTo>
                <a:lnTo>
                  <a:pt x="12508" y="9296"/>
                </a:lnTo>
                <a:lnTo>
                  <a:pt x="12313" y="9272"/>
                </a:lnTo>
                <a:lnTo>
                  <a:pt x="12143" y="9223"/>
                </a:lnTo>
                <a:lnTo>
                  <a:pt x="11972" y="9199"/>
                </a:lnTo>
                <a:lnTo>
                  <a:pt x="11607" y="9199"/>
                </a:lnTo>
                <a:lnTo>
                  <a:pt x="11583" y="9223"/>
                </a:lnTo>
                <a:lnTo>
                  <a:pt x="11583" y="9247"/>
                </a:lnTo>
                <a:lnTo>
                  <a:pt x="11583" y="9272"/>
                </a:lnTo>
                <a:lnTo>
                  <a:pt x="11924" y="9418"/>
                </a:lnTo>
                <a:lnTo>
                  <a:pt x="12240" y="9564"/>
                </a:lnTo>
                <a:lnTo>
                  <a:pt x="12532" y="9637"/>
                </a:lnTo>
                <a:lnTo>
                  <a:pt x="12337" y="9929"/>
                </a:lnTo>
                <a:lnTo>
                  <a:pt x="12337" y="9977"/>
                </a:lnTo>
                <a:lnTo>
                  <a:pt x="12167" y="9904"/>
                </a:lnTo>
                <a:lnTo>
                  <a:pt x="11997" y="9880"/>
                </a:lnTo>
                <a:lnTo>
                  <a:pt x="11802" y="9831"/>
                </a:lnTo>
                <a:lnTo>
                  <a:pt x="11242" y="9831"/>
                </a:lnTo>
                <a:lnTo>
                  <a:pt x="11218" y="9856"/>
                </a:lnTo>
                <a:lnTo>
                  <a:pt x="11218" y="9880"/>
                </a:lnTo>
                <a:lnTo>
                  <a:pt x="11242" y="9880"/>
                </a:lnTo>
                <a:lnTo>
                  <a:pt x="11534" y="10002"/>
                </a:lnTo>
                <a:lnTo>
                  <a:pt x="11851" y="10123"/>
                </a:lnTo>
                <a:lnTo>
                  <a:pt x="12167" y="10245"/>
                </a:lnTo>
                <a:lnTo>
                  <a:pt x="11972" y="10513"/>
                </a:lnTo>
                <a:lnTo>
                  <a:pt x="11826" y="10488"/>
                </a:lnTo>
                <a:lnTo>
                  <a:pt x="11413" y="10391"/>
                </a:lnTo>
                <a:lnTo>
                  <a:pt x="11023" y="10342"/>
                </a:lnTo>
                <a:lnTo>
                  <a:pt x="10975" y="10342"/>
                </a:lnTo>
                <a:lnTo>
                  <a:pt x="10975" y="10367"/>
                </a:lnTo>
                <a:lnTo>
                  <a:pt x="10975" y="10391"/>
                </a:lnTo>
                <a:lnTo>
                  <a:pt x="10999" y="10440"/>
                </a:lnTo>
                <a:lnTo>
                  <a:pt x="11145" y="10537"/>
                </a:lnTo>
                <a:lnTo>
                  <a:pt x="11315" y="10610"/>
                </a:lnTo>
                <a:lnTo>
                  <a:pt x="11632" y="10732"/>
                </a:lnTo>
                <a:lnTo>
                  <a:pt x="11802" y="10780"/>
                </a:lnTo>
                <a:lnTo>
                  <a:pt x="11656" y="10999"/>
                </a:lnTo>
                <a:lnTo>
                  <a:pt x="11510" y="10951"/>
                </a:lnTo>
                <a:lnTo>
                  <a:pt x="11364" y="10926"/>
                </a:lnTo>
                <a:lnTo>
                  <a:pt x="11072" y="10853"/>
                </a:lnTo>
                <a:lnTo>
                  <a:pt x="10950" y="10853"/>
                </a:lnTo>
                <a:lnTo>
                  <a:pt x="10804" y="10902"/>
                </a:lnTo>
                <a:lnTo>
                  <a:pt x="10780" y="10926"/>
                </a:lnTo>
                <a:lnTo>
                  <a:pt x="10756" y="10951"/>
                </a:lnTo>
                <a:lnTo>
                  <a:pt x="10756" y="10999"/>
                </a:lnTo>
                <a:lnTo>
                  <a:pt x="10780" y="11048"/>
                </a:lnTo>
                <a:lnTo>
                  <a:pt x="10902" y="11121"/>
                </a:lnTo>
                <a:lnTo>
                  <a:pt x="11023" y="11170"/>
                </a:lnTo>
                <a:lnTo>
                  <a:pt x="11267" y="11243"/>
                </a:lnTo>
                <a:lnTo>
                  <a:pt x="11461" y="11291"/>
                </a:lnTo>
                <a:lnTo>
                  <a:pt x="11242" y="11583"/>
                </a:lnTo>
                <a:lnTo>
                  <a:pt x="11072" y="11535"/>
                </a:lnTo>
                <a:lnTo>
                  <a:pt x="10877" y="11535"/>
                </a:lnTo>
                <a:lnTo>
                  <a:pt x="10683" y="11583"/>
                </a:lnTo>
                <a:lnTo>
                  <a:pt x="10658" y="11608"/>
                </a:lnTo>
                <a:lnTo>
                  <a:pt x="10683" y="11632"/>
                </a:lnTo>
                <a:lnTo>
                  <a:pt x="10829" y="11681"/>
                </a:lnTo>
                <a:lnTo>
                  <a:pt x="10975" y="11729"/>
                </a:lnTo>
                <a:lnTo>
                  <a:pt x="11096" y="11778"/>
                </a:lnTo>
                <a:lnTo>
                  <a:pt x="10877" y="12143"/>
                </a:lnTo>
                <a:lnTo>
                  <a:pt x="10829" y="12118"/>
                </a:lnTo>
                <a:lnTo>
                  <a:pt x="10658" y="12045"/>
                </a:lnTo>
                <a:lnTo>
                  <a:pt x="10561" y="11997"/>
                </a:lnTo>
                <a:lnTo>
                  <a:pt x="10464" y="11972"/>
                </a:lnTo>
                <a:lnTo>
                  <a:pt x="10439" y="11997"/>
                </a:lnTo>
                <a:lnTo>
                  <a:pt x="10439" y="12045"/>
                </a:lnTo>
                <a:lnTo>
                  <a:pt x="10488" y="12118"/>
                </a:lnTo>
                <a:lnTo>
                  <a:pt x="10585" y="12191"/>
                </a:lnTo>
                <a:lnTo>
                  <a:pt x="10756" y="12313"/>
                </a:lnTo>
                <a:lnTo>
                  <a:pt x="10561" y="12654"/>
                </a:lnTo>
                <a:lnTo>
                  <a:pt x="10415" y="12629"/>
                </a:lnTo>
                <a:lnTo>
                  <a:pt x="10172" y="12629"/>
                </a:lnTo>
                <a:lnTo>
                  <a:pt x="10026" y="12654"/>
                </a:lnTo>
                <a:lnTo>
                  <a:pt x="10026" y="12678"/>
                </a:lnTo>
                <a:lnTo>
                  <a:pt x="10026" y="12702"/>
                </a:lnTo>
                <a:lnTo>
                  <a:pt x="10245" y="12800"/>
                </a:lnTo>
                <a:lnTo>
                  <a:pt x="10439" y="12897"/>
                </a:lnTo>
                <a:lnTo>
                  <a:pt x="10196" y="13384"/>
                </a:lnTo>
                <a:lnTo>
                  <a:pt x="9880" y="13384"/>
                </a:lnTo>
                <a:lnTo>
                  <a:pt x="9904" y="13432"/>
                </a:lnTo>
                <a:lnTo>
                  <a:pt x="10147" y="13505"/>
                </a:lnTo>
                <a:lnTo>
                  <a:pt x="10074" y="13700"/>
                </a:lnTo>
                <a:lnTo>
                  <a:pt x="10026" y="13895"/>
                </a:lnTo>
                <a:lnTo>
                  <a:pt x="9953" y="14284"/>
                </a:lnTo>
                <a:lnTo>
                  <a:pt x="9880" y="14673"/>
                </a:lnTo>
                <a:lnTo>
                  <a:pt x="9807" y="15087"/>
                </a:lnTo>
                <a:lnTo>
                  <a:pt x="9101" y="15111"/>
                </a:lnTo>
                <a:lnTo>
                  <a:pt x="9247" y="14673"/>
                </a:lnTo>
                <a:lnTo>
                  <a:pt x="9344" y="14235"/>
                </a:lnTo>
                <a:lnTo>
                  <a:pt x="9539" y="13359"/>
                </a:lnTo>
                <a:lnTo>
                  <a:pt x="9734" y="12459"/>
                </a:lnTo>
                <a:lnTo>
                  <a:pt x="9855" y="12021"/>
                </a:lnTo>
                <a:lnTo>
                  <a:pt x="9977" y="11583"/>
                </a:lnTo>
                <a:lnTo>
                  <a:pt x="10269" y="10659"/>
                </a:lnTo>
                <a:lnTo>
                  <a:pt x="10537" y="9734"/>
                </a:lnTo>
                <a:lnTo>
                  <a:pt x="10658" y="9320"/>
                </a:lnTo>
                <a:lnTo>
                  <a:pt x="10756" y="8858"/>
                </a:lnTo>
                <a:lnTo>
                  <a:pt x="10780" y="8639"/>
                </a:lnTo>
                <a:lnTo>
                  <a:pt x="10780" y="8396"/>
                </a:lnTo>
                <a:lnTo>
                  <a:pt x="10756" y="8177"/>
                </a:lnTo>
                <a:lnTo>
                  <a:pt x="10707" y="7958"/>
                </a:lnTo>
                <a:lnTo>
                  <a:pt x="10683" y="7933"/>
                </a:lnTo>
                <a:lnTo>
                  <a:pt x="10634" y="7933"/>
                </a:lnTo>
                <a:lnTo>
                  <a:pt x="10610" y="7958"/>
                </a:lnTo>
                <a:lnTo>
                  <a:pt x="10537" y="8177"/>
                </a:lnTo>
                <a:lnTo>
                  <a:pt x="10464" y="8420"/>
                </a:lnTo>
                <a:lnTo>
                  <a:pt x="10366" y="8882"/>
                </a:lnTo>
                <a:lnTo>
                  <a:pt x="10293" y="9369"/>
                </a:lnTo>
                <a:lnTo>
                  <a:pt x="10172" y="9831"/>
                </a:lnTo>
                <a:lnTo>
                  <a:pt x="9904" y="10756"/>
                </a:lnTo>
                <a:lnTo>
                  <a:pt x="9588" y="11656"/>
                </a:lnTo>
                <a:lnTo>
                  <a:pt x="9466" y="12094"/>
                </a:lnTo>
                <a:lnTo>
                  <a:pt x="9369" y="12532"/>
                </a:lnTo>
                <a:lnTo>
                  <a:pt x="9174" y="13384"/>
                </a:lnTo>
                <a:lnTo>
                  <a:pt x="8979" y="14260"/>
                </a:lnTo>
                <a:lnTo>
                  <a:pt x="8858" y="14698"/>
                </a:lnTo>
                <a:lnTo>
                  <a:pt x="8736" y="15111"/>
                </a:lnTo>
                <a:lnTo>
                  <a:pt x="8128" y="15136"/>
                </a:lnTo>
                <a:lnTo>
                  <a:pt x="7519" y="15087"/>
                </a:lnTo>
                <a:lnTo>
                  <a:pt x="7179" y="15063"/>
                </a:lnTo>
                <a:lnTo>
                  <a:pt x="7154" y="15038"/>
                </a:lnTo>
                <a:lnTo>
                  <a:pt x="7081" y="14698"/>
                </a:lnTo>
                <a:lnTo>
                  <a:pt x="7033" y="14357"/>
                </a:lnTo>
                <a:lnTo>
                  <a:pt x="6935" y="13651"/>
                </a:lnTo>
                <a:lnTo>
                  <a:pt x="6765" y="12605"/>
                </a:lnTo>
                <a:lnTo>
                  <a:pt x="6570" y="11583"/>
                </a:lnTo>
                <a:lnTo>
                  <a:pt x="6230" y="9880"/>
                </a:lnTo>
                <a:lnTo>
                  <a:pt x="6060" y="9028"/>
                </a:lnTo>
                <a:lnTo>
                  <a:pt x="5841" y="8177"/>
                </a:lnTo>
                <a:lnTo>
                  <a:pt x="5816" y="8152"/>
                </a:lnTo>
                <a:lnTo>
                  <a:pt x="5768" y="8128"/>
                </a:lnTo>
                <a:lnTo>
                  <a:pt x="5743" y="8128"/>
                </a:lnTo>
                <a:lnTo>
                  <a:pt x="5695" y="8152"/>
                </a:lnTo>
                <a:lnTo>
                  <a:pt x="5646" y="8298"/>
                </a:lnTo>
                <a:lnTo>
                  <a:pt x="5646" y="8420"/>
                </a:lnTo>
                <a:lnTo>
                  <a:pt x="5646" y="8542"/>
                </a:lnTo>
                <a:lnTo>
                  <a:pt x="5646" y="8663"/>
                </a:lnTo>
                <a:lnTo>
                  <a:pt x="5719" y="8931"/>
                </a:lnTo>
                <a:lnTo>
                  <a:pt x="5768" y="9199"/>
                </a:lnTo>
                <a:lnTo>
                  <a:pt x="5865" y="9734"/>
                </a:lnTo>
                <a:lnTo>
                  <a:pt x="5962" y="10245"/>
                </a:lnTo>
                <a:lnTo>
                  <a:pt x="6035" y="10780"/>
                </a:lnTo>
                <a:lnTo>
                  <a:pt x="6133" y="11316"/>
                </a:lnTo>
                <a:lnTo>
                  <a:pt x="6327" y="12337"/>
                </a:lnTo>
                <a:lnTo>
                  <a:pt x="6522" y="13384"/>
                </a:lnTo>
                <a:lnTo>
                  <a:pt x="6570" y="13773"/>
                </a:lnTo>
                <a:lnTo>
                  <a:pt x="6619" y="14211"/>
                </a:lnTo>
                <a:lnTo>
                  <a:pt x="6668" y="14625"/>
                </a:lnTo>
                <a:lnTo>
                  <a:pt x="6716" y="14819"/>
                </a:lnTo>
                <a:lnTo>
                  <a:pt x="6765" y="15014"/>
                </a:lnTo>
                <a:lnTo>
                  <a:pt x="6497" y="15038"/>
                </a:lnTo>
                <a:lnTo>
                  <a:pt x="6473" y="14625"/>
                </a:lnTo>
                <a:lnTo>
                  <a:pt x="6400" y="14235"/>
                </a:lnTo>
                <a:lnTo>
                  <a:pt x="6279" y="13846"/>
                </a:lnTo>
                <a:lnTo>
                  <a:pt x="6133" y="13481"/>
                </a:lnTo>
                <a:lnTo>
                  <a:pt x="5938" y="13116"/>
                </a:lnTo>
                <a:lnTo>
                  <a:pt x="5743" y="12775"/>
                </a:lnTo>
                <a:lnTo>
                  <a:pt x="5281" y="12070"/>
                </a:lnTo>
                <a:lnTo>
                  <a:pt x="4746" y="11267"/>
                </a:lnTo>
                <a:lnTo>
                  <a:pt x="4210" y="10415"/>
                </a:lnTo>
                <a:lnTo>
                  <a:pt x="3967" y="9977"/>
                </a:lnTo>
                <a:lnTo>
                  <a:pt x="3724" y="9539"/>
                </a:lnTo>
                <a:lnTo>
                  <a:pt x="3529" y="9077"/>
                </a:lnTo>
                <a:lnTo>
                  <a:pt x="3359" y="8615"/>
                </a:lnTo>
                <a:lnTo>
                  <a:pt x="3286" y="8396"/>
                </a:lnTo>
                <a:lnTo>
                  <a:pt x="3261" y="8152"/>
                </a:lnTo>
                <a:lnTo>
                  <a:pt x="3237" y="7909"/>
                </a:lnTo>
                <a:lnTo>
                  <a:pt x="3237" y="7666"/>
                </a:lnTo>
                <a:lnTo>
                  <a:pt x="3261" y="7155"/>
                </a:lnTo>
                <a:lnTo>
                  <a:pt x="3310" y="6668"/>
                </a:lnTo>
                <a:lnTo>
                  <a:pt x="3334" y="6376"/>
                </a:lnTo>
                <a:lnTo>
                  <a:pt x="3407" y="6108"/>
                </a:lnTo>
                <a:lnTo>
                  <a:pt x="3480" y="5841"/>
                </a:lnTo>
                <a:lnTo>
                  <a:pt x="3578" y="5597"/>
                </a:lnTo>
                <a:lnTo>
                  <a:pt x="3699" y="5354"/>
                </a:lnTo>
                <a:lnTo>
                  <a:pt x="3845" y="5111"/>
                </a:lnTo>
                <a:lnTo>
                  <a:pt x="4016" y="4892"/>
                </a:lnTo>
                <a:lnTo>
                  <a:pt x="4186" y="4673"/>
                </a:lnTo>
                <a:lnTo>
                  <a:pt x="4648" y="4162"/>
                </a:lnTo>
                <a:lnTo>
                  <a:pt x="5062" y="3748"/>
                </a:lnTo>
                <a:lnTo>
                  <a:pt x="5403" y="3432"/>
                </a:lnTo>
                <a:lnTo>
                  <a:pt x="5743" y="3189"/>
                </a:lnTo>
                <a:lnTo>
                  <a:pt x="6060" y="3018"/>
                </a:lnTo>
                <a:lnTo>
                  <a:pt x="6352" y="2872"/>
                </a:lnTo>
                <a:lnTo>
                  <a:pt x="6668" y="2775"/>
                </a:lnTo>
                <a:lnTo>
                  <a:pt x="6984" y="2702"/>
                </a:lnTo>
                <a:lnTo>
                  <a:pt x="7276" y="2653"/>
                </a:lnTo>
                <a:lnTo>
                  <a:pt x="7568" y="2629"/>
                </a:lnTo>
                <a:lnTo>
                  <a:pt x="7860" y="2605"/>
                </a:lnTo>
                <a:close/>
                <a:moveTo>
                  <a:pt x="6716" y="15525"/>
                </a:moveTo>
                <a:lnTo>
                  <a:pt x="6619" y="15720"/>
                </a:lnTo>
                <a:lnTo>
                  <a:pt x="6352" y="16158"/>
                </a:lnTo>
                <a:lnTo>
                  <a:pt x="6279" y="16109"/>
                </a:lnTo>
                <a:lnTo>
                  <a:pt x="6230" y="16060"/>
                </a:lnTo>
                <a:lnTo>
                  <a:pt x="6206" y="15963"/>
                </a:lnTo>
                <a:lnTo>
                  <a:pt x="6206" y="15866"/>
                </a:lnTo>
                <a:lnTo>
                  <a:pt x="6206" y="15768"/>
                </a:lnTo>
                <a:lnTo>
                  <a:pt x="6230" y="15695"/>
                </a:lnTo>
                <a:lnTo>
                  <a:pt x="6279" y="15598"/>
                </a:lnTo>
                <a:lnTo>
                  <a:pt x="6327" y="15549"/>
                </a:lnTo>
                <a:lnTo>
                  <a:pt x="6595" y="15525"/>
                </a:lnTo>
                <a:close/>
                <a:moveTo>
                  <a:pt x="6887" y="15525"/>
                </a:moveTo>
                <a:lnTo>
                  <a:pt x="7276" y="15549"/>
                </a:lnTo>
                <a:lnTo>
                  <a:pt x="7641" y="15598"/>
                </a:lnTo>
                <a:lnTo>
                  <a:pt x="8225" y="15647"/>
                </a:lnTo>
                <a:lnTo>
                  <a:pt x="8809" y="15671"/>
                </a:lnTo>
                <a:lnTo>
                  <a:pt x="8541" y="15963"/>
                </a:lnTo>
                <a:lnTo>
                  <a:pt x="8298" y="16255"/>
                </a:lnTo>
                <a:lnTo>
                  <a:pt x="7909" y="16231"/>
                </a:lnTo>
                <a:lnTo>
                  <a:pt x="8249" y="15744"/>
                </a:lnTo>
                <a:lnTo>
                  <a:pt x="8249" y="15720"/>
                </a:lnTo>
                <a:lnTo>
                  <a:pt x="8225" y="15695"/>
                </a:lnTo>
                <a:lnTo>
                  <a:pt x="8201" y="15671"/>
                </a:lnTo>
                <a:lnTo>
                  <a:pt x="8176" y="15695"/>
                </a:lnTo>
                <a:lnTo>
                  <a:pt x="7690" y="16231"/>
                </a:lnTo>
                <a:lnTo>
                  <a:pt x="7179" y="16182"/>
                </a:lnTo>
                <a:lnTo>
                  <a:pt x="7325" y="15939"/>
                </a:lnTo>
                <a:lnTo>
                  <a:pt x="7471" y="15671"/>
                </a:lnTo>
                <a:lnTo>
                  <a:pt x="7471" y="15647"/>
                </a:lnTo>
                <a:lnTo>
                  <a:pt x="7446" y="15622"/>
                </a:lnTo>
                <a:lnTo>
                  <a:pt x="7422" y="15647"/>
                </a:lnTo>
                <a:lnTo>
                  <a:pt x="7203" y="15890"/>
                </a:lnTo>
                <a:lnTo>
                  <a:pt x="6935" y="16182"/>
                </a:lnTo>
                <a:lnTo>
                  <a:pt x="6741" y="16206"/>
                </a:lnTo>
                <a:lnTo>
                  <a:pt x="6570" y="16255"/>
                </a:lnTo>
                <a:lnTo>
                  <a:pt x="6668" y="16060"/>
                </a:lnTo>
                <a:lnTo>
                  <a:pt x="6814" y="15817"/>
                </a:lnTo>
                <a:lnTo>
                  <a:pt x="6862" y="15671"/>
                </a:lnTo>
                <a:lnTo>
                  <a:pt x="6887" y="15525"/>
                </a:lnTo>
                <a:close/>
                <a:moveTo>
                  <a:pt x="9661" y="15622"/>
                </a:moveTo>
                <a:lnTo>
                  <a:pt x="9734" y="15671"/>
                </a:lnTo>
                <a:lnTo>
                  <a:pt x="9807" y="15695"/>
                </a:lnTo>
                <a:lnTo>
                  <a:pt x="9953" y="15695"/>
                </a:lnTo>
                <a:lnTo>
                  <a:pt x="9782" y="15793"/>
                </a:lnTo>
                <a:lnTo>
                  <a:pt x="9661" y="15939"/>
                </a:lnTo>
                <a:lnTo>
                  <a:pt x="9539" y="16085"/>
                </a:lnTo>
                <a:lnTo>
                  <a:pt x="9417" y="16279"/>
                </a:lnTo>
                <a:lnTo>
                  <a:pt x="9271" y="16279"/>
                </a:lnTo>
                <a:lnTo>
                  <a:pt x="9612" y="15817"/>
                </a:lnTo>
                <a:lnTo>
                  <a:pt x="9612" y="15793"/>
                </a:lnTo>
                <a:lnTo>
                  <a:pt x="9612" y="15768"/>
                </a:lnTo>
                <a:lnTo>
                  <a:pt x="9563" y="15768"/>
                </a:lnTo>
                <a:lnTo>
                  <a:pt x="9320" y="16012"/>
                </a:lnTo>
                <a:lnTo>
                  <a:pt x="9077" y="16255"/>
                </a:lnTo>
                <a:lnTo>
                  <a:pt x="8517" y="16255"/>
                </a:lnTo>
                <a:lnTo>
                  <a:pt x="8882" y="15720"/>
                </a:lnTo>
                <a:lnTo>
                  <a:pt x="8906" y="15695"/>
                </a:lnTo>
                <a:lnTo>
                  <a:pt x="8882" y="15671"/>
                </a:lnTo>
                <a:lnTo>
                  <a:pt x="9271" y="15671"/>
                </a:lnTo>
                <a:lnTo>
                  <a:pt x="9661" y="15622"/>
                </a:lnTo>
                <a:close/>
                <a:moveTo>
                  <a:pt x="10074" y="15768"/>
                </a:moveTo>
                <a:lnTo>
                  <a:pt x="10074" y="15841"/>
                </a:lnTo>
                <a:lnTo>
                  <a:pt x="10099" y="15939"/>
                </a:lnTo>
                <a:lnTo>
                  <a:pt x="10074" y="16060"/>
                </a:lnTo>
                <a:lnTo>
                  <a:pt x="10050" y="16182"/>
                </a:lnTo>
                <a:lnTo>
                  <a:pt x="9977" y="16304"/>
                </a:lnTo>
                <a:lnTo>
                  <a:pt x="9758" y="16279"/>
                </a:lnTo>
                <a:lnTo>
                  <a:pt x="9880" y="16012"/>
                </a:lnTo>
                <a:lnTo>
                  <a:pt x="9977" y="15890"/>
                </a:lnTo>
                <a:lnTo>
                  <a:pt x="10074" y="15768"/>
                </a:lnTo>
                <a:close/>
                <a:moveTo>
                  <a:pt x="6522" y="16571"/>
                </a:moveTo>
                <a:lnTo>
                  <a:pt x="6595" y="16620"/>
                </a:lnTo>
                <a:lnTo>
                  <a:pt x="6424" y="16888"/>
                </a:lnTo>
                <a:lnTo>
                  <a:pt x="6376" y="17034"/>
                </a:lnTo>
                <a:lnTo>
                  <a:pt x="6327" y="17180"/>
                </a:lnTo>
                <a:lnTo>
                  <a:pt x="6254" y="17082"/>
                </a:lnTo>
                <a:lnTo>
                  <a:pt x="6230" y="16985"/>
                </a:lnTo>
                <a:lnTo>
                  <a:pt x="6206" y="16912"/>
                </a:lnTo>
                <a:lnTo>
                  <a:pt x="6230" y="16815"/>
                </a:lnTo>
                <a:lnTo>
                  <a:pt x="6254" y="16839"/>
                </a:lnTo>
                <a:lnTo>
                  <a:pt x="6303" y="16839"/>
                </a:lnTo>
                <a:lnTo>
                  <a:pt x="6352" y="16815"/>
                </a:lnTo>
                <a:lnTo>
                  <a:pt x="6376" y="16766"/>
                </a:lnTo>
                <a:lnTo>
                  <a:pt x="6424" y="16596"/>
                </a:lnTo>
                <a:lnTo>
                  <a:pt x="6449" y="16596"/>
                </a:lnTo>
                <a:lnTo>
                  <a:pt x="6522" y="16571"/>
                </a:lnTo>
                <a:close/>
                <a:moveTo>
                  <a:pt x="7884" y="16693"/>
                </a:moveTo>
                <a:lnTo>
                  <a:pt x="7957" y="16717"/>
                </a:lnTo>
                <a:lnTo>
                  <a:pt x="7787" y="16985"/>
                </a:lnTo>
                <a:lnTo>
                  <a:pt x="7617" y="17253"/>
                </a:lnTo>
                <a:lnTo>
                  <a:pt x="7592" y="17326"/>
                </a:lnTo>
                <a:lnTo>
                  <a:pt x="7300" y="17326"/>
                </a:lnTo>
                <a:lnTo>
                  <a:pt x="7398" y="17107"/>
                </a:lnTo>
                <a:lnTo>
                  <a:pt x="7519" y="16888"/>
                </a:lnTo>
                <a:lnTo>
                  <a:pt x="7617" y="16717"/>
                </a:lnTo>
                <a:lnTo>
                  <a:pt x="7884" y="16693"/>
                </a:lnTo>
                <a:close/>
                <a:moveTo>
                  <a:pt x="8225" y="16717"/>
                </a:moveTo>
                <a:lnTo>
                  <a:pt x="8736" y="16742"/>
                </a:lnTo>
                <a:lnTo>
                  <a:pt x="8541" y="17034"/>
                </a:lnTo>
                <a:lnTo>
                  <a:pt x="8371" y="17326"/>
                </a:lnTo>
                <a:lnTo>
                  <a:pt x="7909" y="17326"/>
                </a:lnTo>
                <a:lnTo>
                  <a:pt x="7933" y="17277"/>
                </a:lnTo>
                <a:lnTo>
                  <a:pt x="8225" y="16717"/>
                </a:lnTo>
                <a:close/>
                <a:moveTo>
                  <a:pt x="9223" y="16742"/>
                </a:moveTo>
                <a:lnTo>
                  <a:pt x="8979" y="17350"/>
                </a:lnTo>
                <a:lnTo>
                  <a:pt x="8663" y="17350"/>
                </a:lnTo>
                <a:lnTo>
                  <a:pt x="8979" y="16742"/>
                </a:lnTo>
                <a:close/>
                <a:moveTo>
                  <a:pt x="9928" y="16742"/>
                </a:moveTo>
                <a:lnTo>
                  <a:pt x="9661" y="17253"/>
                </a:lnTo>
                <a:lnTo>
                  <a:pt x="9612" y="17350"/>
                </a:lnTo>
                <a:lnTo>
                  <a:pt x="9320" y="17350"/>
                </a:lnTo>
                <a:lnTo>
                  <a:pt x="9563" y="16742"/>
                </a:lnTo>
                <a:close/>
                <a:moveTo>
                  <a:pt x="10147" y="16839"/>
                </a:moveTo>
                <a:lnTo>
                  <a:pt x="10220" y="16961"/>
                </a:lnTo>
                <a:lnTo>
                  <a:pt x="10245" y="17107"/>
                </a:lnTo>
                <a:lnTo>
                  <a:pt x="10220" y="17228"/>
                </a:lnTo>
                <a:lnTo>
                  <a:pt x="10147" y="17350"/>
                </a:lnTo>
                <a:lnTo>
                  <a:pt x="9928" y="17350"/>
                </a:lnTo>
                <a:lnTo>
                  <a:pt x="9953" y="17277"/>
                </a:lnTo>
                <a:lnTo>
                  <a:pt x="10050" y="17082"/>
                </a:lnTo>
                <a:lnTo>
                  <a:pt x="10147" y="16839"/>
                </a:lnTo>
                <a:close/>
                <a:moveTo>
                  <a:pt x="6862" y="16693"/>
                </a:moveTo>
                <a:lnTo>
                  <a:pt x="7081" y="16717"/>
                </a:lnTo>
                <a:lnTo>
                  <a:pt x="7300" y="16717"/>
                </a:lnTo>
                <a:lnTo>
                  <a:pt x="7106" y="17009"/>
                </a:lnTo>
                <a:lnTo>
                  <a:pt x="6935" y="17326"/>
                </a:lnTo>
                <a:lnTo>
                  <a:pt x="6741" y="17350"/>
                </a:lnTo>
                <a:lnTo>
                  <a:pt x="6570" y="17399"/>
                </a:lnTo>
                <a:lnTo>
                  <a:pt x="6619" y="17204"/>
                </a:lnTo>
                <a:lnTo>
                  <a:pt x="6692" y="17034"/>
                </a:lnTo>
                <a:lnTo>
                  <a:pt x="6862" y="16693"/>
                </a:lnTo>
                <a:close/>
                <a:moveTo>
                  <a:pt x="6473" y="17618"/>
                </a:moveTo>
                <a:lnTo>
                  <a:pt x="6643" y="17691"/>
                </a:lnTo>
                <a:lnTo>
                  <a:pt x="6814" y="17715"/>
                </a:lnTo>
                <a:lnTo>
                  <a:pt x="6789" y="17910"/>
                </a:lnTo>
                <a:lnTo>
                  <a:pt x="6765" y="18080"/>
                </a:lnTo>
                <a:lnTo>
                  <a:pt x="6643" y="17983"/>
                </a:lnTo>
                <a:lnTo>
                  <a:pt x="6546" y="17861"/>
                </a:lnTo>
                <a:lnTo>
                  <a:pt x="6352" y="17642"/>
                </a:lnTo>
                <a:lnTo>
                  <a:pt x="6376" y="17618"/>
                </a:lnTo>
                <a:lnTo>
                  <a:pt x="6424" y="17642"/>
                </a:lnTo>
                <a:lnTo>
                  <a:pt x="6473" y="17618"/>
                </a:lnTo>
                <a:close/>
                <a:moveTo>
                  <a:pt x="7398" y="17739"/>
                </a:moveTo>
                <a:lnTo>
                  <a:pt x="7300" y="18031"/>
                </a:lnTo>
                <a:lnTo>
                  <a:pt x="7252" y="18177"/>
                </a:lnTo>
                <a:lnTo>
                  <a:pt x="7252" y="18299"/>
                </a:lnTo>
                <a:lnTo>
                  <a:pt x="7008" y="18202"/>
                </a:lnTo>
                <a:lnTo>
                  <a:pt x="7154" y="17739"/>
                </a:lnTo>
                <a:close/>
                <a:moveTo>
                  <a:pt x="8833" y="17715"/>
                </a:moveTo>
                <a:lnTo>
                  <a:pt x="8785" y="17837"/>
                </a:lnTo>
                <a:lnTo>
                  <a:pt x="8736" y="17983"/>
                </a:lnTo>
                <a:lnTo>
                  <a:pt x="8712" y="18104"/>
                </a:lnTo>
                <a:lnTo>
                  <a:pt x="8736" y="18153"/>
                </a:lnTo>
                <a:lnTo>
                  <a:pt x="8736" y="18202"/>
                </a:lnTo>
                <a:lnTo>
                  <a:pt x="8809" y="18250"/>
                </a:lnTo>
                <a:lnTo>
                  <a:pt x="8882" y="18250"/>
                </a:lnTo>
                <a:lnTo>
                  <a:pt x="8931" y="18226"/>
                </a:lnTo>
                <a:lnTo>
                  <a:pt x="9004" y="18153"/>
                </a:lnTo>
                <a:lnTo>
                  <a:pt x="9125" y="17958"/>
                </a:lnTo>
                <a:lnTo>
                  <a:pt x="9198" y="17739"/>
                </a:lnTo>
                <a:lnTo>
                  <a:pt x="9393" y="17739"/>
                </a:lnTo>
                <a:lnTo>
                  <a:pt x="9369" y="17861"/>
                </a:lnTo>
                <a:lnTo>
                  <a:pt x="9369" y="18007"/>
                </a:lnTo>
                <a:lnTo>
                  <a:pt x="9125" y="18153"/>
                </a:lnTo>
                <a:lnTo>
                  <a:pt x="8833" y="18275"/>
                </a:lnTo>
                <a:lnTo>
                  <a:pt x="8566" y="18372"/>
                </a:lnTo>
                <a:lnTo>
                  <a:pt x="8249" y="18421"/>
                </a:lnTo>
                <a:lnTo>
                  <a:pt x="8274" y="18275"/>
                </a:lnTo>
                <a:lnTo>
                  <a:pt x="8371" y="17983"/>
                </a:lnTo>
                <a:lnTo>
                  <a:pt x="8468" y="17715"/>
                </a:lnTo>
                <a:close/>
                <a:moveTo>
                  <a:pt x="8176" y="17715"/>
                </a:moveTo>
                <a:lnTo>
                  <a:pt x="8030" y="18056"/>
                </a:lnTo>
                <a:lnTo>
                  <a:pt x="7957" y="18250"/>
                </a:lnTo>
                <a:lnTo>
                  <a:pt x="7933" y="18445"/>
                </a:lnTo>
                <a:lnTo>
                  <a:pt x="7738" y="18421"/>
                </a:lnTo>
                <a:lnTo>
                  <a:pt x="7568" y="18396"/>
                </a:lnTo>
                <a:lnTo>
                  <a:pt x="7568" y="18226"/>
                </a:lnTo>
                <a:lnTo>
                  <a:pt x="7641" y="17983"/>
                </a:lnTo>
                <a:lnTo>
                  <a:pt x="7738" y="17715"/>
                </a:lnTo>
                <a:close/>
                <a:moveTo>
                  <a:pt x="8128" y="2094"/>
                </a:moveTo>
                <a:lnTo>
                  <a:pt x="7714" y="2142"/>
                </a:lnTo>
                <a:lnTo>
                  <a:pt x="7325" y="2191"/>
                </a:lnTo>
                <a:lnTo>
                  <a:pt x="6935" y="2264"/>
                </a:lnTo>
                <a:lnTo>
                  <a:pt x="6546" y="2386"/>
                </a:lnTo>
                <a:lnTo>
                  <a:pt x="6181" y="2507"/>
                </a:lnTo>
                <a:lnTo>
                  <a:pt x="5841" y="2653"/>
                </a:lnTo>
                <a:lnTo>
                  <a:pt x="5500" y="2824"/>
                </a:lnTo>
                <a:lnTo>
                  <a:pt x="5184" y="3018"/>
                </a:lnTo>
                <a:lnTo>
                  <a:pt x="4892" y="3237"/>
                </a:lnTo>
                <a:lnTo>
                  <a:pt x="4551" y="3554"/>
                </a:lnTo>
                <a:lnTo>
                  <a:pt x="4210" y="3918"/>
                </a:lnTo>
                <a:lnTo>
                  <a:pt x="3918" y="4332"/>
                </a:lnTo>
                <a:lnTo>
                  <a:pt x="3626" y="4746"/>
                </a:lnTo>
                <a:lnTo>
                  <a:pt x="3383" y="5159"/>
                </a:lnTo>
                <a:lnTo>
                  <a:pt x="3164" y="5549"/>
                </a:lnTo>
                <a:lnTo>
                  <a:pt x="3018" y="5889"/>
                </a:lnTo>
                <a:lnTo>
                  <a:pt x="2921" y="6157"/>
                </a:lnTo>
                <a:lnTo>
                  <a:pt x="2823" y="6595"/>
                </a:lnTo>
                <a:lnTo>
                  <a:pt x="2775" y="7057"/>
                </a:lnTo>
                <a:lnTo>
                  <a:pt x="2750" y="7495"/>
                </a:lnTo>
                <a:lnTo>
                  <a:pt x="2775" y="7958"/>
                </a:lnTo>
                <a:lnTo>
                  <a:pt x="2823" y="8396"/>
                </a:lnTo>
                <a:lnTo>
                  <a:pt x="2921" y="8834"/>
                </a:lnTo>
                <a:lnTo>
                  <a:pt x="3067" y="9272"/>
                </a:lnTo>
                <a:lnTo>
                  <a:pt x="3237" y="9685"/>
                </a:lnTo>
                <a:lnTo>
                  <a:pt x="3602" y="10367"/>
                </a:lnTo>
                <a:lnTo>
                  <a:pt x="3991" y="11024"/>
                </a:lnTo>
                <a:lnTo>
                  <a:pt x="4843" y="12337"/>
                </a:lnTo>
                <a:lnTo>
                  <a:pt x="5281" y="13019"/>
                </a:lnTo>
                <a:lnTo>
                  <a:pt x="5476" y="13384"/>
                </a:lnTo>
                <a:lnTo>
                  <a:pt x="5646" y="13724"/>
                </a:lnTo>
                <a:lnTo>
                  <a:pt x="5792" y="14089"/>
                </a:lnTo>
                <a:lnTo>
                  <a:pt x="5914" y="14454"/>
                </a:lnTo>
                <a:lnTo>
                  <a:pt x="5987" y="14844"/>
                </a:lnTo>
                <a:lnTo>
                  <a:pt x="5987" y="15282"/>
                </a:lnTo>
                <a:lnTo>
                  <a:pt x="5962" y="15379"/>
                </a:lnTo>
                <a:lnTo>
                  <a:pt x="5962" y="15428"/>
                </a:lnTo>
                <a:lnTo>
                  <a:pt x="5889" y="15525"/>
                </a:lnTo>
                <a:lnTo>
                  <a:pt x="5841" y="15647"/>
                </a:lnTo>
                <a:lnTo>
                  <a:pt x="5816" y="15768"/>
                </a:lnTo>
                <a:lnTo>
                  <a:pt x="5792" y="15914"/>
                </a:lnTo>
                <a:lnTo>
                  <a:pt x="5816" y="16036"/>
                </a:lnTo>
                <a:lnTo>
                  <a:pt x="5841" y="16158"/>
                </a:lnTo>
                <a:lnTo>
                  <a:pt x="5889" y="16279"/>
                </a:lnTo>
                <a:lnTo>
                  <a:pt x="5962" y="16377"/>
                </a:lnTo>
                <a:lnTo>
                  <a:pt x="5865" y="16474"/>
                </a:lnTo>
                <a:lnTo>
                  <a:pt x="5792" y="16620"/>
                </a:lnTo>
                <a:lnTo>
                  <a:pt x="5768" y="16766"/>
                </a:lnTo>
                <a:lnTo>
                  <a:pt x="5768" y="16912"/>
                </a:lnTo>
                <a:lnTo>
                  <a:pt x="5768" y="17058"/>
                </a:lnTo>
                <a:lnTo>
                  <a:pt x="5816" y="17204"/>
                </a:lnTo>
                <a:lnTo>
                  <a:pt x="5889" y="17350"/>
                </a:lnTo>
                <a:lnTo>
                  <a:pt x="5987" y="17472"/>
                </a:lnTo>
                <a:lnTo>
                  <a:pt x="5962" y="17496"/>
                </a:lnTo>
                <a:lnTo>
                  <a:pt x="5914" y="17618"/>
                </a:lnTo>
                <a:lnTo>
                  <a:pt x="5914" y="17715"/>
                </a:lnTo>
                <a:lnTo>
                  <a:pt x="5938" y="17837"/>
                </a:lnTo>
                <a:lnTo>
                  <a:pt x="5987" y="17934"/>
                </a:lnTo>
                <a:lnTo>
                  <a:pt x="6133" y="18129"/>
                </a:lnTo>
                <a:lnTo>
                  <a:pt x="6303" y="18299"/>
                </a:lnTo>
                <a:lnTo>
                  <a:pt x="6424" y="18421"/>
                </a:lnTo>
                <a:lnTo>
                  <a:pt x="6570" y="18518"/>
                </a:lnTo>
                <a:lnTo>
                  <a:pt x="6862" y="18688"/>
                </a:lnTo>
                <a:lnTo>
                  <a:pt x="7179" y="18810"/>
                </a:lnTo>
                <a:lnTo>
                  <a:pt x="7495" y="18859"/>
                </a:lnTo>
                <a:lnTo>
                  <a:pt x="7738" y="18883"/>
                </a:lnTo>
                <a:lnTo>
                  <a:pt x="7982" y="18883"/>
                </a:lnTo>
                <a:lnTo>
                  <a:pt x="8030" y="18956"/>
                </a:lnTo>
                <a:lnTo>
                  <a:pt x="8079" y="18980"/>
                </a:lnTo>
                <a:lnTo>
                  <a:pt x="8128" y="18980"/>
                </a:lnTo>
                <a:lnTo>
                  <a:pt x="8176" y="18956"/>
                </a:lnTo>
                <a:lnTo>
                  <a:pt x="8201" y="18907"/>
                </a:lnTo>
                <a:lnTo>
                  <a:pt x="8201" y="18883"/>
                </a:lnTo>
                <a:lnTo>
                  <a:pt x="8493" y="18834"/>
                </a:lnTo>
                <a:lnTo>
                  <a:pt x="8785" y="18761"/>
                </a:lnTo>
                <a:lnTo>
                  <a:pt x="9052" y="18664"/>
                </a:lnTo>
                <a:lnTo>
                  <a:pt x="9320" y="18542"/>
                </a:lnTo>
                <a:lnTo>
                  <a:pt x="9563" y="18396"/>
                </a:lnTo>
                <a:lnTo>
                  <a:pt x="9807" y="18226"/>
                </a:lnTo>
                <a:lnTo>
                  <a:pt x="10050" y="18056"/>
                </a:lnTo>
                <a:lnTo>
                  <a:pt x="10269" y="17837"/>
                </a:lnTo>
                <a:lnTo>
                  <a:pt x="10318" y="17764"/>
                </a:lnTo>
                <a:lnTo>
                  <a:pt x="10342" y="17691"/>
                </a:lnTo>
                <a:lnTo>
                  <a:pt x="10464" y="17593"/>
                </a:lnTo>
                <a:lnTo>
                  <a:pt x="10537" y="17447"/>
                </a:lnTo>
                <a:lnTo>
                  <a:pt x="10585" y="17301"/>
                </a:lnTo>
                <a:lnTo>
                  <a:pt x="10634" y="17107"/>
                </a:lnTo>
                <a:lnTo>
                  <a:pt x="10634" y="16936"/>
                </a:lnTo>
                <a:lnTo>
                  <a:pt x="10585" y="16742"/>
                </a:lnTo>
                <a:lnTo>
                  <a:pt x="10512" y="16596"/>
                </a:lnTo>
                <a:lnTo>
                  <a:pt x="10391" y="16474"/>
                </a:lnTo>
                <a:lnTo>
                  <a:pt x="10488" y="16255"/>
                </a:lnTo>
                <a:lnTo>
                  <a:pt x="10537" y="16036"/>
                </a:lnTo>
                <a:lnTo>
                  <a:pt x="10537" y="15817"/>
                </a:lnTo>
                <a:lnTo>
                  <a:pt x="10488" y="15574"/>
                </a:lnTo>
                <a:lnTo>
                  <a:pt x="10415" y="15476"/>
                </a:lnTo>
                <a:lnTo>
                  <a:pt x="10342" y="15379"/>
                </a:lnTo>
                <a:lnTo>
                  <a:pt x="10342" y="15306"/>
                </a:lnTo>
                <a:lnTo>
                  <a:pt x="10415" y="14965"/>
                </a:lnTo>
                <a:lnTo>
                  <a:pt x="10464" y="14625"/>
                </a:lnTo>
                <a:lnTo>
                  <a:pt x="10512" y="14284"/>
                </a:lnTo>
                <a:lnTo>
                  <a:pt x="10585" y="13943"/>
                </a:lnTo>
                <a:lnTo>
                  <a:pt x="10658" y="13700"/>
                </a:lnTo>
                <a:lnTo>
                  <a:pt x="10756" y="13457"/>
                </a:lnTo>
                <a:lnTo>
                  <a:pt x="10999" y="12994"/>
                </a:lnTo>
                <a:lnTo>
                  <a:pt x="11023" y="12970"/>
                </a:lnTo>
                <a:lnTo>
                  <a:pt x="11023" y="12946"/>
                </a:lnTo>
                <a:lnTo>
                  <a:pt x="11340" y="12459"/>
                </a:lnTo>
                <a:lnTo>
                  <a:pt x="11632" y="11972"/>
                </a:lnTo>
                <a:lnTo>
                  <a:pt x="12191" y="11194"/>
                </a:lnTo>
                <a:lnTo>
                  <a:pt x="12483" y="10780"/>
                </a:lnTo>
                <a:lnTo>
                  <a:pt x="12751" y="10367"/>
                </a:lnTo>
                <a:lnTo>
                  <a:pt x="12994" y="9953"/>
                </a:lnTo>
                <a:lnTo>
                  <a:pt x="13213" y="9515"/>
                </a:lnTo>
                <a:lnTo>
                  <a:pt x="13384" y="9053"/>
                </a:lnTo>
                <a:lnTo>
                  <a:pt x="13457" y="8809"/>
                </a:lnTo>
                <a:lnTo>
                  <a:pt x="13505" y="8590"/>
                </a:lnTo>
                <a:lnTo>
                  <a:pt x="13554" y="8152"/>
                </a:lnTo>
                <a:lnTo>
                  <a:pt x="13554" y="7714"/>
                </a:lnTo>
                <a:lnTo>
                  <a:pt x="13505" y="7276"/>
                </a:lnTo>
                <a:lnTo>
                  <a:pt x="13432" y="6838"/>
                </a:lnTo>
                <a:lnTo>
                  <a:pt x="13335" y="6400"/>
                </a:lnTo>
                <a:lnTo>
                  <a:pt x="13213" y="5962"/>
                </a:lnTo>
                <a:lnTo>
                  <a:pt x="12946" y="5135"/>
                </a:lnTo>
                <a:lnTo>
                  <a:pt x="12800" y="4770"/>
                </a:lnTo>
                <a:lnTo>
                  <a:pt x="12605" y="4429"/>
                </a:lnTo>
                <a:lnTo>
                  <a:pt x="12386" y="4113"/>
                </a:lnTo>
                <a:lnTo>
                  <a:pt x="12143" y="3797"/>
                </a:lnTo>
                <a:lnTo>
                  <a:pt x="12143" y="3773"/>
                </a:lnTo>
                <a:lnTo>
                  <a:pt x="12094" y="3675"/>
                </a:lnTo>
                <a:lnTo>
                  <a:pt x="12021" y="3602"/>
                </a:lnTo>
                <a:lnTo>
                  <a:pt x="11948" y="3554"/>
                </a:lnTo>
                <a:lnTo>
                  <a:pt x="11851" y="3505"/>
                </a:lnTo>
                <a:lnTo>
                  <a:pt x="11607" y="3286"/>
                </a:lnTo>
                <a:lnTo>
                  <a:pt x="11340" y="3091"/>
                </a:lnTo>
                <a:lnTo>
                  <a:pt x="11072" y="2897"/>
                </a:lnTo>
                <a:lnTo>
                  <a:pt x="10804" y="2726"/>
                </a:lnTo>
                <a:lnTo>
                  <a:pt x="10464" y="2556"/>
                </a:lnTo>
                <a:lnTo>
                  <a:pt x="10099" y="2386"/>
                </a:lnTo>
                <a:lnTo>
                  <a:pt x="9709" y="2264"/>
                </a:lnTo>
                <a:lnTo>
                  <a:pt x="9320" y="2191"/>
                </a:lnTo>
                <a:lnTo>
                  <a:pt x="8931" y="2142"/>
                </a:lnTo>
                <a:lnTo>
                  <a:pt x="8517" y="2094"/>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3" name="Graphic 12" descr="Open quotation mark with solid fill">
            <a:extLst>
              <a:ext uri="{FF2B5EF4-FFF2-40B4-BE49-F238E27FC236}">
                <a16:creationId xmlns:a16="http://schemas.microsoft.com/office/drawing/2014/main" id="{14D123AC-7D19-F7FB-E20D-B6A02567DCC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14722" y="1442113"/>
            <a:ext cx="914400" cy="914400"/>
          </a:xfrm>
          <a:prstGeom prst="rect">
            <a:avLst/>
          </a:prstGeom>
        </p:spPr>
      </p:pic>
    </p:spTree>
    <p:extLst>
      <p:ext uri="{BB962C8B-B14F-4D97-AF65-F5344CB8AC3E}">
        <p14:creationId xmlns:p14="http://schemas.microsoft.com/office/powerpoint/2010/main" val="27163435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31</a:t>
            </a:fld>
            <a:endParaRPr lang="da-DK"/>
          </a:p>
        </p:txBody>
      </p:sp>
      <p:sp>
        <p:nvSpPr>
          <p:cNvPr id="3" name="Slide Number Placeholder 3">
            <a:extLst>
              <a:ext uri="{FF2B5EF4-FFF2-40B4-BE49-F238E27FC236}">
                <a16:creationId xmlns:a16="http://schemas.microsoft.com/office/drawing/2014/main" id="{D649DCE5-69AD-C1B0-9815-C2BE39487E43}"/>
              </a:ext>
            </a:extLst>
          </p:cNvPr>
          <p:cNvSpPr txBox="1">
            <a:spLocks/>
          </p:cNvSpPr>
          <p:nvPr/>
        </p:nvSpPr>
        <p:spPr>
          <a:xfrm>
            <a:off x="11206827" y="5223962"/>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6" name="Rectangle 15">
            <a:extLst>
              <a:ext uri="{FF2B5EF4-FFF2-40B4-BE49-F238E27FC236}">
                <a16:creationId xmlns:a16="http://schemas.microsoft.com/office/drawing/2014/main" id="{69E8CE64-0533-7299-077A-F5CBD4B386AF}"/>
              </a:ext>
            </a:extLst>
          </p:cNvPr>
          <p:cNvSpPr/>
          <p:nvPr/>
        </p:nvSpPr>
        <p:spPr>
          <a:xfrm>
            <a:off x="770411" y="1865190"/>
            <a:ext cx="6653049" cy="3557201"/>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2" name="Google Shape;846;p29">
            <a:extLst>
              <a:ext uri="{FF2B5EF4-FFF2-40B4-BE49-F238E27FC236}">
                <a16:creationId xmlns:a16="http://schemas.microsoft.com/office/drawing/2014/main" id="{15E4C8ED-7C1D-F41F-CFD3-DC21D4DDC86D}"/>
              </a:ext>
            </a:extLst>
          </p:cNvPr>
          <p:cNvSpPr/>
          <p:nvPr/>
        </p:nvSpPr>
        <p:spPr>
          <a:xfrm>
            <a:off x="0" y="346507"/>
            <a:ext cx="12192001" cy="854281"/>
          </a:xfrm>
          <a:prstGeom prst="rect">
            <a:avLst/>
          </a:prstGeom>
          <a:solidFill>
            <a:schemeClr val="accent4"/>
          </a:solidFill>
          <a:ln>
            <a:noFill/>
          </a:ln>
        </p:spPr>
        <p:txBody>
          <a:bodyPr spcFirstLastPara="1" wrap="square" lIns="396000" tIns="91425" rIns="91425" bIns="91425" anchor="ctr" anchorCtr="0">
            <a:noAutofit/>
          </a:bodyPr>
          <a:lstStyle/>
          <a:p>
            <a:pPr algn="ctr"/>
            <a:r>
              <a:rPr lang="da-DK" sz="3200" b="1">
                <a:solidFill>
                  <a:schemeClr val="bg1"/>
                </a:solidFill>
                <a:latin typeface="Amatic SC" panose="00000500000000000000" pitchFamily="2" charset="-79"/>
                <a:cs typeface="Amatic SC" panose="00000500000000000000" pitchFamily="2" charset="-79"/>
              </a:rPr>
              <a:t>Teamsamarbejde er løftestang for udvikling af praksis, men kan med fordel systematiseres</a:t>
            </a:r>
          </a:p>
        </p:txBody>
      </p:sp>
      <p:sp>
        <p:nvSpPr>
          <p:cNvPr id="6" name="TextBox 5">
            <a:extLst>
              <a:ext uri="{FF2B5EF4-FFF2-40B4-BE49-F238E27FC236}">
                <a16:creationId xmlns:a16="http://schemas.microsoft.com/office/drawing/2014/main" id="{479CD88A-6E58-621F-7006-85774279DF87}"/>
              </a:ext>
            </a:extLst>
          </p:cNvPr>
          <p:cNvSpPr txBox="1"/>
          <p:nvPr/>
        </p:nvSpPr>
        <p:spPr>
          <a:xfrm>
            <a:off x="770411" y="1584585"/>
            <a:ext cx="6653049" cy="666246"/>
          </a:xfrm>
          <a:prstGeom prst="rect">
            <a:avLst/>
          </a:prstGeom>
          <a:solidFill>
            <a:schemeClr val="accent4"/>
          </a:solidFill>
          <a:ln w="28575">
            <a:solidFill>
              <a:schemeClr val="accent4"/>
            </a:solidFill>
          </a:ln>
        </p:spPr>
        <p:txBody>
          <a:bodyPr wrap="square" lIns="0" tIns="0" rIns="0" bIns="0" rtlCol="0" anchor="ctr">
            <a:noAutofit/>
          </a:bodyPr>
          <a:lstStyle/>
          <a:p>
            <a:pPr algn="ctr"/>
            <a:r>
              <a:rPr lang="da-DK" sz="2400" b="1">
                <a:latin typeface="Amatic SC" panose="00000500000000000000" pitchFamily="2" charset="-79"/>
                <a:cs typeface="Amatic SC" panose="00000500000000000000" pitchFamily="2" charset="-79"/>
              </a:rPr>
              <a:t>Det kan udfordre samarbejde om udvikling af praksis, når…</a:t>
            </a:r>
          </a:p>
        </p:txBody>
      </p:sp>
      <p:sp>
        <p:nvSpPr>
          <p:cNvPr id="7" name="TextBox 6">
            <a:extLst>
              <a:ext uri="{FF2B5EF4-FFF2-40B4-BE49-F238E27FC236}">
                <a16:creationId xmlns:a16="http://schemas.microsoft.com/office/drawing/2014/main" id="{BD2606AB-11AB-17EB-93C7-331917089B99}"/>
              </a:ext>
            </a:extLst>
          </p:cNvPr>
          <p:cNvSpPr txBox="1"/>
          <p:nvPr/>
        </p:nvSpPr>
        <p:spPr>
          <a:xfrm>
            <a:off x="873235" y="2384883"/>
            <a:ext cx="6447399" cy="3108543"/>
          </a:xfrm>
          <a:prstGeom prst="rect">
            <a:avLst/>
          </a:prstGeom>
          <a:noFill/>
        </p:spPr>
        <p:txBody>
          <a:bodyPr wrap="square">
            <a:spAutoFit/>
          </a:bodyPr>
          <a:lstStyle/>
          <a:p>
            <a:pPr marL="360000" lvl="1"/>
            <a:r>
              <a:rPr lang="da-DK" sz="1400">
                <a:latin typeface="Quicksand" panose="020B0604020202020204" charset="0"/>
                <a:cs typeface="Quicksand" panose="020B0604020202020204" charset="0"/>
              </a:rPr>
              <a:t>… drøftelserne om udvikling af læringsmiljøet </a:t>
            </a:r>
            <a:r>
              <a:rPr lang="da-DK" sz="1400" b="1">
                <a:latin typeface="Quicksand" panose="020B0604020202020204" charset="0"/>
                <a:cs typeface="Quicksand" panose="020B0604020202020204" charset="0"/>
              </a:rPr>
              <a:t>ikke er systematiseret</a:t>
            </a:r>
            <a:r>
              <a:rPr lang="da-DK" sz="1400">
                <a:latin typeface="Quicksand" panose="020B0604020202020204" charset="0"/>
                <a:cs typeface="Quicksand" panose="020B0604020202020204" charset="0"/>
              </a:rPr>
              <a:t>.</a:t>
            </a:r>
          </a:p>
          <a:p>
            <a:pPr marL="360000" lvl="1"/>
            <a:endParaRPr lang="da-DK" sz="1400">
              <a:latin typeface="Quicksand" panose="020B0604020202020204" charset="0"/>
              <a:cs typeface="Quicksand" panose="020B0604020202020204" charset="0"/>
            </a:endParaRPr>
          </a:p>
          <a:p>
            <a:pPr marL="360000" lvl="1"/>
            <a:r>
              <a:rPr lang="da-DK" sz="1400">
                <a:latin typeface="Quicksand" panose="020B0604020202020204" charset="0"/>
                <a:cs typeface="Quicksand" panose="020B0604020202020204" charset="0"/>
              </a:rPr>
              <a:t>… teamet ikke har et </a:t>
            </a:r>
            <a:r>
              <a:rPr lang="da-DK" sz="1400" b="1">
                <a:latin typeface="Quicksand" panose="020B0604020202020204" charset="0"/>
                <a:cs typeface="Quicksand" panose="020B0604020202020204" charset="0"/>
              </a:rPr>
              <a:t>fælles mindset og børnesyn</a:t>
            </a:r>
            <a:r>
              <a:rPr lang="da-DK" sz="1400">
                <a:latin typeface="Quicksand" panose="020B0604020202020204" charset="0"/>
                <a:cs typeface="Quicksand" panose="020B0604020202020204" charset="0"/>
              </a:rPr>
              <a:t>.</a:t>
            </a:r>
          </a:p>
          <a:p>
            <a:pPr marL="360000" lvl="1"/>
            <a:endParaRPr lang="da-DK" sz="1400">
              <a:latin typeface="Quicksand" panose="020B0604020202020204" charset="0"/>
              <a:cs typeface="Quicksand" panose="020B0604020202020204" charset="0"/>
            </a:endParaRPr>
          </a:p>
          <a:p>
            <a:pPr marL="360000" lvl="1"/>
            <a:r>
              <a:rPr lang="da-DK" sz="1400">
                <a:latin typeface="Quicksand" panose="020B0604020202020204" charset="0"/>
                <a:cs typeface="Quicksand" panose="020B0604020202020204" charset="0"/>
              </a:rPr>
              <a:t>… </a:t>
            </a:r>
            <a:r>
              <a:rPr lang="da-DK" sz="1400">
                <a:latin typeface="Quicksand" panose="020B0604020202020204"/>
                <a:cs typeface="Amatic SC" panose="00000500000000000000" pitchFamily="2" charset="-79"/>
              </a:rPr>
              <a:t>h</a:t>
            </a:r>
            <a:r>
              <a:rPr lang="da-DK" sz="1400">
                <a:latin typeface="Quicksand" panose="020B0604020202020204" charset="0"/>
              </a:rPr>
              <a:t>ele teamet ikke har </a:t>
            </a:r>
            <a:r>
              <a:rPr lang="da-DK" sz="1400" b="1">
                <a:latin typeface="Quicksand" panose="020B0604020202020204" charset="0"/>
              </a:rPr>
              <a:t>fælles viden fra kompetenceudvikling</a:t>
            </a:r>
            <a:r>
              <a:rPr lang="da-DK" sz="1400">
                <a:latin typeface="Quicksand" panose="020B0604020202020204" charset="0"/>
              </a:rPr>
              <a:t>.</a:t>
            </a:r>
          </a:p>
          <a:p>
            <a:pPr marL="360000" lvl="1"/>
            <a:endParaRPr lang="da-DK" sz="1400" b="1">
              <a:latin typeface="Quicksand" panose="020B0604020202020204" charset="0"/>
            </a:endParaRPr>
          </a:p>
          <a:p>
            <a:pPr marL="360000" lvl="1"/>
            <a:r>
              <a:rPr lang="da-DK" sz="1400">
                <a:latin typeface="Quicksand" panose="020B0604020202020204" charset="0"/>
              </a:rPr>
              <a:t>… det er </a:t>
            </a:r>
            <a:r>
              <a:rPr lang="da-DK" sz="1400" b="1">
                <a:latin typeface="Quicksand" panose="020B0604020202020204" charset="0"/>
              </a:rPr>
              <a:t>svært at få sparring </a:t>
            </a:r>
            <a:r>
              <a:rPr lang="da-DK" sz="1400">
                <a:latin typeface="Quicksand" panose="020B0604020202020204" charset="0"/>
              </a:rPr>
              <a:t>fra vejledere eller PPR.</a:t>
            </a:r>
            <a:r>
              <a:rPr lang="da-DK" sz="1400" b="1">
                <a:latin typeface="Quicksand" panose="020B0604020202020204" charset="0"/>
              </a:rPr>
              <a:t> </a:t>
            </a:r>
          </a:p>
          <a:p>
            <a:pPr marL="360000" lvl="1"/>
            <a:endParaRPr lang="da-DK" sz="1400" b="1">
              <a:latin typeface="Quicksand" panose="020B0604020202020204" charset="0"/>
            </a:endParaRPr>
          </a:p>
          <a:p>
            <a:pPr marL="360000" lvl="1"/>
            <a:r>
              <a:rPr lang="da-DK" sz="1400">
                <a:latin typeface="Quicksand" panose="020B0604020202020204" charset="0"/>
              </a:rPr>
              <a:t>… </a:t>
            </a:r>
            <a:r>
              <a:rPr lang="da-DK" sz="1400" b="1">
                <a:latin typeface="Quicksand" panose="020B0604020202020204" charset="0"/>
              </a:rPr>
              <a:t>dag-til-dag-udfordringer</a:t>
            </a:r>
            <a:r>
              <a:rPr lang="da-DK" sz="1400">
                <a:latin typeface="Quicksand" panose="020B0604020202020204" charset="0"/>
              </a:rPr>
              <a:t> presser sig på.</a:t>
            </a:r>
          </a:p>
          <a:p>
            <a:pPr marL="360000" lvl="1"/>
            <a:endParaRPr lang="da-DK" sz="1400">
              <a:latin typeface="Quicksand" panose="020B0604020202020204" charset="0"/>
            </a:endParaRPr>
          </a:p>
          <a:p>
            <a:pPr marL="360000" lvl="1"/>
            <a:r>
              <a:rPr lang="da-DK" sz="1400">
                <a:latin typeface="Quicksand" panose="020B0604020202020204" charset="0"/>
              </a:rPr>
              <a:t>… teamet ikke anvender </a:t>
            </a:r>
            <a:r>
              <a:rPr lang="da-DK" sz="1400" b="1">
                <a:latin typeface="Quicksand" panose="020B0604020202020204" charset="0"/>
              </a:rPr>
              <a:t>observation som genstand for læring</a:t>
            </a:r>
            <a:r>
              <a:rPr lang="da-DK" sz="1400">
                <a:latin typeface="Quicksand" panose="020B0604020202020204" charset="0"/>
              </a:rPr>
              <a:t>.</a:t>
            </a:r>
          </a:p>
          <a:p>
            <a:pPr marL="360000" lvl="1"/>
            <a:endParaRPr lang="da-DK" sz="1400">
              <a:latin typeface="Quicksand" panose="020B0604020202020204" charset="0"/>
            </a:endParaRPr>
          </a:p>
          <a:p>
            <a:pPr marL="360000" lvl="1"/>
            <a:r>
              <a:rPr lang="da-DK" sz="1400">
                <a:latin typeface="Quicksand" panose="020B0604020202020204" charset="0"/>
              </a:rPr>
              <a:t>… teammedlemmer ikke er </a:t>
            </a:r>
            <a:r>
              <a:rPr lang="da-DK" sz="1400" b="1">
                <a:latin typeface="Quicksand" panose="020B0604020202020204" charset="0"/>
              </a:rPr>
              <a:t>forandringsparate</a:t>
            </a:r>
            <a:r>
              <a:rPr lang="da-DK" sz="1400">
                <a:latin typeface="Quicksand" panose="020B0604020202020204" charset="0"/>
              </a:rPr>
              <a:t>.</a:t>
            </a:r>
            <a:endParaRPr lang="da-DK" sz="1400">
              <a:solidFill>
                <a:schemeClr val="tx1"/>
              </a:solidFill>
              <a:latin typeface="Quicksand" panose="020B0604020202020204"/>
              <a:cs typeface="Amatic SC" panose="00000500000000000000" pitchFamily="2" charset="-79"/>
            </a:endParaRPr>
          </a:p>
          <a:p>
            <a:pPr marL="360000" lvl="1" indent="-285750">
              <a:buFont typeface="Arial" panose="020B0604020202020204" pitchFamily="34" charset="0"/>
              <a:buChar char="•"/>
            </a:pPr>
            <a:endParaRPr lang="da-DK" sz="1400">
              <a:solidFill>
                <a:schemeClr val="tx1"/>
              </a:solidFill>
              <a:latin typeface="Quicksand" panose="020B0604020202020204"/>
              <a:cs typeface="Amatic SC" panose="00000500000000000000" pitchFamily="2" charset="-79"/>
            </a:endParaRPr>
          </a:p>
        </p:txBody>
      </p:sp>
      <p:sp>
        <p:nvSpPr>
          <p:cNvPr id="8" name="TextBox 7">
            <a:extLst>
              <a:ext uri="{FF2B5EF4-FFF2-40B4-BE49-F238E27FC236}">
                <a16:creationId xmlns:a16="http://schemas.microsoft.com/office/drawing/2014/main" id="{C17575AC-6326-264C-378F-10DE84939037}"/>
              </a:ext>
            </a:extLst>
          </p:cNvPr>
          <p:cNvSpPr txBox="1"/>
          <p:nvPr/>
        </p:nvSpPr>
        <p:spPr>
          <a:xfrm>
            <a:off x="8428257" y="2249461"/>
            <a:ext cx="2993331" cy="1384995"/>
          </a:xfrm>
          <a:prstGeom prst="rect">
            <a:avLst/>
          </a:prstGeom>
          <a:noFill/>
          <a:ln>
            <a:noFill/>
          </a:ln>
        </p:spPr>
        <p:txBody>
          <a:bodyPr wrap="square" lIns="0" tIns="0" rIns="0" bIns="0" rtlCol="0">
            <a:noAutofit/>
          </a:bodyPr>
          <a:lstStyle/>
          <a:p>
            <a:r>
              <a:rPr lang="da-DK" sz="1400">
                <a:solidFill>
                  <a:schemeClr val="accent4"/>
                </a:solidFill>
                <a:latin typeface="Quicksand" panose="020B0604020202020204" charset="0"/>
                <a:cs typeface="Quicksand" panose="020B0604020202020204" charset="0"/>
              </a:rPr>
              <a:t>Vi har ugentlige møder, hvor vi snakker elever igennem, særligt ift. fravær, og hvad vi laver, hvilke klasser vi er i, hvilke lærere vi sparrer med, men det er slet ikke så systematisk, som det kunne være.</a:t>
            </a:r>
          </a:p>
          <a:p>
            <a:pPr algn="r"/>
            <a:endParaRPr lang="da-DK" sz="1000" i="1">
              <a:solidFill>
                <a:schemeClr val="accent4"/>
              </a:solidFill>
              <a:latin typeface="Quicksand" panose="020B0604020202020204" charset="0"/>
              <a:cs typeface="Quicksand" panose="020B0604020202020204" charset="0"/>
            </a:endParaRPr>
          </a:p>
          <a:p>
            <a:pPr algn="r"/>
            <a:r>
              <a:rPr lang="da-DK" sz="1000" i="1">
                <a:solidFill>
                  <a:schemeClr val="accent4"/>
                </a:solidFill>
                <a:latin typeface="Quicksand" panose="020B0604020202020204" charset="0"/>
                <a:cs typeface="Quicksand" panose="020B0604020202020204" charset="0"/>
              </a:rPr>
              <a:t>Vejleder</a:t>
            </a:r>
          </a:p>
        </p:txBody>
      </p:sp>
      <p:sp>
        <p:nvSpPr>
          <p:cNvPr id="10" name="Google Shape;1276;p48">
            <a:extLst>
              <a:ext uri="{FF2B5EF4-FFF2-40B4-BE49-F238E27FC236}">
                <a16:creationId xmlns:a16="http://schemas.microsoft.com/office/drawing/2014/main" id="{BDA74826-B33A-DB57-0881-1E4419EC027C}"/>
              </a:ext>
            </a:extLst>
          </p:cNvPr>
          <p:cNvSpPr/>
          <p:nvPr/>
        </p:nvSpPr>
        <p:spPr>
          <a:xfrm>
            <a:off x="984613" y="1760297"/>
            <a:ext cx="362159" cy="314821"/>
          </a:xfrm>
          <a:custGeom>
            <a:avLst/>
            <a:gdLst/>
            <a:ahLst/>
            <a:cxnLst/>
            <a:rect l="l" t="t" r="r" b="b"/>
            <a:pathLst>
              <a:path w="16571" h="14405" extrusionOk="0">
                <a:moveTo>
                  <a:pt x="8103" y="4623"/>
                </a:moveTo>
                <a:lnTo>
                  <a:pt x="7811" y="4818"/>
                </a:lnTo>
                <a:lnTo>
                  <a:pt x="7665" y="4915"/>
                </a:lnTo>
                <a:lnTo>
                  <a:pt x="7519" y="5013"/>
                </a:lnTo>
                <a:lnTo>
                  <a:pt x="7470" y="4623"/>
                </a:lnTo>
                <a:close/>
                <a:moveTo>
                  <a:pt x="8516" y="4599"/>
                </a:moveTo>
                <a:lnTo>
                  <a:pt x="8760" y="4623"/>
                </a:lnTo>
                <a:lnTo>
                  <a:pt x="9003" y="4648"/>
                </a:lnTo>
                <a:lnTo>
                  <a:pt x="9027" y="4648"/>
                </a:lnTo>
                <a:lnTo>
                  <a:pt x="8979" y="4672"/>
                </a:lnTo>
                <a:lnTo>
                  <a:pt x="8930" y="4721"/>
                </a:lnTo>
                <a:lnTo>
                  <a:pt x="8930" y="4696"/>
                </a:lnTo>
                <a:lnTo>
                  <a:pt x="8857" y="4769"/>
                </a:lnTo>
                <a:lnTo>
                  <a:pt x="8735" y="4818"/>
                </a:lnTo>
                <a:lnTo>
                  <a:pt x="8541" y="4940"/>
                </a:lnTo>
                <a:lnTo>
                  <a:pt x="8273" y="5134"/>
                </a:lnTo>
                <a:lnTo>
                  <a:pt x="8030" y="5329"/>
                </a:lnTo>
                <a:lnTo>
                  <a:pt x="7811" y="5475"/>
                </a:lnTo>
                <a:lnTo>
                  <a:pt x="7567" y="5621"/>
                </a:lnTo>
                <a:lnTo>
                  <a:pt x="7543" y="5256"/>
                </a:lnTo>
                <a:lnTo>
                  <a:pt x="7665" y="5232"/>
                </a:lnTo>
                <a:lnTo>
                  <a:pt x="7786" y="5159"/>
                </a:lnTo>
                <a:lnTo>
                  <a:pt x="8005" y="5037"/>
                </a:lnTo>
                <a:lnTo>
                  <a:pt x="8297" y="4842"/>
                </a:lnTo>
                <a:lnTo>
                  <a:pt x="8443" y="4745"/>
                </a:lnTo>
                <a:lnTo>
                  <a:pt x="8516" y="4599"/>
                </a:lnTo>
                <a:close/>
                <a:moveTo>
                  <a:pt x="9003" y="5086"/>
                </a:moveTo>
                <a:lnTo>
                  <a:pt x="8930" y="5572"/>
                </a:lnTo>
                <a:lnTo>
                  <a:pt x="8881" y="5572"/>
                </a:lnTo>
                <a:lnTo>
                  <a:pt x="8833" y="5597"/>
                </a:lnTo>
                <a:lnTo>
                  <a:pt x="8419" y="5864"/>
                </a:lnTo>
                <a:lnTo>
                  <a:pt x="8005" y="6108"/>
                </a:lnTo>
                <a:lnTo>
                  <a:pt x="7835" y="6181"/>
                </a:lnTo>
                <a:lnTo>
                  <a:pt x="7640" y="6278"/>
                </a:lnTo>
                <a:lnTo>
                  <a:pt x="7616" y="5889"/>
                </a:lnTo>
                <a:lnTo>
                  <a:pt x="7738" y="5840"/>
                </a:lnTo>
                <a:lnTo>
                  <a:pt x="7859" y="5791"/>
                </a:lnTo>
                <a:lnTo>
                  <a:pt x="8103" y="5645"/>
                </a:lnTo>
                <a:lnTo>
                  <a:pt x="9003" y="5086"/>
                </a:lnTo>
                <a:close/>
                <a:moveTo>
                  <a:pt x="8881" y="6010"/>
                </a:moveTo>
                <a:lnTo>
                  <a:pt x="8857" y="6181"/>
                </a:lnTo>
                <a:lnTo>
                  <a:pt x="8857" y="6254"/>
                </a:lnTo>
                <a:lnTo>
                  <a:pt x="8784" y="6254"/>
                </a:lnTo>
                <a:lnTo>
                  <a:pt x="8735" y="6278"/>
                </a:lnTo>
                <a:lnTo>
                  <a:pt x="8200" y="6570"/>
                </a:lnTo>
                <a:lnTo>
                  <a:pt x="7689" y="6862"/>
                </a:lnTo>
                <a:lnTo>
                  <a:pt x="7665" y="6594"/>
                </a:lnTo>
                <a:lnTo>
                  <a:pt x="7811" y="6570"/>
                </a:lnTo>
                <a:lnTo>
                  <a:pt x="7932" y="6521"/>
                </a:lnTo>
                <a:lnTo>
                  <a:pt x="8176" y="6400"/>
                </a:lnTo>
                <a:lnTo>
                  <a:pt x="8541" y="6229"/>
                </a:lnTo>
                <a:lnTo>
                  <a:pt x="8711" y="6132"/>
                </a:lnTo>
                <a:lnTo>
                  <a:pt x="8881" y="6010"/>
                </a:lnTo>
                <a:close/>
                <a:moveTo>
                  <a:pt x="8833" y="6594"/>
                </a:moveTo>
                <a:lnTo>
                  <a:pt x="8808" y="6765"/>
                </a:lnTo>
                <a:lnTo>
                  <a:pt x="8760" y="6789"/>
                </a:lnTo>
                <a:lnTo>
                  <a:pt x="8565" y="6862"/>
                </a:lnTo>
                <a:lnTo>
                  <a:pt x="8395" y="6959"/>
                </a:lnTo>
                <a:lnTo>
                  <a:pt x="8054" y="7178"/>
                </a:lnTo>
                <a:lnTo>
                  <a:pt x="7859" y="7300"/>
                </a:lnTo>
                <a:lnTo>
                  <a:pt x="7689" y="7446"/>
                </a:lnTo>
                <a:lnTo>
                  <a:pt x="7689" y="7105"/>
                </a:lnTo>
                <a:lnTo>
                  <a:pt x="8273" y="6862"/>
                </a:lnTo>
                <a:lnTo>
                  <a:pt x="8833" y="6594"/>
                </a:lnTo>
                <a:close/>
                <a:moveTo>
                  <a:pt x="8784" y="7154"/>
                </a:moveTo>
                <a:lnTo>
                  <a:pt x="8760" y="7470"/>
                </a:lnTo>
                <a:lnTo>
                  <a:pt x="8687" y="7495"/>
                </a:lnTo>
                <a:lnTo>
                  <a:pt x="8516" y="7568"/>
                </a:lnTo>
                <a:lnTo>
                  <a:pt x="8370" y="7665"/>
                </a:lnTo>
                <a:lnTo>
                  <a:pt x="8103" y="7884"/>
                </a:lnTo>
                <a:lnTo>
                  <a:pt x="7908" y="8030"/>
                </a:lnTo>
                <a:lnTo>
                  <a:pt x="7713" y="8200"/>
                </a:lnTo>
                <a:lnTo>
                  <a:pt x="7689" y="7787"/>
                </a:lnTo>
                <a:lnTo>
                  <a:pt x="7835" y="7714"/>
                </a:lnTo>
                <a:lnTo>
                  <a:pt x="7981" y="7641"/>
                </a:lnTo>
                <a:lnTo>
                  <a:pt x="8249" y="7470"/>
                </a:lnTo>
                <a:lnTo>
                  <a:pt x="8516" y="7300"/>
                </a:lnTo>
                <a:lnTo>
                  <a:pt x="8784" y="7154"/>
                </a:lnTo>
                <a:close/>
                <a:moveTo>
                  <a:pt x="8735" y="7835"/>
                </a:moveTo>
                <a:lnTo>
                  <a:pt x="8711" y="8103"/>
                </a:lnTo>
                <a:lnTo>
                  <a:pt x="8638" y="8127"/>
                </a:lnTo>
                <a:lnTo>
                  <a:pt x="8468" y="8249"/>
                </a:lnTo>
                <a:lnTo>
                  <a:pt x="8322" y="8371"/>
                </a:lnTo>
                <a:lnTo>
                  <a:pt x="8030" y="8662"/>
                </a:lnTo>
                <a:lnTo>
                  <a:pt x="7811" y="8857"/>
                </a:lnTo>
                <a:lnTo>
                  <a:pt x="7738" y="8444"/>
                </a:lnTo>
                <a:lnTo>
                  <a:pt x="7859" y="8395"/>
                </a:lnTo>
                <a:lnTo>
                  <a:pt x="8005" y="8322"/>
                </a:lnTo>
                <a:lnTo>
                  <a:pt x="8249" y="8176"/>
                </a:lnTo>
                <a:lnTo>
                  <a:pt x="8492" y="8006"/>
                </a:lnTo>
                <a:lnTo>
                  <a:pt x="8735" y="7835"/>
                </a:lnTo>
                <a:close/>
                <a:moveTo>
                  <a:pt x="8662" y="8687"/>
                </a:moveTo>
                <a:lnTo>
                  <a:pt x="8589" y="9198"/>
                </a:lnTo>
                <a:lnTo>
                  <a:pt x="8346" y="9125"/>
                </a:lnTo>
                <a:lnTo>
                  <a:pt x="8103" y="9100"/>
                </a:lnTo>
                <a:lnTo>
                  <a:pt x="8273" y="8979"/>
                </a:lnTo>
                <a:lnTo>
                  <a:pt x="8468" y="8833"/>
                </a:lnTo>
                <a:lnTo>
                  <a:pt x="8662" y="8687"/>
                </a:lnTo>
                <a:close/>
                <a:moveTo>
                  <a:pt x="7981" y="4088"/>
                </a:moveTo>
                <a:lnTo>
                  <a:pt x="7713" y="4112"/>
                </a:lnTo>
                <a:lnTo>
                  <a:pt x="7421" y="4137"/>
                </a:lnTo>
                <a:lnTo>
                  <a:pt x="7324" y="4137"/>
                </a:lnTo>
                <a:lnTo>
                  <a:pt x="7300" y="4161"/>
                </a:lnTo>
                <a:lnTo>
                  <a:pt x="7348" y="4210"/>
                </a:lnTo>
                <a:lnTo>
                  <a:pt x="7348" y="4210"/>
                </a:lnTo>
                <a:lnTo>
                  <a:pt x="7275" y="4185"/>
                </a:lnTo>
                <a:lnTo>
                  <a:pt x="7178" y="4185"/>
                </a:lnTo>
                <a:lnTo>
                  <a:pt x="7081" y="4234"/>
                </a:lnTo>
                <a:lnTo>
                  <a:pt x="7056" y="4283"/>
                </a:lnTo>
                <a:lnTo>
                  <a:pt x="7032" y="4331"/>
                </a:lnTo>
                <a:lnTo>
                  <a:pt x="7008" y="4502"/>
                </a:lnTo>
                <a:lnTo>
                  <a:pt x="6983" y="4672"/>
                </a:lnTo>
                <a:lnTo>
                  <a:pt x="6983" y="5037"/>
                </a:lnTo>
                <a:lnTo>
                  <a:pt x="7056" y="5743"/>
                </a:lnTo>
                <a:lnTo>
                  <a:pt x="7105" y="6448"/>
                </a:lnTo>
                <a:lnTo>
                  <a:pt x="7105" y="7154"/>
                </a:lnTo>
                <a:lnTo>
                  <a:pt x="7105" y="7738"/>
                </a:lnTo>
                <a:lnTo>
                  <a:pt x="7129" y="8322"/>
                </a:lnTo>
                <a:lnTo>
                  <a:pt x="7154" y="8638"/>
                </a:lnTo>
                <a:lnTo>
                  <a:pt x="7202" y="8930"/>
                </a:lnTo>
                <a:lnTo>
                  <a:pt x="7275" y="9198"/>
                </a:lnTo>
                <a:lnTo>
                  <a:pt x="7397" y="9465"/>
                </a:lnTo>
                <a:lnTo>
                  <a:pt x="7446" y="9538"/>
                </a:lnTo>
                <a:lnTo>
                  <a:pt x="7519" y="9587"/>
                </a:lnTo>
                <a:lnTo>
                  <a:pt x="7567" y="9636"/>
                </a:lnTo>
                <a:lnTo>
                  <a:pt x="7592" y="9660"/>
                </a:lnTo>
                <a:lnTo>
                  <a:pt x="7713" y="9660"/>
                </a:lnTo>
                <a:lnTo>
                  <a:pt x="7932" y="9563"/>
                </a:lnTo>
                <a:lnTo>
                  <a:pt x="8054" y="9538"/>
                </a:lnTo>
                <a:lnTo>
                  <a:pt x="8176" y="9538"/>
                </a:lnTo>
                <a:lnTo>
                  <a:pt x="8297" y="9587"/>
                </a:lnTo>
                <a:lnTo>
                  <a:pt x="8419" y="9636"/>
                </a:lnTo>
                <a:lnTo>
                  <a:pt x="8541" y="9684"/>
                </a:lnTo>
                <a:lnTo>
                  <a:pt x="8687" y="9709"/>
                </a:lnTo>
                <a:lnTo>
                  <a:pt x="8760" y="9709"/>
                </a:lnTo>
                <a:lnTo>
                  <a:pt x="8833" y="9684"/>
                </a:lnTo>
                <a:lnTo>
                  <a:pt x="8906" y="9636"/>
                </a:lnTo>
                <a:lnTo>
                  <a:pt x="8930" y="9563"/>
                </a:lnTo>
                <a:lnTo>
                  <a:pt x="9027" y="9490"/>
                </a:lnTo>
                <a:lnTo>
                  <a:pt x="9052" y="9441"/>
                </a:lnTo>
                <a:lnTo>
                  <a:pt x="9076" y="9392"/>
                </a:lnTo>
                <a:lnTo>
                  <a:pt x="9198" y="8760"/>
                </a:lnTo>
                <a:lnTo>
                  <a:pt x="9246" y="8127"/>
                </a:lnTo>
                <a:lnTo>
                  <a:pt x="9295" y="7495"/>
                </a:lnTo>
                <a:lnTo>
                  <a:pt x="9319" y="6886"/>
                </a:lnTo>
                <a:lnTo>
                  <a:pt x="9368" y="6278"/>
                </a:lnTo>
                <a:lnTo>
                  <a:pt x="9417" y="5694"/>
                </a:lnTo>
                <a:lnTo>
                  <a:pt x="9490" y="5110"/>
                </a:lnTo>
                <a:lnTo>
                  <a:pt x="9514" y="4526"/>
                </a:lnTo>
                <a:lnTo>
                  <a:pt x="9514" y="4453"/>
                </a:lnTo>
                <a:lnTo>
                  <a:pt x="9490" y="4404"/>
                </a:lnTo>
                <a:lnTo>
                  <a:pt x="9465" y="4356"/>
                </a:lnTo>
                <a:lnTo>
                  <a:pt x="9417" y="4331"/>
                </a:lnTo>
                <a:lnTo>
                  <a:pt x="9319" y="4307"/>
                </a:lnTo>
                <a:lnTo>
                  <a:pt x="9246" y="4210"/>
                </a:lnTo>
                <a:lnTo>
                  <a:pt x="9198" y="4185"/>
                </a:lnTo>
                <a:lnTo>
                  <a:pt x="9149" y="4161"/>
                </a:lnTo>
                <a:lnTo>
                  <a:pt x="8857" y="4112"/>
                </a:lnTo>
                <a:lnTo>
                  <a:pt x="8565" y="4088"/>
                </a:lnTo>
                <a:close/>
                <a:moveTo>
                  <a:pt x="8176" y="10585"/>
                </a:moveTo>
                <a:lnTo>
                  <a:pt x="7932" y="10804"/>
                </a:lnTo>
                <a:lnTo>
                  <a:pt x="7689" y="10974"/>
                </a:lnTo>
                <a:lnTo>
                  <a:pt x="7738" y="10877"/>
                </a:lnTo>
                <a:lnTo>
                  <a:pt x="7786" y="10755"/>
                </a:lnTo>
                <a:lnTo>
                  <a:pt x="7859" y="10658"/>
                </a:lnTo>
                <a:lnTo>
                  <a:pt x="7957" y="10585"/>
                </a:lnTo>
                <a:lnTo>
                  <a:pt x="8030" y="10609"/>
                </a:lnTo>
                <a:lnTo>
                  <a:pt x="8103" y="10585"/>
                </a:lnTo>
                <a:close/>
                <a:moveTo>
                  <a:pt x="8614" y="10682"/>
                </a:moveTo>
                <a:lnTo>
                  <a:pt x="8687" y="10779"/>
                </a:lnTo>
                <a:lnTo>
                  <a:pt x="8760" y="10877"/>
                </a:lnTo>
                <a:lnTo>
                  <a:pt x="8565" y="10998"/>
                </a:lnTo>
                <a:lnTo>
                  <a:pt x="8395" y="11144"/>
                </a:lnTo>
                <a:lnTo>
                  <a:pt x="8078" y="11436"/>
                </a:lnTo>
                <a:lnTo>
                  <a:pt x="7957" y="11582"/>
                </a:lnTo>
                <a:lnTo>
                  <a:pt x="7859" y="11704"/>
                </a:lnTo>
                <a:lnTo>
                  <a:pt x="7786" y="11826"/>
                </a:lnTo>
                <a:lnTo>
                  <a:pt x="7713" y="11728"/>
                </a:lnTo>
                <a:lnTo>
                  <a:pt x="7665" y="11607"/>
                </a:lnTo>
                <a:lnTo>
                  <a:pt x="7640" y="11485"/>
                </a:lnTo>
                <a:lnTo>
                  <a:pt x="7640" y="11363"/>
                </a:lnTo>
                <a:lnTo>
                  <a:pt x="7786" y="11315"/>
                </a:lnTo>
                <a:lnTo>
                  <a:pt x="7908" y="11242"/>
                </a:lnTo>
                <a:lnTo>
                  <a:pt x="8176" y="11071"/>
                </a:lnTo>
                <a:lnTo>
                  <a:pt x="8395" y="10901"/>
                </a:lnTo>
                <a:lnTo>
                  <a:pt x="8614" y="10682"/>
                </a:lnTo>
                <a:close/>
                <a:moveTo>
                  <a:pt x="8857" y="11266"/>
                </a:moveTo>
                <a:lnTo>
                  <a:pt x="8833" y="11412"/>
                </a:lnTo>
                <a:lnTo>
                  <a:pt x="8784" y="11558"/>
                </a:lnTo>
                <a:lnTo>
                  <a:pt x="8711" y="11655"/>
                </a:lnTo>
                <a:lnTo>
                  <a:pt x="8614" y="11753"/>
                </a:lnTo>
                <a:lnTo>
                  <a:pt x="8492" y="11826"/>
                </a:lnTo>
                <a:lnTo>
                  <a:pt x="8370" y="11899"/>
                </a:lnTo>
                <a:lnTo>
                  <a:pt x="8200" y="11923"/>
                </a:lnTo>
                <a:lnTo>
                  <a:pt x="8030" y="11923"/>
                </a:lnTo>
                <a:lnTo>
                  <a:pt x="8176" y="11801"/>
                </a:lnTo>
                <a:lnTo>
                  <a:pt x="8273" y="11728"/>
                </a:lnTo>
                <a:lnTo>
                  <a:pt x="8565" y="11485"/>
                </a:lnTo>
                <a:lnTo>
                  <a:pt x="8857" y="11266"/>
                </a:lnTo>
                <a:close/>
                <a:moveTo>
                  <a:pt x="8176" y="10049"/>
                </a:moveTo>
                <a:lnTo>
                  <a:pt x="8054" y="10074"/>
                </a:lnTo>
                <a:lnTo>
                  <a:pt x="7957" y="10122"/>
                </a:lnTo>
                <a:lnTo>
                  <a:pt x="7811" y="10171"/>
                </a:lnTo>
                <a:lnTo>
                  <a:pt x="7689" y="10220"/>
                </a:lnTo>
                <a:lnTo>
                  <a:pt x="7592" y="10268"/>
                </a:lnTo>
                <a:lnTo>
                  <a:pt x="7519" y="10366"/>
                </a:lnTo>
                <a:lnTo>
                  <a:pt x="7373" y="10536"/>
                </a:lnTo>
                <a:lnTo>
                  <a:pt x="7275" y="10755"/>
                </a:lnTo>
                <a:lnTo>
                  <a:pt x="7202" y="10974"/>
                </a:lnTo>
                <a:lnTo>
                  <a:pt x="7154" y="11242"/>
                </a:lnTo>
                <a:lnTo>
                  <a:pt x="7154" y="11509"/>
                </a:lnTo>
                <a:lnTo>
                  <a:pt x="7202" y="11753"/>
                </a:lnTo>
                <a:lnTo>
                  <a:pt x="7324" y="11972"/>
                </a:lnTo>
                <a:lnTo>
                  <a:pt x="7397" y="12069"/>
                </a:lnTo>
                <a:lnTo>
                  <a:pt x="7470" y="12142"/>
                </a:lnTo>
                <a:lnTo>
                  <a:pt x="7567" y="12215"/>
                </a:lnTo>
                <a:lnTo>
                  <a:pt x="7689" y="12288"/>
                </a:lnTo>
                <a:lnTo>
                  <a:pt x="7786" y="12337"/>
                </a:lnTo>
                <a:lnTo>
                  <a:pt x="7932" y="12385"/>
                </a:lnTo>
                <a:lnTo>
                  <a:pt x="8054" y="12410"/>
                </a:lnTo>
                <a:lnTo>
                  <a:pt x="8346" y="12410"/>
                </a:lnTo>
                <a:lnTo>
                  <a:pt x="8492" y="12385"/>
                </a:lnTo>
                <a:lnTo>
                  <a:pt x="8614" y="12337"/>
                </a:lnTo>
                <a:lnTo>
                  <a:pt x="8711" y="12288"/>
                </a:lnTo>
                <a:lnTo>
                  <a:pt x="8833" y="12215"/>
                </a:lnTo>
                <a:lnTo>
                  <a:pt x="8930" y="12142"/>
                </a:lnTo>
                <a:lnTo>
                  <a:pt x="9076" y="11972"/>
                </a:lnTo>
                <a:lnTo>
                  <a:pt x="9198" y="11753"/>
                </a:lnTo>
                <a:lnTo>
                  <a:pt x="9295" y="11534"/>
                </a:lnTo>
                <a:lnTo>
                  <a:pt x="9319" y="11266"/>
                </a:lnTo>
                <a:lnTo>
                  <a:pt x="9319" y="10998"/>
                </a:lnTo>
                <a:lnTo>
                  <a:pt x="9246" y="10779"/>
                </a:lnTo>
                <a:lnTo>
                  <a:pt x="9149" y="10560"/>
                </a:lnTo>
                <a:lnTo>
                  <a:pt x="9003" y="10366"/>
                </a:lnTo>
                <a:lnTo>
                  <a:pt x="8833" y="10220"/>
                </a:lnTo>
                <a:lnTo>
                  <a:pt x="8735" y="10171"/>
                </a:lnTo>
                <a:lnTo>
                  <a:pt x="8638" y="10122"/>
                </a:lnTo>
                <a:lnTo>
                  <a:pt x="8395" y="10049"/>
                </a:lnTo>
                <a:close/>
                <a:moveTo>
                  <a:pt x="8322" y="535"/>
                </a:moveTo>
                <a:lnTo>
                  <a:pt x="8443" y="560"/>
                </a:lnTo>
                <a:lnTo>
                  <a:pt x="8638" y="657"/>
                </a:lnTo>
                <a:lnTo>
                  <a:pt x="8833" y="803"/>
                </a:lnTo>
                <a:lnTo>
                  <a:pt x="9003" y="973"/>
                </a:lnTo>
                <a:lnTo>
                  <a:pt x="9344" y="1338"/>
                </a:lnTo>
                <a:lnTo>
                  <a:pt x="9757" y="1971"/>
                </a:lnTo>
                <a:lnTo>
                  <a:pt x="10147" y="2652"/>
                </a:lnTo>
                <a:lnTo>
                  <a:pt x="10901" y="4015"/>
                </a:lnTo>
                <a:lnTo>
                  <a:pt x="11655" y="5402"/>
                </a:lnTo>
                <a:lnTo>
                  <a:pt x="12045" y="6083"/>
                </a:lnTo>
                <a:lnTo>
                  <a:pt x="12434" y="6740"/>
                </a:lnTo>
                <a:lnTo>
                  <a:pt x="13164" y="7957"/>
                </a:lnTo>
                <a:lnTo>
                  <a:pt x="13918" y="9173"/>
                </a:lnTo>
                <a:lnTo>
                  <a:pt x="14672" y="10366"/>
                </a:lnTo>
                <a:lnTo>
                  <a:pt x="15427" y="11582"/>
                </a:lnTo>
                <a:lnTo>
                  <a:pt x="15402" y="11655"/>
                </a:lnTo>
                <a:lnTo>
                  <a:pt x="15402" y="11704"/>
                </a:lnTo>
                <a:lnTo>
                  <a:pt x="15427" y="11777"/>
                </a:lnTo>
                <a:lnTo>
                  <a:pt x="15475" y="11826"/>
                </a:lnTo>
                <a:lnTo>
                  <a:pt x="15646" y="11972"/>
                </a:lnTo>
                <a:lnTo>
                  <a:pt x="15792" y="12191"/>
                </a:lnTo>
                <a:lnTo>
                  <a:pt x="15913" y="12434"/>
                </a:lnTo>
                <a:lnTo>
                  <a:pt x="16011" y="12677"/>
                </a:lnTo>
                <a:lnTo>
                  <a:pt x="16059" y="12945"/>
                </a:lnTo>
                <a:lnTo>
                  <a:pt x="16035" y="13067"/>
                </a:lnTo>
                <a:lnTo>
                  <a:pt x="16035" y="13188"/>
                </a:lnTo>
                <a:lnTo>
                  <a:pt x="15986" y="13286"/>
                </a:lnTo>
                <a:lnTo>
                  <a:pt x="15938" y="13407"/>
                </a:lnTo>
                <a:lnTo>
                  <a:pt x="15865" y="13505"/>
                </a:lnTo>
                <a:lnTo>
                  <a:pt x="15792" y="13578"/>
                </a:lnTo>
                <a:lnTo>
                  <a:pt x="15597" y="13699"/>
                </a:lnTo>
                <a:lnTo>
                  <a:pt x="15402" y="13772"/>
                </a:lnTo>
                <a:lnTo>
                  <a:pt x="15159" y="13821"/>
                </a:lnTo>
                <a:lnTo>
                  <a:pt x="14940" y="13845"/>
                </a:lnTo>
                <a:lnTo>
                  <a:pt x="14040" y="13845"/>
                </a:lnTo>
                <a:lnTo>
                  <a:pt x="11023" y="13821"/>
                </a:lnTo>
                <a:lnTo>
                  <a:pt x="9514" y="13797"/>
                </a:lnTo>
                <a:lnTo>
                  <a:pt x="8005" y="13797"/>
                </a:lnTo>
                <a:lnTo>
                  <a:pt x="5159" y="13821"/>
                </a:lnTo>
                <a:lnTo>
                  <a:pt x="3723" y="13870"/>
                </a:lnTo>
                <a:lnTo>
                  <a:pt x="2312" y="13918"/>
                </a:lnTo>
                <a:lnTo>
                  <a:pt x="1630" y="13918"/>
                </a:lnTo>
                <a:lnTo>
                  <a:pt x="1411" y="13894"/>
                </a:lnTo>
                <a:lnTo>
                  <a:pt x="1192" y="13845"/>
                </a:lnTo>
                <a:lnTo>
                  <a:pt x="998" y="13772"/>
                </a:lnTo>
                <a:lnTo>
                  <a:pt x="803" y="13675"/>
                </a:lnTo>
                <a:lnTo>
                  <a:pt x="633" y="13529"/>
                </a:lnTo>
                <a:lnTo>
                  <a:pt x="535" y="13432"/>
                </a:lnTo>
                <a:lnTo>
                  <a:pt x="487" y="13334"/>
                </a:lnTo>
                <a:lnTo>
                  <a:pt x="462" y="13261"/>
                </a:lnTo>
                <a:lnTo>
                  <a:pt x="438" y="13164"/>
                </a:lnTo>
                <a:lnTo>
                  <a:pt x="438" y="12969"/>
                </a:lnTo>
                <a:lnTo>
                  <a:pt x="511" y="12799"/>
                </a:lnTo>
                <a:lnTo>
                  <a:pt x="657" y="12434"/>
                </a:lnTo>
                <a:lnTo>
                  <a:pt x="730" y="12239"/>
                </a:lnTo>
                <a:lnTo>
                  <a:pt x="779" y="12045"/>
                </a:lnTo>
                <a:lnTo>
                  <a:pt x="998" y="11680"/>
                </a:lnTo>
                <a:lnTo>
                  <a:pt x="1217" y="11290"/>
                </a:lnTo>
                <a:lnTo>
                  <a:pt x="1630" y="10512"/>
                </a:lnTo>
                <a:lnTo>
                  <a:pt x="2141" y="9684"/>
                </a:lnTo>
                <a:lnTo>
                  <a:pt x="2652" y="8833"/>
                </a:lnTo>
                <a:lnTo>
                  <a:pt x="3674" y="7081"/>
                </a:lnTo>
                <a:lnTo>
                  <a:pt x="4696" y="5329"/>
                </a:lnTo>
                <a:lnTo>
                  <a:pt x="5207" y="4477"/>
                </a:lnTo>
                <a:lnTo>
                  <a:pt x="5742" y="3650"/>
                </a:lnTo>
                <a:lnTo>
                  <a:pt x="6813" y="2020"/>
                </a:lnTo>
                <a:lnTo>
                  <a:pt x="7251" y="1338"/>
                </a:lnTo>
                <a:lnTo>
                  <a:pt x="7494" y="1022"/>
                </a:lnTo>
                <a:lnTo>
                  <a:pt x="7640" y="876"/>
                </a:lnTo>
                <a:lnTo>
                  <a:pt x="7786" y="730"/>
                </a:lnTo>
                <a:lnTo>
                  <a:pt x="7884" y="633"/>
                </a:lnTo>
                <a:lnTo>
                  <a:pt x="8005" y="584"/>
                </a:lnTo>
                <a:lnTo>
                  <a:pt x="8103" y="535"/>
                </a:lnTo>
                <a:close/>
                <a:moveTo>
                  <a:pt x="8346" y="0"/>
                </a:moveTo>
                <a:lnTo>
                  <a:pt x="8176" y="25"/>
                </a:lnTo>
                <a:lnTo>
                  <a:pt x="8005" y="73"/>
                </a:lnTo>
                <a:lnTo>
                  <a:pt x="7835" y="146"/>
                </a:lnTo>
                <a:lnTo>
                  <a:pt x="7665" y="219"/>
                </a:lnTo>
                <a:lnTo>
                  <a:pt x="7519" y="341"/>
                </a:lnTo>
                <a:lnTo>
                  <a:pt x="7251" y="584"/>
                </a:lnTo>
                <a:lnTo>
                  <a:pt x="7105" y="730"/>
                </a:lnTo>
                <a:lnTo>
                  <a:pt x="6983" y="900"/>
                </a:lnTo>
                <a:lnTo>
                  <a:pt x="6740" y="1265"/>
                </a:lnTo>
                <a:lnTo>
                  <a:pt x="6497" y="1630"/>
                </a:lnTo>
                <a:lnTo>
                  <a:pt x="6278" y="1995"/>
                </a:lnTo>
                <a:lnTo>
                  <a:pt x="5596" y="2969"/>
                </a:lnTo>
                <a:lnTo>
                  <a:pt x="4964" y="3966"/>
                </a:lnTo>
                <a:lnTo>
                  <a:pt x="4331" y="4988"/>
                </a:lnTo>
                <a:lnTo>
                  <a:pt x="3723" y="6035"/>
                </a:lnTo>
                <a:lnTo>
                  <a:pt x="2506" y="8127"/>
                </a:lnTo>
                <a:lnTo>
                  <a:pt x="1363" y="10147"/>
                </a:lnTo>
                <a:lnTo>
                  <a:pt x="900" y="10925"/>
                </a:lnTo>
                <a:lnTo>
                  <a:pt x="706" y="11339"/>
                </a:lnTo>
                <a:lnTo>
                  <a:pt x="535" y="11753"/>
                </a:lnTo>
                <a:lnTo>
                  <a:pt x="487" y="11801"/>
                </a:lnTo>
                <a:lnTo>
                  <a:pt x="462" y="11850"/>
                </a:lnTo>
                <a:lnTo>
                  <a:pt x="389" y="12069"/>
                </a:lnTo>
                <a:lnTo>
                  <a:pt x="268" y="12288"/>
                </a:lnTo>
                <a:lnTo>
                  <a:pt x="170" y="12507"/>
                </a:lnTo>
                <a:lnTo>
                  <a:pt x="49" y="12726"/>
                </a:lnTo>
                <a:lnTo>
                  <a:pt x="24" y="12823"/>
                </a:lnTo>
                <a:lnTo>
                  <a:pt x="0" y="12945"/>
                </a:lnTo>
                <a:lnTo>
                  <a:pt x="0" y="13067"/>
                </a:lnTo>
                <a:lnTo>
                  <a:pt x="0" y="13188"/>
                </a:lnTo>
                <a:lnTo>
                  <a:pt x="73" y="13407"/>
                </a:lnTo>
                <a:lnTo>
                  <a:pt x="146" y="13651"/>
                </a:lnTo>
                <a:lnTo>
                  <a:pt x="292" y="13845"/>
                </a:lnTo>
                <a:lnTo>
                  <a:pt x="438" y="13991"/>
                </a:lnTo>
                <a:lnTo>
                  <a:pt x="633" y="14113"/>
                </a:lnTo>
                <a:lnTo>
                  <a:pt x="852" y="14210"/>
                </a:lnTo>
                <a:lnTo>
                  <a:pt x="1095" y="14283"/>
                </a:lnTo>
                <a:lnTo>
                  <a:pt x="1314" y="14332"/>
                </a:lnTo>
                <a:lnTo>
                  <a:pt x="1776" y="14381"/>
                </a:lnTo>
                <a:lnTo>
                  <a:pt x="2141" y="14405"/>
                </a:lnTo>
                <a:lnTo>
                  <a:pt x="3309" y="14405"/>
                </a:lnTo>
                <a:lnTo>
                  <a:pt x="4064" y="14356"/>
                </a:lnTo>
                <a:lnTo>
                  <a:pt x="4842" y="14332"/>
                </a:lnTo>
                <a:lnTo>
                  <a:pt x="6691" y="14308"/>
                </a:lnTo>
                <a:lnTo>
                  <a:pt x="8565" y="14283"/>
                </a:lnTo>
                <a:lnTo>
                  <a:pt x="10439" y="14283"/>
                </a:lnTo>
                <a:lnTo>
                  <a:pt x="12337" y="14308"/>
                </a:lnTo>
                <a:lnTo>
                  <a:pt x="13748" y="14356"/>
                </a:lnTo>
                <a:lnTo>
                  <a:pt x="14478" y="14356"/>
                </a:lnTo>
                <a:lnTo>
                  <a:pt x="14818" y="14332"/>
                </a:lnTo>
                <a:lnTo>
                  <a:pt x="15159" y="14308"/>
                </a:lnTo>
                <a:lnTo>
                  <a:pt x="15402" y="14259"/>
                </a:lnTo>
                <a:lnTo>
                  <a:pt x="15621" y="14210"/>
                </a:lnTo>
                <a:lnTo>
                  <a:pt x="15840" y="14113"/>
                </a:lnTo>
                <a:lnTo>
                  <a:pt x="16059" y="13991"/>
                </a:lnTo>
                <a:lnTo>
                  <a:pt x="16230" y="13845"/>
                </a:lnTo>
                <a:lnTo>
                  <a:pt x="16400" y="13675"/>
                </a:lnTo>
                <a:lnTo>
                  <a:pt x="16497" y="13480"/>
                </a:lnTo>
                <a:lnTo>
                  <a:pt x="16522" y="13359"/>
                </a:lnTo>
                <a:lnTo>
                  <a:pt x="16546" y="13237"/>
                </a:lnTo>
                <a:lnTo>
                  <a:pt x="16570" y="13042"/>
                </a:lnTo>
                <a:lnTo>
                  <a:pt x="16546" y="12848"/>
                </a:lnTo>
                <a:lnTo>
                  <a:pt x="16522" y="12653"/>
                </a:lnTo>
                <a:lnTo>
                  <a:pt x="16473" y="12458"/>
                </a:lnTo>
                <a:lnTo>
                  <a:pt x="16400" y="12264"/>
                </a:lnTo>
                <a:lnTo>
                  <a:pt x="16303" y="12069"/>
                </a:lnTo>
                <a:lnTo>
                  <a:pt x="16205" y="11899"/>
                </a:lnTo>
                <a:lnTo>
                  <a:pt x="16084" y="11728"/>
                </a:lnTo>
                <a:lnTo>
                  <a:pt x="15281" y="10414"/>
                </a:lnTo>
                <a:lnTo>
                  <a:pt x="14478" y="9100"/>
                </a:lnTo>
                <a:lnTo>
                  <a:pt x="12848" y="6497"/>
                </a:lnTo>
                <a:lnTo>
                  <a:pt x="12458" y="5840"/>
                </a:lnTo>
                <a:lnTo>
                  <a:pt x="12069" y="5159"/>
                </a:lnTo>
                <a:lnTo>
                  <a:pt x="11315" y="3747"/>
                </a:lnTo>
                <a:lnTo>
                  <a:pt x="10536" y="2336"/>
                </a:lnTo>
                <a:lnTo>
                  <a:pt x="10147" y="1655"/>
                </a:lnTo>
                <a:lnTo>
                  <a:pt x="9757" y="998"/>
                </a:lnTo>
                <a:lnTo>
                  <a:pt x="9709" y="925"/>
                </a:lnTo>
                <a:lnTo>
                  <a:pt x="9636" y="876"/>
                </a:lnTo>
                <a:lnTo>
                  <a:pt x="9417" y="608"/>
                </a:lnTo>
                <a:lnTo>
                  <a:pt x="9149" y="341"/>
                </a:lnTo>
                <a:lnTo>
                  <a:pt x="9003" y="219"/>
                </a:lnTo>
                <a:lnTo>
                  <a:pt x="8857" y="98"/>
                </a:lnTo>
                <a:lnTo>
                  <a:pt x="8687" y="25"/>
                </a:lnTo>
                <a:lnTo>
                  <a:pt x="854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3" name="Graphic 12" descr="Open quotation mark with solid fill">
            <a:extLst>
              <a:ext uri="{FF2B5EF4-FFF2-40B4-BE49-F238E27FC236}">
                <a16:creationId xmlns:a16="http://schemas.microsoft.com/office/drawing/2014/main" id="{EAFBD7BE-210E-8851-A82B-BECB1A98454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14722" y="1442113"/>
            <a:ext cx="914400" cy="914400"/>
          </a:xfrm>
          <a:prstGeom prst="rect">
            <a:avLst/>
          </a:prstGeom>
        </p:spPr>
      </p:pic>
      <p:sp>
        <p:nvSpPr>
          <p:cNvPr id="15" name="TextBox 14">
            <a:extLst>
              <a:ext uri="{FF2B5EF4-FFF2-40B4-BE49-F238E27FC236}">
                <a16:creationId xmlns:a16="http://schemas.microsoft.com/office/drawing/2014/main" id="{A79D615D-FD3F-AF34-2637-5A0B48CD24B2}"/>
              </a:ext>
            </a:extLst>
          </p:cNvPr>
          <p:cNvSpPr txBox="1"/>
          <p:nvPr/>
        </p:nvSpPr>
        <p:spPr>
          <a:xfrm>
            <a:off x="8428256" y="4369681"/>
            <a:ext cx="2993332" cy="854281"/>
          </a:xfrm>
          <a:prstGeom prst="rect">
            <a:avLst/>
          </a:prstGeom>
          <a:noFill/>
        </p:spPr>
        <p:txBody>
          <a:bodyPr wrap="square" lIns="0" tIns="0" rIns="0" bIns="0">
            <a:noAutofit/>
          </a:bodyPr>
          <a:lstStyle/>
          <a:p>
            <a:r>
              <a:rPr lang="da-DK" sz="1400" noProof="0" dirty="0">
                <a:solidFill>
                  <a:schemeClr val="accent4"/>
                </a:solidFill>
                <a:latin typeface="Quicksand" panose="020B0604020202020204"/>
              </a:rPr>
              <a:t>Vi kan godt lade som om, at vi har et fælles mindset, men at føle det og praktisere det, det oplever jeg ikke. </a:t>
            </a:r>
          </a:p>
          <a:p>
            <a:pPr algn="r"/>
            <a:r>
              <a:rPr lang="da-DK" sz="1000" i="1" dirty="0">
                <a:solidFill>
                  <a:schemeClr val="accent4"/>
                </a:solidFill>
                <a:latin typeface="Quicksand" panose="020B0604020202020204" charset="0"/>
                <a:cs typeface="Quicksand" panose="020B0604020202020204" charset="0"/>
              </a:rPr>
              <a:t>Pædagogisk personale</a:t>
            </a:r>
          </a:p>
          <a:p>
            <a:pPr algn="r"/>
            <a:endParaRPr lang="da-DK" sz="1000" i="1" noProof="0" dirty="0">
              <a:solidFill>
                <a:schemeClr val="accent4"/>
              </a:solidFill>
              <a:latin typeface="Quicksand" panose="020B0604020202020204"/>
            </a:endParaRPr>
          </a:p>
        </p:txBody>
      </p:sp>
      <p:pic>
        <p:nvPicPr>
          <p:cNvPr id="17" name="Graphic 16" descr="Open quotation mark with solid fill">
            <a:extLst>
              <a:ext uri="{FF2B5EF4-FFF2-40B4-BE49-F238E27FC236}">
                <a16:creationId xmlns:a16="http://schemas.microsoft.com/office/drawing/2014/main" id="{A12B9996-1281-580C-28A6-7A3B887B793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14722" y="3528755"/>
            <a:ext cx="914400" cy="914400"/>
          </a:xfrm>
          <a:prstGeom prst="rect">
            <a:avLst/>
          </a:prstGeom>
        </p:spPr>
      </p:pic>
    </p:spTree>
    <p:extLst>
      <p:ext uri="{BB962C8B-B14F-4D97-AF65-F5344CB8AC3E}">
        <p14:creationId xmlns:p14="http://schemas.microsoft.com/office/powerpoint/2010/main" val="2172607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32</a:t>
            </a:fld>
            <a:endParaRPr lang="da-DK"/>
          </a:p>
        </p:txBody>
      </p:sp>
      <p:sp>
        <p:nvSpPr>
          <p:cNvPr id="3" name="Slide Number Placeholder 3">
            <a:extLst>
              <a:ext uri="{FF2B5EF4-FFF2-40B4-BE49-F238E27FC236}">
                <a16:creationId xmlns:a16="http://schemas.microsoft.com/office/drawing/2014/main" id="{D649DCE5-69AD-C1B0-9815-C2BE39487E43}"/>
              </a:ext>
            </a:extLst>
          </p:cNvPr>
          <p:cNvSpPr txBox="1">
            <a:spLocks/>
          </p:cNvSpPr>
          <p:nvPr/>
        </p:nvSpPr>
        <p:spPr>
          <a:xfrm>
            <a:off x="11206827" y="5223962"/>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6" name="Rectangle 15">
            <a:extLst>
              <a:ext uri="{FF2B5EF4-FFF2-40B4-BE49-F238E27FC236}">
                <a16:creationId xmlns:a16="http://schemas.microsoft.com/office/drawing/2014/main" id="{69E8CE64-0533-7299-077A-F5CBD4B386AF}"/>
              </a:ext>
            </a:extLst>
          </p:cNvPr>
          <p:cNvSpPr/>
          <p:nvPr/>
        </p:nvSpPr>
        <p:spPr>
          <a:xfrm>
            <a:off x="770410" y="1865189"/>
            <a:ext cx="7399119" cy="4008329"/>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2" name="Google Shape;846;p29">
            <a:extLst>
              <a:ext uri="{FF2B5EF4-FFF2-40B4-BE49-F238E27FC236}">
                <a16:creationId xmlns:a16="http://schemas.microsoft.com/office/drawing/2014/main" id="{15E4C8ED-7C1D-F41F-CFD3-DC21D4DDC86D}"/>
              </a:ext>
            </a:extLst>
          </p:cNvPr>
          <p:cNvSpPr/>
          <p:nvPr/>
        </p:nvSpPr>
        <p:spPr>
          <a:xfrm>
            <a:off x="0" y="346507"/>
            <a:ext cx="12192001" cy="854281"/>
          </a:xfrm>
          <a:prstGeom prst="rect">
            <a:avLst/>
          </a:prstGeom>
          <a:solidFill>
            <a:schemeClr val="accent4"/>
          </a:solidFill>
          <a:ln>
            <a:noFill/>
          </a:ln>
        </p:spPr>
        <p:txBody>
          <a:bodyPr spcFirstLastPara="1" wrap="square" lIns="396000" tIns="91425" rIns="91425" bIns="91425" anchor="ctr" anchorCtr="0">
            <a:noAutofit/>
          </a:bodyPr>
          <a:lstStyle/>
          <a:p>
            <a:pPr algn="ctr"/>
            <a:r>
              <a:rPr lang="da-DK" sz="3200" b="1">
                <a:solidFill>
                  <a:schemeClr val="bg1"/>
                </a:solidFill>
                <a:latin typeface="Amatic SC" panose="00000500000000000000" pitchFamily="2" charset="-79"/>
                <a:cs typeface="Amatic SC" panose="00000500000000000000" pitchFamily="2" charset="-79"/>
              </a:rPr>
              <a:t>Teamsamarbejde er løftestang for udvikling af praksis, når teamet har et fælles børnesyn</a:t>
            </a:r>
          </a:p>
        </p:txBody>
      </p:sp>
      <p:sp>
        <p:nvSpPr>
          <p:cNvPr id="6" name="TextBox 5">
            <a:extLst>
              <a:ext uri="{FF2B5EF4-FFF2-40B4-BE49-F238E27FC236}">
                <a16:creationId xmlns:a16="http://schemas.microsoft.com/office/drawing/2014/main" id="{479CD88A-6E58-621F-7006-85774279DF87}"/>
              </a:ext>
            </a:extLst>
          </p:cNvPr>
          <p:cNvSpPr txBox="1"/>
          <p:nvPr/>
        </p:nvSpPr>
        <p:spPr>
          <a:xfrm>
            <a:off x="770410" y="1584585"/>
            <a:ext cx="7399119" cy="666246"/>
          </a:xfrm>
          <a:prstGeom prst="rect">
            <a:avLst/>
          </a:prstGeom>
          <a:solidFill>
            <a:schemeClr val="accent4"/>
          </a:solidFill>
          <a:ln w="28575">
            <a:solidFill>
              <a:schemeClr val="accent4"/>
            </a:solidFill>
          </a:ln>
        </p:spPr>
        <p:txBody>
          <a:bodyPr wrap="square" lIns="0" tIns="0" rIns="0" bIns="0" rtlCol="0" anchor="ctr">
            <a:noAutofit/>
          </a:bodyPr>
          <a:lstStyle/>
          <a:p>
            <a:pPr algn="ctr"/>
            <a:r>
              <a:rPr lang="da-DK" sz="2400" b="1">
                <a:latin typeface="Amatic SC" panose="00000500000000000000" pitchFamily="2" charset="-79"/>
                <a:cs typeface="Amatic SC" panose="00000500000000000000" pitchFamily="2" charset="-79"/>
              </a:rPr>
              <a:t>fremadrettet kan samarbejdet om udvikling af praksis styrkes ved at…</a:t>
            </a:r>
          </a:p>
        </p:txBody>
      </p:sp>
      <p:sp>
        <p:nvSpPr>
          <p:cNvPr id="7" name="TextBox 6">
            <a:extLst>
              <a:ext uri="{FF2B5EF4-FFF2-40B4-BE49-F238E27FC236}">
                <a16:creationId xmlns:a16="http://schemas.microsoft.com/office/drawing/2014/main" id="{BD2606AB-11AB-17EB-93C7-331917089B99}"/>
              </a:ext>
            </a:extLst>
          </p:cNvPr>
          <p:cNvSpPr txBox="1"/>
          <p:nvPr/>
        </p:nvSpPr>
        <p:spPr>
          <a:xfrm>
            <a:off x="873235" y="2384883"/>
            <a:ext cx="6816038" cy="3323987"/>
          </a:xfrm>
          <a:prstGeom prst="rect">
            <a:avLst/>
          </a:prstGeom>
          <a:noFill/>
        </p:spPr>
        <p:txBody>
          <a:bodyPr wrap="square">
            <a:spAutoFit/>
          </a:bodyPr>
          <a:lstStyle/>
          <a:p>
            <a:pPr marL="360000" lvl="1"/>
            <a:r>
              <a:rPr lang="da-DK" sz="1400">
                <a:latin typeface="Quicksand" panose="020B0604020202020204"/>
                <a:cs typeface="Amatic SC" panose="00000500000000000000" pitchFamily="2" charset="-79"/>
              </a:rPr>
              <a:t>… udarbejde et fælles børnesyn og drøfte, </a:t>
            </a:r>
            <a:r>
              <a:rPr lang="da-DK" sz="1400" b="1">
                <a:latin typeface="Quicksand" panose="020B0604020202020204"/>
                <a:cs typeface="Amatic SC" panose="00000500000000000000" pitchFamily="2" charset="-79"/>
              </a:rPr>
              <a:t>hvordan</a:t>
            </a:r>
            <a:r>
              <a:rPr lang="da-DK" sz="1400">
                <a:latin typeface="Quicksand" panose="020B0604020202020204"/>
                <a:cs typeface="Amatic SC" panose="00000500000000000000" pitchFamily="2" charset="-79"/>
              </a:rPr>
              <a:t> </a:t>
            </a:r>
            <a:r>
              <a:rPr lang="da-DK" sz="1400" b="1">
                <a:latin typeface="Quicksand" panose="020B0604020202020204"/>
                <a:cs typeface="Amatic SC" panose="00000500000000000000" pitchFamily="2" charset="-79"/>
              </a:rPr>
              <a:t>børnesynet omsættes i praksis</a:t>
            </a:r>
            <a:r>
              <a:rPr lang="da-DK" sz="1400">
                <a:latin typeface="Quicksand" panose="020B0604020202020204"/>
                <a:cs typeface="Amatic SC" panose="00000500000000000000" pitchFamily="2" charset="-79"/>
              </a:rPr>
              <a:t>. </a:t>
            </a:r>
          </a:p>
          <a:p>
            <a:pPr marL="360000" lvl="1"/>
            <a:endParaRPr lang="da-DK" sz="1400">
              <a:latin typeface="Quicksand" panose="020B0604020202020204"/>
              <a:cs typeface="Amatic SC" panose="00000500000000000000" pitchFamily="2" charset="-79"/>
            </a:endParaRPr>
          </a:p>
          <a:p>
            <a:pPr marL="360000" lvl="1"/>
            <a:r>
              <a:rPr lang="da-DK" sz="1400">
                <a:latin typeface="Quicksand" panose="020B0604020202020204"/>
                <a:cs typeface="Amatic SC" panose="00000500000000000000" pitchFamily="2" charset="-79"/>
              </a:rPr>
              <a:t>… </a:t>
            </a:r>
            <a:r>
              <a:rPr lang="da-DK" sz="1400" b="1">
                <a:latin typeface="Quicksand" panose="020B0604020202020204"/>
                <a:cs typeface="Amatic SC" panose="00000500000000000000" pitchFamily="2" charset="-79"/>
              </a:rPr>
              <a:t>udarbejde en observationskontrakt </a:t>
            </a:r>
            <a:r>
              <a:rPr lang="da-DK" sz="1400">
                <a:latin typeface="Quicksand" panose="020B0604020202020204"/>
                <a:cs typeface="Amatic SC" panose="00000500000000000000" pitchFamily="2" charset="-79"/>
              </a:rPr>
              <a:t>for at overkomme frygten for at blive observeret. </a:t>
            </a:r>
          </a:p>
          <a:p>
            <a:pPr marL="360000" lvl="1"/>
            <a:endParaRPr lang="da-DK" sz="1400">
              <a:latin typeface="Quicksand" panose="020B0604020202020204"/>
              <a:cs typeface="Amatic SC" panose="00000500000000000000" pitchFamily="2" charset="-79"/>
            </a:endParaRPr>
          </a:p>
          <a:p>
            <a:pPr marL="360000" lvl="1"/>
            <a:r>
              <a:rPr lang="da-DK" sz="1400">
                <a:latin typeface="Quicksand" panose="020B0604020202020204"/>
                <a:cs typeface="Amatic SC" panose="00000500000000000000" pitchFamily="2" charset="-79"/>
              </a:rPr>
              <a:t>… </a:t>
            </a:r>
            <a:r>
              <a:rPr lang="da-DK" sz="1400" b="1">
                <a:latin typeface="Quicksand" panose="020B0604020202020204"/>
                <a:cs typeface="Amatic SC" panose="00000500000000000000" pitchFamily="2" charset="-79"/>
              </a:rPr>
              <a:t>indsamle og anvende data </a:t>
            </a:r>
            <a:r>
              <a:rPr lang="da-DK" sz="1400">
                <a:latin typeface="Quicksand" panose="020B0604020202020204"/>
                <a:cs typeface="Amatic SC" panose="00000500000000000000" pitchFamily="2" charset="-79"/>
              </a:rPr>
              <a:t>til at vurdere praksis og at nå frem til ”næste bedste skridt” i udviklingsprocessen. </a:t>
            </a:r>
          </a:p>
          <a:p>
            <a:pPr marL="360000" lvl="1"/>
            <a:endParaRPr lang="da-DK" sz="1400">
              <a:latin typeface="Quicksand" panose="020B0604020202020204"/>
              <a:cs typeface="Amatic SC" panose="00000500000000000000" pitchFamily="2" charset="-79"/>
            </a:endParaRPr>
          </a:p>
          <a:p>
            <a:pPr marL="360000" lvl="1"/>
            <a:r>
              <a:rPr lang="da-DK" sz="1400">
                <a:latin typeface="Quicksand" panose="020B0604020202020204"/>
                <a:cs typeface="Amatic SC" panose="00000500000000000000" pitchFamily="2" charset="-79"/>
              </a:rPr>
              <a:t>… </a:t>
            </a:r>
            <a:r>
              <a:rPr lang="da-DK" sz="1400" b="1">
                <a:latin typeface="Quicksand" panose="020B0604020202020204"/>
                <a:cs typeface="Amatic SC" panose="00000500000000000000" pitchFamily="2" charset="-79"/>
              </a:rPr>
              <a:t>dele viden på tværs af teams om gode værktøjer og metoder </a:t>
            </a:r>
            <a:r>
              <a:rPr lang="da-DK" sz="1400">
                <a:latin typeface="Quicksand" panose="020B0604020202020204"/>
                <a:cs typeface="Amatic SC" panose="00000500000000000000" pitchFamily="2" charset="-79"/>
              </a:rPr>
              <a:t>til at systematisere drøftelser på møder. </a:t>
            </a:r>
          </a:p>
          <a:p>
            <a:pPr marL="360000" lvl="1"/>
            <a:endParaRPr lang="da-DK" sz="1400">
              <a:latin typeface="Quicksand" panose="020B0604020202020204"/>
              <a:cs typeface="Amatic SC" panose="00000500000000000000" pitchFamily="2" charset="-79"/>
            </a:endParaRPr>
          </a:p>
          <a:p>
            <a:pPr marL="360000" lvl="1"/>
            <a:r>
              <a:rPr lang="da-DK" sz="1400">
                <a:latin typeface="Quicksand" panose="020B0604020202020204"/>
                <a:cs typeface="Amatic SC" panose="00000500000000000000" pitchFamily="2" charset="-79"/>
              </a:rPr>
              <a:t>… </a:t>
            </a:r>
            <a:r>
              <a:rPr lang="da-DK" sz="1400" b="1">
                <a:latin typeface="Quicksand" panose="020B0604020202020204"/>
                <a:cs typeface="Amatic SC" panose="00000500000000000000" pitchFamily="2" charset="-79"/>
              </a:rPr>
              <a:t>sætte tid af til at analysere praksis på teammøderne</a:t>
            </a:r>
            <a:r>
              <a:rPr lang="da-DK" sz="1400">
                <a:latin typeface="Quicksand" panose="020B0604020202020204"/>
                <a:cs typeface="Amatic SC" panose="00000500000000000000" pitchFamily="2" charset="-79"/>
              </a:rPr>
              <a:t>, så der skabes rum til refleksion. </a:t>
            </a:r>
          </a:p>
          <a:p>
            <a:pPr marL="360000" lvl="1"/>
            <a:endParaRPr lang="da-DK" sz="1400">
              <a:latin typeface="Quicksand" panose="020B0604020202020204"/>
              <a:cs typeface="Amatic SC" panose="00000500000000000000" pitchFamily="2" charset="-79"/>
            </a:endParaRPr>
          </a:p>
          <a:p>
            <a:pPr marL="360000" lvl="1"/>
            <a:r>
              <a:rPr lang="da-DK" sz="1400">
                <a:latin typeface="Quicksand" panose="020B0604020202020204"/>
                <a:cs typeface="Amatic SC" panose="00000500000000000000" pitchFamily="2" charset="-79"/>
              </a:rPr>
              <a:t>… </a:t>
            </a:r>
            <a:r>
              <a:rPr lang="da-DK" sz="1400" b="1">
                <a:latin typeface="Quicksand" panose="020B0604020202020204"/>
                <a:cs typeface="Amatic SC" panose="00000500000000000000" pitchFamily="2" charset="-79"/>
              </a:rPr>
              <a:t>styrke teamenes adgang til sparring </a:t>
            </a:r>
            <a:r>
              <a:rPr lang="da-DK" sz="1400">
                <a:latin typeface="Quicksand" panose="020B0604020202020204"/>
                <a:cs typeface="Amatic SC" panose="00000500000000000000" pitchFamily="2" charset="-79"/>
              </a:rPr>
              <a:t>fra vejledere og PPR.</a:t>
            </a:r>
            <a:endParaRPr lang="da-DK" sz="1400">
              <a:solidFill>
                <a:schemeClr val="tx1"/>
              </a:solidFill>
              <a:latin typeface="Quicksand" panose="020B0604020202020204"/>
              <a:cs typeface="Amatic SC" panose="00000500000000000000" pitchFamily="2" charset="-79"/>
            </a:endParaRPr>
          </a:p>
        </p:txBody>
      </p:sp>
      <p:sp>
        <p:nvSpPr>
          <p:cNvPr id="8" name="TextBox 7">
            <a:extLst>
              <a:ext uri="{FF2B5EF4-FFF2-40B4-BE49-F238E27FC236}">
                <a16:creationId xmlns:a16="http://schemas.microsoft.com/office/drawing/2014/main" id="{C17575AC-6326-264C-378F-10DE84939037}"/>
              </a:ext>
            </a:extLst>
          </p:cNvPr>
          <p:cNvSpPr txBox="1"/>
          <p:nvPr/>
        </p:nvSpPr>
        <p:spPr>
          <a:xfrm>
            <a:off x="8754989" y="2290227"/>
            <a:ext cx="2666601" cy="1138773"/>
          </a:xfrm>
          <a:prstGeom prst="rect">
            <a:avLst/>
          </a:prstGeom>
          <a:noFill/>
          <a:ln>
            <a:noFill/>
          </a:ln>
        </p:spPr>
        <p:txBody>
          <a:bodyPr wrap="square" lIns="0" tIns="0" rIns="0" bIns="0" rtlCol="0">
            <a:spAutoFit/>
          </a:bodyPr>
          <a:lstStyle/>
          <a:p>
            <a:r>
              <a:rPr lang="da-DK" sz="1400" noProof="0">
                <a:solidFill>
                  <a:schemeClr val="accent4"/>
                </a:solidFill>
                <a:latin typeface="Quicksand" panose="020B0604020202020204"/>
              </a:rPr>
              <a:t>Jeg tænker ikke, vi har brug for et </a:t>
            </a:r>
            <a:r>
              <a:rPr lang="da-DK" sz="1400">
                <a:solidFill>
                  <a:schemeClr val="accent4"/>
                </a:solidFill>
                <a:latin typeface="Quicksand" panose="020B0604020202020204"/>
              </a:rPr>
              <a:t>nyt børnesyn på skolen, </a:t>
            </a:r>
            <a:r>
              <a:rPr lang="da-DK" sz="1400" noProof="0">
                <a:solidFill>
                  <a:schemeClr val="accent4"/>
                </a:solidFill>
                <a:latin typeface="Quicksand" panose="020B0604020202020204"/>
              </a:rPr>
              <a:t>men vi har brug for at arbejde med, hvordan børnesynet efterleves i praksis. </a:t>
            </a:r>
          </a:p>
          <a:p>
            <a:pPr algn="r"/>
            <a:r>
              <a:rPr lang="da-DK" sz="1000" i="1" noProof="0">
                <a:solidFill>
                  <a:schemeClr val="accent4"/>
                </a:solidFill>
                <a:latin typeface="Quicksand" panose="020B0604020202020204"/>
              </a:rPr>
              <a:t>Leder</a:t>
            </a:r>
            <a:endParaRPr lang="da-DK" sz="1400">
              <a:solidFill>
                <a:schemeClr val="accent4"/>
              </a:solidFill>
              <a:latin typeface="Quicksand" panose="020B0604020202020204" charset="0"/>
              <a:cs typeface="Quicksand" panose="020B0604020202020204" charset="0"/>
            </a:endParaRPr>
          </a:p>
          <a:p>
            <a:endParaRPr lang="da-DK" sz="800">
              <a:latin typeface="Quicksand" panose="020B0604020202020204" charset="0"/>
              <a:cs typeface="Quicksand" panose="020B0604020202020204" charset="0"/>
            </a:endParaRPr>
          </a:p>
        </p:txBody>
      </p:sp>
      <p:sp>
        <p:nvSpPr>
          <p:cNvPr id="11" name="Google Shape;1217;p48">
            <a:extLst>
              <a:ext uri="{FF2B5EF4-FFF2-40B4-BE49-F238E27FC236}">
                <a16:creationId xmlns:a16="http://schemas.microsoft.com/office/drawing/2014/main" id="{98EB45EF-6C33-45A5-90FF-035114568288}"/>
              </a:ext>
            </a:extLst>
          </p:cNvPr>
          <p:cNvSpPr/>
          <p:nvPr/>
        </p:nvSpPr>
        <p:spPr>
          <a:xfrm>
            <a:off x="886583" y="1748204"/>
            <a:ext cx="414830" cy="366421"/>
          </a:xfrm>
          <a:custGeom>
            <a:avLst/>
            <a:gdLst/>
            <a:ahLst/>
            <a:cxnLst/>
            <a:rect l="l" t="t" r="r" b="b"/>
            <a:pathLst>
              <a:path w="18981" h="16766" extrusionOk="0">
                <a:moveTo>
                  <a:pt x="5451" y="5475"/>
                </a:moveTo>
                <a:lnTo>
                  <a:pt x="5257" y="5548"/>
                </a:lnTo>
                <a:lnTo>
                  <a:pt x="5159" y="5597"/>
                </a:lnTo>
                <a:lnTo>
                  <a:pt x="5062" y="5670"/>
                </a:lnTo>
                <a:lnTo>
                  <a:pt x="5013" y="5743"/>
                </a:lnTo>
                <a:lnTo>
                  <a:pt x="4965" y="5816"/>
                </a:lnTo>
                <a:lnTo>
                  <a:pt x="4940" y="5889"/>
                </a:lnTo>
                <a:lnTo>
                  <a:pt x="4965" y="5962"/>
                </a:lnTo>
                <a:lnTo>
                  <a:pt x="5013" y="6011"/>
                </a:lnTo>
                <a:lnTo>
                  <a:pt x="5086" y="6059"/>
                </a:lnTo>
                <a:lnTo>
                  <a:pt x="5208" y="6059"/>
                </a:lnTo>
                <a:lnTo>
                  <a:pt x="5354" y="6035"/>
                </a:lnTo>
                <a:lnTo>
                  <a:pt x="5476" y="6011"/>
                </a:lnTo>
                <a:lnTo>
                  <a:pt x="5695" y="6011"/>
                </a:lnTo>
                <a:lnTo>
                  <a:pt x="5792" y="5986"/>
                </a:lnTo>
                <a:lnTo>
                  <a:pt x="5865" y="5913"/>
                </a:lnTo>
                <a:lnTo>
                  <a:pt x="5914" y="5816"/>
                </a:lnTo>
                <a:lnTo>
                  <a:pt x="5938" y="5743"/>
                </a:lnTo>
                <a:lnTo>
                  <a:pt x="5938" y="5694"/>
                </a:lnTo>
                <a:lnTo>
                  <a:pt x="5889" y="5573"/>
                </a:lnTo>
                <a:lnTo>
                  <a:pt x="5792" y="5500"/>
                </a:lnTo>
                <a:lnTo>
                  <a:pt x="5670" y="5475"/>
                </a:lnTo>
                <a:close/>
                <a:moveTo>
                  <a:pt x="4575" y="5986"/>
                </a:moveTo>
                <a:lnTo>
                  <a:pt x="4454" y="6011"/>
                </a:lnTo>
                <a:lnTo>
                  <a:pt x="4356" y="6035"/>
                </a:lnTo>
                <a:lnTo>
                  <a:pt x="4259" y="6084"/>
                </a:lnTo>
                <a:lnTo>
                  <a:pt x="4113" y="6205"/>
                </a:lnTo>
                <a:lnTo>
                  <a:pt x="4040" y="6254"/>
                </a:lnTo>
                <a:lnTo>
                  <a:pt x="3991" y="6351"/>
                </a:lnTo>
                <a:lnTo>
                  <a:pt x="3967" y="6424"/>
                </a:lnTo>
                <a:lnTo>
                  <a:pt x="3991" y="6522"/>
                </a:lnTo>
                <a:lnTo>
                  <a:pt x="4064" y="6570"/>
                </a:lnTo>
                <a:lnTo>
                  <a:pt x="4162" y="6619"/>
                </a:lnTo>
                <a:lnTo>
                  <a:pt x="4283" y="6595"/>
                </a:lnTo>
                <a:lnTo>
                  <a:pt x="4429" y="6546"/>
                </a:lnTo>
                <a:lnTo>
                  <a:pt x="4527" y="6522"/>
                </a:lnTo>
                <a:lnTo>
                  <a:pt x="4551" y="6497"/>
                </a:lnTo>
                <a:lnTo>
                  <a:pt x="4648" y="6473"/>
                </a:lnTo>
                <a:lnTo>
                  <a:pt x="4721" y="6424"/>
                </a:lnTo>
                <a:lnTo>
                  <a:pt x="4794" y="6327"/>
                </a:lnTo>
                <a:lnTo>
                  <a:pt x="4794" y="6205"/>
                </a:lnTo>
                <a:lnTo>
                  <a:pt x="4770" y="6108"/>
                </a:lnTo>
                <a:lnTo>
                  <a:pt x="4673" y="6035"/>
                </a:lnTo>
                <a:lnTo>
                  <a:pt x="4575" y="5986"/>
                </a:lnTo>
                <a:close/>
                <a:moveTo>
                  <a:pt x="7593" y="5962"/>
                </a:moveTo>
                <a:lnTo>
                  <a:pt x="7495" y="6011"/>
                </a:lnTo>
                <a:lnTo>
                  <a:pt x="7447" y="6059"/>
                </a:lnTo>
                <a:lnTo>
                  <a:pt x="7398" y="6132"/>
                </a:lnTo>
                <a:lnTo>
                  <a:pt x="7398" y="6181"/>
                </a:lnTo>
                <a:lnTo>
                  <a:pt x="7422" y="6254"/>
                </a:lnTo>
                <a:lnTo>
                  <a:pt x="7520" y="6351"/>
                </a:lnTo>
                <a:lnTo>
                  <a:pt x="7593" y="6424"/>
                </a:lnTo>
                <a:lnTo>
                  <a:pt x="7641" y="6449"/>
                </a:lnTo>
                <a:lnTo>
                  <a:pt x="7666" y="6473"/>
                </a:lnTo>
                <a:lnTo>
                  <a:pt x="7690" y="6497"/>
                </a:lnTo>
                <a:lnTo>
                  <a:pt x="7714" y="6546"/>
                </a:lnTo>
                <a:lnTo>
                  <a:pt x="7763" y="6619"/>
                </a:lnTo>
                <a:lnTo>
                  <a:pt x="7787" y="6668"/>
                </a:lnTo>
                <a:lnTo>
                  <a:pt x="7812" y="6692"/>
                </a:lnTo>
                <a:lnTo>
                  <a:pt x="7909" y="6741"/>
                </a:lnTo>
                <a:lnTo>
                  <a:pt x="8031" y="6741"/>
                </a:lnTo>
                <a:lnTo>
                  <a:pt x="8128" y="6716"/>
                </a:lnTo>
                <a:lnTo>
                  <a:pt x="8201" y="6643"/>
                </a:lnTo>
                <a:lnTo>
                  <a:pt x="8250" y="6546"/>
                </a:lnTo>
                <a:lnTo>
                  <a:pt x="8250" y="6449"/>
                </a:lnTo>
                <a:lnTo>
                  <a:pt x="8225" y="6351"/>
                </a:lnTo>
                <a:lnTo>
                  <a:pt x="8177" y="6254"/>
                </a:lnTo>
                <a:lnTo>
                  <a:pt x="8104" y="6181"/>
                </a:lnTo>
                <a:lnTo>
                  <a:pt x="8006" y="6108"/>
                </a:lnTo>
                <a:lnTo>
                  <a:pt x="7909" y="6035"/>
                </a:lnTo>
                <a:lnTo>
                  <a:pt x="7812" y="5986"/>
                </a:lnTo>
                <a:lnTo>
                  <a:pt x="7690" y="5962"/>
                </a:lnTo>
                <a:close/>
                <a:moveTo>
                  <a:pt x="3578" y="6741"/>
                </a:moveTo>
                <a:lnTo>
                  <a:pt x="3456" y="6765"/>
                </a:lnTo>
                <a:lnTo>
                  <a:pt x="3359" y="6814"/>
                </a:lnTo>
                <a:lnTo>
                  <a:pt x="3286" y="6887"/>
                </a:lnTo>
                <a:lnTo>
                  <a:pt x="3189" y="6960"/>
                </a:lnTo>
                <a:lnTo>
                  <a:pt x="3140" y="7081"/>
                </a:lnTo>
                <a:lnTo>
                  <a:pt x="3091" y="7179"/>
                </a:lnTo>
                <a:lnTo>
                  <a:pt x="3067" y="7300"/>
                </a:lnTo>
                <a:lnTo>
                  <a:pt x="3067" y="7398"/>
                </a:lnTo>
                <a:lnTo>
                  <a:pt x="3091" y="7446"/>
                </a:lnTo>
                <a:lnTo>
                  <a:pt x="3116" y="7471"/>
                </a:lnTo>
                <a:lnTo>
                  <a:pt x="3189" y="7519"/>
                </a:lnTo>
                <a:lnTo>
                  <a:pt x="3286" y="7544"/>
                </a:lnTo>
                <a:lnTo>
                  <a:pt x="3359" y="7519"/>
                </a:lnTo>
                <a:lnTo>
                  <a:pt x="3481" y="7446"/>
                </a:lnTo>
                <a:lnTo>
                  <a:pt x="3554" y="7325"/>
                </a:lnTo>
                <a:lnTo>
                  <a:pt x="3627" y="7276"/>
                </a:lnTo>
                <a:lnTo>
                  <a:pt x="3651" y="7252"/>
                </a:lnTo>
                <a:lnTo>
                  <a:pt x="3700" y="7227"/>
                </a:lnTo>
                <a:lnTo>
                  <a:pt x="3773" y="7179"/>
                </a:lnTo>
                <a:lnTo>
                  <a:pt x="3821" y="7106"/>
                </a:lnTo>
                <a:lnTo>
                  <a:pt x="3821" y="7033"/>
                </a:lnTo>
                <a:lnTo>
                  <a:pt x="3821" y="6935"/>
                </a:lnTo>
                <a:lnTo>
                  <a:pt x="3797" y="6862"/>
                </a:lnTo>
                <a:lnTo>
                  <a:pt x="3724" y="6789"/>
                </a:lnTo>
                <a:lnTo>
                  <a:pt x="3651" y="6765"/>
                </a:lnTo>
                <a:lnTo>
                  <a:pt x="3578" y="6741"/>
                </a:lnTo>
                <a:close/>
                <a:moveTo>
                  <a:pt x="16863" y="4526"/>
                </a:moveTo>
                <a:lnTo>
                  <a:pt x="16766" y="4575"/>
                </a:lnTo>
                <a:lnTo>
                  <a:pt x="16693" y="4624"/>
                </a:lnTo>
                <a:lnTo>
                  <a:pt x="16620" y="4697"/>
                </a:lnTo>
                <a:lnTo>
                  <a:pt x="16498" y="4843"/>
                </a:lnTo>
                <a:lnTo>
                  <a:pt x="16401" y="5037"/>
                </a:lnTo>
                <a:lnTo>
                  <a:pt x="16158" y="5500"/>
                </a:lnTo>
                <a:lnTo>
                  <a:pt x="15914" y="5962"/>
                </a:lnTo>
                <a:lnTo>
                  <a:pt x="15647" y="5816"/>
                </a:lnTo>
                <a:lnTo>
                  <a:pt x="15501" y="5719"/>
                </a:lnTo>
                <a:lnTo>
                  <a:pt x="15355" y="5670"/>
                </a:lnTo>
                <a:lnTo>
                  <a:pt x="15233" y="5646"/>
                </a:lnTo>
                <a:lnTo>
                  <a:pt x="15087" y="5597"/>
                </a:lnTo>
                <a:lnTo>
                  <a:pt x="15038" y="5573"/>
                </a:lnTo>
                <a:lnTo>
                  <a:pt x="15014" y="5573"/>
                </a:lnTo>
                <a:lnTo>
                  <a:pt x="14917" y="5621"/>
                </a:lnTo>
                <a:lnTo>
                  <a:pt x="14892" y="5646"/>
                </a:lnTo>
                <a:lnTo>
                  <a:pt x="14844" y="5694"/>
                </a:lnTo>
                <a:lnTo>
                  <a:pt x="14844" y="5767"/>
                </a:lnTo>
                <a:lnTo>
                  <a:pt x="14868" y="5840"/>
                </a:lnTo>
                <a:lnTo>
                  <a:pt x="14892" y="5913"/>
                </a:lnTo>
                <a:lnTo>
                  <a:pt x="15087" y="6059"/>
                </a:lnTo>
                <a:lnTo>
                  <a:pt x="15282" y="6181"/>
                </a:lnTo>
                <a:lnTo>
                  <a:pt x="15671" y="6424"/>
                </a:lnTo>
                <a:lnTo>
                  <a:pt x="15355" y="6984"/>
                </a:lnTo>
                <a:lnTo>
                  <a:pt x="15160" y="7252"/>
                </a:lnTo>
                <a:lnTo>
                  <a:pt x="14965" y="7519"/>
                </a:lnTo>
                <a:lnTo>
                  <a:pt x="14941" y="7592"/>
                </a:lnTo>
                <a:lnTo>
                  <a:pt x="14941" y="7641"/>
                </a:lnTo>
                <a:lnTo>
                  <a:pt x="14941" y="7714"/>
                </a:lnTo>
                <a:lnTo>
                  <a:pt x="14965" y="7763"/>
                </a:lnTo>
                <a:lnTo>
                  <a:pt x="15014" y="7836"/>
                </a:lnTo>
                <a:lnTo>
                  <a:pt x="15063" y="7860"/>
                </a:lnTo>
                <a:lnTo>
                  <a:pt x="15111" y="7884"/>
                </a:lnTo>
                <a:lnTo>
                  <a:pt x="15184" y="7909"/>
                </a:lnTo>
                <a:lnTo>
                  <a:pt x="15257" y="7884"/>
                </a:lnTo>
                <a:lnTo>
                  <a:pt x="15355" y="7860"/>
                </a:lnTo>
                <a:lnTo>
                  <a:pt x="15501" y="7763"/>
                </a:lnTo>
                <a:lnTo>
                  <a:pt x="15622" y="7641"/>
                </a:lnTo>
                <a:lnTo>
                  <a:pt x="15744" y="7471"/>
                </a:lnTo>
                <a:lnTo>
                  <a:pt x="15866" y="7276"/>
                </a:lnTo>
                <a:lnTo>
                  <a:pt x="15963" y="7081"/>
                </a:lnTo>
                <a:lnTo>
                  <a:pt x="16133" y="6716"/>
                </a:lnTo>
                <a:lnTo>
                  <a:pt x="16328" y="6862"/>
                </a:lnTo>
                <a:lnTo>
                  <a:pt x="16523" y="7008"/>
                </a:lnTo>
                <a:lnTo>
                  <a:pt x="16742" y="7106"/>
                </a:lnTo>
                <a:lnTo>
                  <a:pt x="16839" y="7130"/>
                </a:lnTo>
                <a:lnTo>
                  <a:pt x="16961" y="7154"/>
                </a:lnTo>
                <a:lnTo>
                  <a:pt x="17034" y="7130"/>
                </a:lnTo>
                <a:lnTo>
                  <a:pt x="17082" y="7106"/>
                </a:lnTo>
                <a:lnTo>
                  <a:pt x="17131" y="7057"/>
                </a:lnTo>
                <a:lnTo>
                  <a:pt x="17155" y="7008"/>
                </a:lnTo>
                <a:lnTo>
                  <a:pt x="17180" y="6960"/>
                </a:lnTo>
                <a:lnTo>
                  <a:pt x="17180" y="6887"/>
                </a:lnTo>
                <a:lnTo>
                  <a:pt x="17155" y="6814"/>
                </a:lnTo>
                <a:lnTo>
                  <a:pt x="17131" y="6765"/>
                </a:lnTo>
                <a:lnTo>
                  <a:pt x="16961" y="6619"/>
                </a:lnTo>
                <a:lnTo>
                  <a:pt x="16766" y="6497"/>
                </a:lnTo>
                <a:lnTo>
                  <a:pt x="16377" y="6254"/>
                </a:lnTo>
                <a:lnTo>
                  <a:pt x="16644" y="5670"/>
                </a:lnTo>
                <a:lnTo>
                  <a:pt x="16766" y="5427"/>
                </a:lnTo>
                <a:lnTo>
                  <a:pt x="16912" y="5183"/>
                </a:lnTo>
                <a:lnTo>
                  <a:pt x="17034" y="4916"/>
                </a:lnTo>
                <a:lnTo>
                  <a:pt x="17082" y="4770"/>
                </a:lnTo>
                <a:lnTo>
                  <a:pt x="17082" y="4648"/>
                </a:lnTo>
                <a:lnTo>
                  <a:pt x="17082" y="4599"/>
                </a:lnTo>
                <a:lnTo>
                  <a:pt x="17058" y="4551"/>
                </a:lnTo>
                <a:lnTo>
                  <a:pt x="17009" y="4526"/>
                </a:lnTo>
                <a:close/>
                <a:moveTo>
                  <a:pt x="8420" y="6838"/>
                </a:moveTo>
                <a:lnTo>
                  <a:pt x="8371" y="6862"/>
                </a:lnTo>
                <a:lnTo>
                  <a:pt x="8298" y="6911"/>
                </a:lnTo>
                <a:lnTo>
                  <a:pt x="8274" y="6984"/>
                </a:lnTo>
                <a:lnTo>
                  <a:pt x="8250" y="7081"/>
                </a:lnTo>
                <a:lnTo>
                  <a:pt x="8274" y="7179"/>
                </a:lnTo>
                <a:lnTo>
                  <a:pt x="8298" y="7276"/>
                </a:lnTo>
                <a:lnTo>
                  <a:pt x="8347" y="7373"/>
                </a:lnTo>
                <a:lnTo>
                  <a:pt x="8420" y="7519"/>
                </a:lnTo>
                <a:lnTo>
                  <a:pt x="8444" y="7665"/>
                </a:lnTo>
                <a:lnTo>
                  <a:pt x="8444" y="7763"/>
                </a:lnTo>
                <a:lnTo>
                  <a:pt x="8493" y="7836"/>
                </a:lnTo>
                <a:lnTo>
                  <a:pt x="8566" y="7909"/>
                </a:lnTo>
                <a:lnTo>
                  <a:pt x="8663" y="7933"/>
                </a:lnTo>
                <a:lnTo>
                  <a:pt x="8761" y="7957"/>
                </a:lnTo>
                <a:lnTo>
                  <a:pt x="8882" y="7909"/>
                </a:lnTo>
                <a:lnTo>
                  <a:pt x="8980" y="7836"/>
                </a:lnTo>
                <a:lnTo>
                  <a:pt x="9004" y="7787"/>
                </a:lnTo>
                <a:lnTo>
                  <a:pt x="9028" y="7738"/>
                </a:lnTo>
                <a:lnTo>
                  <a:pt x="9028" y="7592"/>
                </a:lnTo>
                <a:lnTo>
                  <a:pt x="9004" y="7446"/>
                </a:lnTo>
                <a:lnTo>
                  <a:pt x="8955" y="7325"/>
                </a:lnTo>
                <a:lnTo>
                  <a:pt x="8882" y="7179"/>
                </a:lnTo>
                <a:lnTo>
                  <a:pt x="8809" y="7057"/>
                </a:lnTo>
                <a:lnTo>
                  <a:pt x="8712" y="6960"/>
                </a:lnTo>
                <a:lnTo>
                  <a:pt x="8663" y="6911"/>
                </a:lnTo>
                <a:lnTo>
                  <a:pt x="8615" y="6862"/>
                </a:lnTo>
                <a:lnTo>
                  <a:pt x="8542" y="6838"/>
                </a:lnTo>
                <a:close/>
                <a:moveTo>
                  <a:pt x="16255" y="7495"/>
                </a:moveTo>
                <a:lnTo>
                  <a:pt x="16206" y="7544"/>
                </a:lnTo>
                <a:lnTo>
                  <a:pt x="16158" y="7592"/>
                </a:lnTo>
                <a:lnTo>
                  <a:pt x="16158" y="7714"/>
                </a:lnTo>
                <a:lnTo>
                  <a:pt x="16158" y="7836"/>
                </a:lnTo>
                <a:lnTo>
                  <a:pt x="16206" y="7982"/>
                </a:lnTo>
                <a:lnTo>
                  <a:pt x="16231" y="8030"/>
                </a:lnTo>
                <a:lnTo>
                  <a:pt x="16279" y="8079"/>
                </a:lnTo>
                <a:lnTo>
                  <a:pt x="16304" y="8103"/>
                </a:lnTo>
                <a:lnTo>
                  <a:pt x="16377" y="8128"/>
                </a:lnTo>
                <a:lnTo>
                  <a:pt x="16474" y="8128"/>
                </a:lnTo>
                <a:lnTo>
                  <a:pt x="16523" y="8103"/>
                </a:lnTo>
                <a:lnTo>
                  <a:pt x="16547" y="8055"/>
                </a:lnTo>
                <a:lnTo>
                  <a:pt x="16571" y="8006"/>
                </a:lnTo>
                <a:lnTo>
                  <a:pt x="16571" y="7957"/>
                </a:lnTo>
                <a:lnTo>
                  <a:pt x="16547" y="7836"/>
                </a:lnTo>
                <a:lnTo>
                  <a:pt x="16523" y="7738"/>
                </a:lnTo>
                <a:lnTo>
                  <a:pt x="16474" y="7641"/>
                </a:lnTo>
                <a:lnTo>
                  <a:pt x="16401" y="7544"/>
                </a:lnTo>
                <a:lnTo>
                  <a:pt x="16328" y="7495"/>
                </a:lnTo>
                <a:close/>
                <a:moveTo>
                  <a:pt x="2897" y="7836"/>
                </a:moveTo>
                <a:lnTo>
                  <a:pt x="2799" y="7860"/>
                </a:lnTo>
                <a:lnTo>
                  <a:pt x="2702" y="7909"/>
                </a:lnTo>
                <a:lnTo>
                  <a:pt x="2629" y="7982"/>
                </a:lnTo>
                <a:lnTo>
                  <a:pt x="2556" y="8079"/>
                </a:lnTo>
                <a:lnTo>
                  <a:pt x="2507" y="8201"/>
                </a:lnTo>
                <a:lnTo>
                  <a:pt x="2507" y="8347"/>
                </a:lnTo>
                <a:lnTo>
                  <a:pt x="2507" y="8468"/>
                </a:lnTo>
                <a:lnTo>
                  <a:pt x="2556" y="8517"/>
                </a:lnTo>
                <a:lnTo>
                  <a:pt x="2580" y="8566"/>
                </a:lnTo>
                <a:lnTo>
                  <a:pt x="2678" y="8614"/>
                </a:lnTo>
                <a:lnTo>
                  <a:pt x="2799" y="8614"/>
                </a:lnTo>
                <a:lnTo>
                  <a:pt x="2848" y="8590"/>
                </a:lnTo>
                <a:lnTo>
                  <a:pt x="2897" y="8566"/>
                </a:lnTo>
                <a:lnTo>
                  <a:pt x="2970" y="8493"/>
                </a:lnTo>
                <a:lnTo>
                  <a:pt x="3018" y="8420"/>
                </a:lnTo>
                <a:lnTo>
                  <a:pt x="3116" y="8274"/>
                </a:lnTo>
                <a:lnTo>
                  <a:pt x="3140" y="8152"/>
                </a:lnTo>
                <a:lnTo>
                  <a:pt x="3140" y="8055"/>
                </a:lnTo>
                <a:lnTo>
                  <a:pt x="3091" y="7957"/>
                </a:lnTo>
                <a:lnTo>
                  <a:pt x="3018" y="7884"/>
                </a:lnTo>
                <a:lnTo>
                  <a:pt x="2897" y="7836"/>
                </a:lnTo>
                <a:close/>
                <a:moveTo>
                  <a:pt x="8955" y="8152"/>
                </a:moveTo>
                <a:lnTo>
                  <a:pt x="8882" y="8201"/>
                </a:lnTo>
                <a:lnTo>
                  <a:pt x="8858" y="8274"/>
                </a:lnTo>
                <a:lnTo>
                  <a:pt x="8858" y="8371"/>
                </a:lnTo>
                <a:lnTo>
                  <a:pt x="8858" y="8468"/>
                </a:lnTo>
                <a:lnTo>
                  <a:pt x="8907" y="8639"/>
                </a:lnTo>
                <a:lnTo>
                  <a:pt x="8955" y="8760"/>
                </a:lnTo>
                <a:lnTo>
                  <a:pt x="8980" y="8858"/>
                </a:lnTo>
                <a:lnTo>
                  <a:pt x="9053" y="8955"/>
                </a:lnTo>
                <a:lnTo>
                  <a:pt x="9101" y="9004"/>
                </a:lnTo>
                <a:lnTo>
                  <a:pt x="9150" y="9028"/>
                </a:lnTo>
                <a:lnTo>
                  <a:pt x="9296" y="9028"/>
                </a:lnTo>
                <a:lnTo>
                  <a:pt x="9369" y="8979"/>
                </a:lnTo>
                <a:lnTo>
                  <a:pt x="9393" y="8931"/>
                </a:lnTo>
                <a:lnTo>
                  <a:pt x="9418" y="8858"/>
                </a:lnTo>
                <a:lnTo>
                  <a:pt x="9418" y="8785"/>
                </a:lnTo>
                <a:lnTo>
                  <a:pt x="9393" y="8639"/>
                </a:lnTo>
                <a:lnTo>
                  <a:pt x="9369" y="8614"/>
                </a:lnTo>
                <a:lnTo>
                  <a:pt x="9345" y="8517"/>
                </a:lnTo>
                <a:lnTo>
                  <a:pt x="9247" y="8322"/>
                </a:lnTo>
                <a:lnTo>
                  <a:pt x="9199" y="8225"/>
                </a:lnTo>
                <a:lnTo>
                  <a:pt x="9101" y="8176"/>
                </a:lnTo>
                <a:lnTo>
                  <a:pt x="9028" y="8152"/>
                </a:lnTo>
                <a:close/>
                <a:moveTo>
                  <a:pt x="16352" y="8541"/>
                </a:moveTo>
                <a:lnTo>
                  <a:pt x="16279" y="8566"/>
                </a:lnTo>
                <a:lnTo>
                  <a:pt x="16231" y="8614"/>
                </a:lnTo>
                <a:lnTo>
                  <a:pt x="16206" y="8663"/>
                </a:lnTo>
                <a:lnTo>
                  <a:pt x="16182" y="8736"/>
                </a:lnTo>
                <a:lnTo>
                  <a:pt x="16182" y="8858"/>
                </a:lnTo>
                <a:lnTo>
                  <a:pt x="16206" y="8979"/>
                </a:lnTo>
                <a:lnTo>
                  <a:pt x="16231" y="9174"/>
                </a:lnTo>
                <a:lnTo>
                  <a:pt x="16255" y="9296"/>
                </a:lnTo>
                <a:lnTo>
                  <a:pt x="16304" y="9369"/>
                </a:lnTo>
                <a:lnTo>
                  <a:pt x="16401" y="9417"/>
                </a:lnTo>
                <a:lnTo>
                  <a:pt x="16498" y="9417"/>
                </a:lnTo>
                <a:lnTo>
                  <a:pt x="16596" y="9393"/>
                </a:lnTo>
                <a:lnTo>
                  <a:pt x="16669" y="9320"/>
                </a:lnTo>
                <a:lnTo>
                  <a:pt x="16693" y="9223"/>
                </a:lnTo>
                <a:lnTo>
                  <a:pt x="16693" y="9101"/>
                </a:lnTo>
                <a:lnTo>
                  <a:pt x="16644" y="8882"/>
                </a:lnTo>
                <a:lnTo>
                  <a:pt x="16596" y="8760"/>
                </a:lnTo>
                <a:lnTo>
                  <a:pt x="16547" y="8639"/>
                </a:lnTo>
                <a:lnTo>
                  <a:pt x="16523" y="8590"/>
                </a:lnTo>
                <a:lnTo>
                  <a:pt x="16474" y="8541"/>
                </a:lnTo>
                <a:close/>
                <a:moveTo>
                  <a:pt x="2434" y="9077"/>
                </a:moveTo>
                <a:lnTo>
                  <a:pt x="2337" y="9101"/>
                </a:lnTo>
                <a:lnTo>
                  <a:pt x="2264" y="9125"/>
                </a:lnTo>
                <a:lnTo>
                  <a:pt x="2191" y="9198"/>
                </a:lnTo>
                <a:lnTo>
                  <a:pt x="2142" y="9271"/>
                </a:lnTo>
                <a:lnTo>
                  <a:pt x="2118" y="9369"/>
                </a:lnTo>
                <a:lnTo>
                  <a:pt x="2094" y="9515"/>
                </a:lnTo>
                <a:lnTo>
                  <a:pt x="2094" y="9612"/>
                </a:lnTo>
                <a:lnTo>
                  <a:pt x="2094" y="9685"/>
                </a:lnTo>
                <a:lnTo>
                  <a:pt x="2118" y="9782"/>
                </a:lnTo>
                <a:lnTo>
                  <a:pt x="2191" y="9831"/>
                </a:lnTo>
                <a:lnTo>
                  <a:pt x="2240" y="9879"/>
                </a:lnTo>
                <a:lnTo>
                  <a:pt x="2337" y="9904"/>
                </a:lnTo>
                <a:lnTo>
                  <a:pt x="2410" y="9879"/>
                </a:lnTo>
                <a:lnTo>
                  <a:pt x="2483" y="9831"/>
                </a:lnTo>
                <a:lnTo>
                  <a:pt x="2556" y="9733"/>
                </a:lnTo>
                <a:lnTo>
                  <a:pt x="2580" y="9612"/>
                </a:lnTo>
                <a:lnTo>
                  <a:pt x="2653" y="9417"/>
                </a:lnTo>
                <a:lnTo>
                  <a:pt x="2653" y="9320"/>
                </a:lnTo>
                <a:lnTo>
                  <a:pt x="2653" y="9247"/>
                </a:lnTo>
                <a:lnTo>
                  <a:pt x="2605" y="9174"/>
                </a:lnTo>
                <a:lnTo>
                  <a:pt x="2532" y="9125"/>
                </a:lnTo>
                <a:lnTo>
                  <a:pt x="2434" y="9077"/>
                </a:lnTo>
                <a:close/>
                <a:moveTo>
                  <a:pt x="9272" y="9296"/>
                </a:moveTo>
                <a:lnTo>
                  <a:pt x="9199" y="9344"/>
                </a:lnTo>
                <a:lnTo>
                  <a:pt x="9101" y="9417"/>
                </a:lnTo>
                <a:lnTo>
                  <a:pt x="9077" y="9539"/>
                </a:lnTo>
                <a:lnTo>
                  <a:pt x="9053" y="9661"/>
                </a:lnTo>
                <a:lnTo>
                  <a:pt x="9077" y="9782"/>
                </a:lnTo>
                <a:lnTo>
                  <a:pt x="9126" y="9904"/>
                </a:lnTo>
                <a:lnTo>
                  <a:pt x="9174" y="10001"/>
                </a:lnTo>
                <a:lnTo>
                  <a:pt x="9247" y="10123"/>
                </a:lnTo>
                <a:lnTo>
                  <a:pt x="9320" y="10196"/>
                </a:lnTo>
                <a:lnTo>
                  <a:pt x="9393" y="10220"/>
                </a:lnTo>
                <a:lnTo>
                  <a:pt x="9442" y="10220"/>
                </a:lnTo>
                <a:lnTo>
                  <a:pt x="9564" y="10196"/>
                </a:lnTo>
                <a:lnTo>
                  <a:pt x="9612" y="10147"/>
                </a:lnTo>
                <a:lnTo>
                  <a:pt x="9661" y="10123"/>
                </a:lnTo>
                <a:lnTo>
                  <a:pt x="9685" y="10050"/>
                </a:lnTo>
                <a:lnTo>
                  <a:pt x="9685" y="10001"/>
                </a:lnTo>
                <a:lnTo>
                  <a:pt x="9685" y="9904"/>
                </a:lnTo>
                <a:lnTo>
                  <a:pt x="9637" y="9806"/>
                </a:lnTo>
                <a:lnTo>
                  <a:pt x="9539" y="9636"/>
                </a:lnTo>
                <a:lnTo>
                  <a:pt x="9515" y="9515"/>
                </a:lnTo>
                <a:lnTo>
                  <a:pt x="9442" y="9393"/>
                </a:lnTo>
                <a:lnTo>
                  <a:pt x="9393" y="9344"/>
                </a:lnTo>
                <a:lnTo>
                  <a:pt x="9345" y="9320"/>
                </a:lnTo>
                <a:lnTo>
                  <a:pt x="9272" y="9296"/>
                </a:lnTo>
                <a:close/>
                <a:moveTo>
                  <a:pt x="16231" y="9855"/>
                </a:moveTo>
                <a:lnTo>
                  <a:pt x="16231" y="9879"/>
                </a:lnTo>
                <a:lnTo>
                  <a:pt x="16182" y="9904"/>
                </a:lnTo>
                <a:lnTo>
                  <a:pt x="16133" y="9952"/>
                </a:lnTo>
                <a:lnTo>
                  <a:pt x="16060" y="10098"/>
                </a:lnTo>
                <a:lnTo>
                  <a:pt x="16012" y="10293"/>
                </a:lnTo>
                <a:lnTo>
                  <a:pt x="16012" y="10390"/>
                </a:lnTo>
                <a:lnTo>
                  <a:pt x="16012" y="10463"/>
                </a:lnTo>
                <a:lnTo>
                  <a:pt x="16085" y="10561"/>
                </a:lnTo>
                <a:lnTo>
                  <a:pt x="16182" y="10634"/>
                </a:lnTo>
                <a:lnTo>
                  <a:pt x="16304" y="10634"/>
                </a:lnTo>
                <a:lnTo>
                  <a:pt x="16352" y="10609"/>
                </a:lnTo>
                <a:lnTo>
                  <a:pt x="16401" y="10561"/>
                </a:lnTo>
                <a:lnTo>
                  <a:pt x="16450" y="10488"/>
                </a:lnTo>
                <a:lnTo>
                  <a:pt x="16474" y="10415"/>
                </a:lnTo>
                <a:lnTo>
                  <a:pt x="16498" y="10244"/>
                </a:lnTo>
                <a:lnTo>
                  <a:pt x="16498" y="10147"/>
                </a:lnTo>
                <a:lnTo>
                  <a:pt x="16498" y="10050"/>
                </a:lnTo>
                <a:lnTo>
                  <a:pt x="16474" y="9952"/>
                </a:lnTo>
                <a:lnTo>
                  <a:pt x="16425" y="9879"/>
                </a:lnTo>
                <a:lnTo>
                  <a:pt x="16328" y="9855"/>
                </a:lnTo>
                <a:close/>
                <a:moveTo>
                  <a:pt x="2167" y="10244"/>
                </a:moveTo>
                <a:lnTo>
                  <a:pt x="2045" y="10269"/>
                </a:lnTo>
                <a:lnTo>
                  <a:pt x="1972" y="10317"/>
                </a:lnTo>
                <a:lnTo>
                  <a:pt x="1875" y="10463"/>
                </a:lnTo>
                <a:lnTo>
                  <a:pt x="1826" y="10634"/>
                </a:lnTo>
                <a:lnTo>
                  <a:pt x="1802" y="10804"/>
                </a:lnTo>
                <a:lnTo>
                  <a:pt x="1850" y="10926"/>
                </a:lnTo>
                <a:lnTo>
                  <a:pt x="1923" y="11023"/>
                </a:lnTo>
                <a:lnTo>
                  <a:pt x="1948" y="11072"/>
                </a:lnTo>
                <a:lnTo>
                  <a:pt x="2021" y="11096"/>
                </a:lnTo>
                <a:lnTo>
                  <a:pt x="2118" y="11096"/>
                </a:lnTo>
                <a:lnTo>
                  <a:pt x="2191" y="11072"/>
                </a:lnTo>
                <a:lnTo>
                  <a:pt x="2215" y="11023"/>
                </a:lnTo>
                <a:lnTo>
                  <a:pt x="2288" y="10950"/>
                </a:lnTo>
                <a:lnTo>
                  <a:pt x="2313" y="10877"/>
                </a:lnTo>
                <a:lnTo>
                  <a:pt x="2337" y="10780"/>
                </a:lnTo>
                <a:lnTo>
                  <a:pt x="2337" y="10755"/>
                </a:lnTo>
                <a:lnTo>
                  <a:pt x="2337" y="10731"/>
                </a:lnTo>
                <a:lnTo>
                  <a:pt x="2386" y="10658"/>
                </a:lnTo>
                <a:lnTo>
                  <a:pt x="2410" y="10561"/>
                </a:lnTo>
                <a:lnTo>
                  <a:pt x="2434" y="10488"/>
                </a:lnTo>
                <a:lnTo>
                  <a:pt x="2410" y="10390"/>
                </a:lnTo>
                <a:lnTo>
                  <a:pt x="2337" y="10317"/>
                </a:lnTo>
                <a:lnTo>
                  <a:pt x="2264" y="10269"/>
                </a:lnTo>
                <a:lnTo>
                  <a:pt x="2167" y="10244"/>
                </a:lnTo>
                <a:close/>
                <a:moveTo>
                  <a:pt x="9661" y="10512"/>
                </a:moveTo>
                <a:lnTo>
                  <a:pt x="9612" y="10536"/>
                </a:lnTo>
                <a:lnTo>
                  <a:pt x="9539" y="10609"/>
                </a:lnTo>
                <a:lnTo>
                  <a:pt x="9491" y="10658"/>
                </a:lnTo>
                <a:lnTo>
                  <a:pt x="9491" y="10731"/>
                </a:lnTo>
                <a:lnTo>
                  <a:pt x="9491" y="10877"/>
                </a:lnTo>
                <a:lnTo>
                  <a:pt x="9539" y="11023"/>
                </a:lnTo>
                <a:lnTo>
                  <a:pt x="9588" y="11169"/>
                </a:lnTo>
                <a:lnTo>
                  <a:pt x="9637" y="11242"/>
                </a:lnTo>
                <a:lnTo>
                  <a:pt x="9710" y="11315"/>
                </a:lnTo>
                <a:lnTo>
                  <a:pt x="9783" y="11339"/>
                </a:lnTo>
                <a:lnTo>
                  <a:pt x="9880" y="11339"/>
                </a:lnTo>
                <a:lnTo>
                  <a:pt x="9977" y="11291"/>
                </a:lnTo>
                <a:lnTo>
                  <a:pt x="10026" y="11218"/>
                </a:lnTo>
                <a:lnTo>
                  <a:pt x="10075" y="11120"/>
                </a:lnTo>
                <a:lnTo>
                  <a:pt x="10050" y="11023"/>
                </a:lnTo>
                <a:lnTo>
                  <a:pt x="10002" y="10877"/>
                </a:lnTo>
                <a:lnTo>
                  <a:pt x="9929" y="10731"/>
                </a:lnTo>
                <a:lnTo>
                  <a:pt x="9831" y="10609"/>
                </a:lnTo>
                <a:lnTo>
                  <a:pt x="9783" y="10561"/>
                </a:lnTo>
                <a:lnTo>
                  <a:pt x="9710" y="10536"/>
                </a:lnTo>
                <a:lnTo>
                  <a:pt x="9661" y="10512"/>
                </a:lnTo>
                <a:close/>
                <a:moveTo>
                  <a:pt x="15987" y="10999"/>
                </a:moveTo>
                <a:lnTo>
                  <a:pt x="15890" y="11047"/>
                </a:lnTo>
                <a:lnTo>
                  <a:pt x="15817" y="11120"/>
                </a:lnTo>
                <a:lnTo>
                  <a:pt x="15720" y="11291"/>
                </a:lnTo>
                <a:lnTo>
                  <a:pt x="15598" y="11461"/>
                </a:lnTo>
                <a:lnTo>
                  <a:pt x="15525" y="11631"/>
                </a:lnTo>
                <a:lnTo>
                  <a:pt x="15525" y="11729"/>
                </a:lnTo>
                <a:lnTo>
                  <a:pt x="15549" y="11802"/>
                </a:lnTo>
                <a:lnTo>
                  <a:pt x="15598" y="11850"/>
                </a:lnTo>
                <a:lnTo>
                  <a:pt x="15647" y="11899"/>
                </a:lnTo>
                <a:lnTo>
                  <a:pt x="15720" y="11948"/>
                </a:lnTo>
                <a:lnTo>
                  <a:pt x="15793" y="11948"/>
                </a:lnTo>
                <a:lnTo>
                  <a:pt x="15866" y="11923"/>
                </a:lnTo>
                <a:lnTo>
                  <a:pt x="15939" y="11875"/>
                </a:lnTo>
                <a:lnTo>
                  <a:pt x="16036" y="11704"/>
                </a:lnTo>
                <a:lnTo>
                  <a:pt x="16109" y="11510"/>
                </a:lnTo>
                <a:lnTo>
                  <a:pt x="16182" y="11315"/>
                </a:lnTo>
                <a:lnTo>
                  <a:pt x="16206" y="11218"/>
                </a:lnTo>
                <a:lnTo>
                  <a:pt x="16206" y="11120"/>
                </a:lnTo>
                <a:lnTo>
                  <a:pt x="16182" y="11047"/>
                </a:lnTo>
                <a:lnTo>
                  <a:pt x="16133" y="11023"/>
                </a:lnTo>
                <a:lnTo>
                  <a:pt x="16060" y="10999"/>
                </a:lnTo>
                <a:close/>
                <a:moveTo>
                  <a:pt x="1996" y="11437"/>
                </a:moveTo>
                <a:lnTo>
                  <a:pt x="1948" y="11461"/>
                </a:lnTo>
                <a:lnTo>
                  <a:pt x="1875" y="11485"/>
                </a:lnTo>
                <a:lnTo>
                  <a:pt x="1826" y="11558"/>
                </a:lnTo>
                <a:lnTo>
                  <a:pt x="1802" y="11607"/>
                </a:lnTo>
                <a:lnTo>
                  <a:pt x="1777" y="11680"/>
                </a:lnTo>
                <a:lnTo>
                  <a:pt x="1777" y="11826"/>
                </a:lnTo>
                <a:lnTo>
                  <a:pt x="1777" y="11899"/>
                </a:lnTo>
                <a:lnTo>
                  <a:pt x="1802" y="12021"/>
                </a:lnTo>
                <a:lnTo>
                  <a:pt x="1850" y="12094"/>
                </a:lnTo>
                <a:lnTo>
                  <a:pt x="1899" y="12142"/>
                </a:lnTo>
                <a:lnTo>
                  <a:pt x="1972" y="12167"/>
                </a:lnTo>
                <a:lnTo>
                  <a:pt x="2069" y="12167"/>
                </a:lnTo>
                <a:lnTo>
                  <a:pt x="2118" y="12142"/>
                </a:lnTo>
                <a:lnTo>
                  <a:pt x="2191" y="12094"/>
                </a:lnTo>
                <a:lnTo>
                  <a:pt x="2215" y="12021"/>
                </a:lnTo>
                <a:lnTo>
                  <a:pt x="2264" y="11875"/>
                </a:lnTo>
                <a:lnTo>
                  <a:pt x="2288" y="11753"/>
                </a:lnTo>
                <a:lnTo>
                  <a:pt x="2288" y="11680"/>
                </a:lnTo>
                <a:lnTo>
                  <a:pt x="2288" y="11607"/>
                </a:lnTo>
                <a:lnTo>
                  <a:pt x="2264" y="11534"/>
                </a:lnTo>
                <a:lnTo>
                  <a:pt x="2215" y="11485"/>
                </a:lnTo>
                <a:lnTo>
                  <a:pt x="2142" y="11437"/>
                </a:lnTo>
                <a:close/>
                <a:moveTo>
                  <a:pt x="10221" y="11753"/>
                </a:moveTo>
                <a:lnTo>
                  <a:pt x="10123" y="11802"/>
                </a:lnTo>
                <a:lnTo>
                  <a:pt x="10075" y="11875"/>
                </a:lnTo>
                <a:lnTo>
                  <a:pt x="10075" y="11996"/>
                </a:lnTo>
                <a:lnTo>
                  <a:pt x="10123" y="12094"/>
                </a:lnTo>
                <a:lnTo>
                  <a:pt x="10172" y="12191"/>
                </a:lnTo>
                <a:lnTo>
                  <a:pt x="10342" y="12337"/>
                </a:lnTo>
                <a:lnTo>
                  <a:pt x="10440" y="12410"/>
                </a:lnTo>
                <a:lnTo>
                  <a:pt x="10561" y="12483"/>
                </a:lnTo>
                <a:lnTo>
                  <a:pt x="10683" y="12532"/>
                </a:lnTo>
                <a:lnTo>
                  <a:pt x="10829" y="12532"/>
                </a:lnTo>
                <a:lnTo>
                  <a:pt x="10926" y="12507"/>
                </a:lnTo>
                <a:lnTo>
                  <a:pt x="10999" y="12459"/>
                </a:lnTo>
                <a:lnTo>
                  <a:pt x="11048" y="12386"/>
                </a:lnTo>
                <a:lnTo>
                  <a:pt x="11072" y="12313"/>
                </a:lnTo>
                <a:lnTo>
                  <a:pt x="11072" y="12240"/>
                </a:lnTo>
                <a:lnTo>
                  <a:pt x="11048" y="12167"/>
                </a:lnTo>
                <a:lnTo>
                  <a:pt x="10975" y="12094"/>
                </a:lnTo>
                <a:lnTo>
                  <a:pt x="10902" y="12045"/>
                </a:lnTo>
                <a:lnTo>
                  <a:pt x="10756" y="12021"/>
                </a:lnTo>
                <a:lnTo>
                  <a:pt x="10634" y="11948"/>
                </a:lnTo>
                <a:lnTo>
                  <a:pt x="10488" y="11826"/>
                </a:lnTo>
                <a:lnTo>
                  <a:pt x="10415" y="11777"/>
                </a:lnTo>
                <a:lnTo>
                  <a:pt x="10318" y="11753"/>
                </a:lnTo>
                <a:close/>
                <a:moveTo>
                  <a:pt x="15306" y="11996"/>
                </a:moveTo>
                <a:lnTo>
                  <a:pt x="15257" y="12045"/>
                </a:lnTo>
                <a:lnTo>
                  <a:pt x="15136" y="12167"/>
                </a:lnTo>
                <a:lnTo>
                  <a:pt x="15014" y="12288"/>
                </a:lnTo>
                <a:lnTo>
                  <a:pt x="14868" y="12386"/>
                </a:lnTo>
                <a:lnTo>
                  <a:pt x="14795" y="12434"/>
                </a:lnTo>
                <a:lnTo>
                  <a:pt x="14722" y="12483"/>
                </a:lnTo>
                <a:lnTo>
                  <a:pt x="14698" y="12532"/>
                </a:lnTo>
                <a:lnTo>
                  <a:pt x="14698" y="12605"/>
                </a:lnTo>
                <a:lnTo>
                  <a:pt x="14722" y="12653"/>
                </a:lnTo>
                <a:lnTo>
                  <a:pt x="14746" y="12678"/>
                </a:lnTo>
                <a:lnTo>
                  <a:pt x="14868" y="12726"/>
                </a:lnTo>
                <a:lnTo>
                  <a:pt x="14990" y="12726"/>
                </a:lnTo>
                <a:lnTo>
                  <a:pt x="15111" y="12702"/>
                </a:lnTo>
                <a:lnTo>
                  <a:pt x="15209" y="12629"/>
                </a:lnTo>
                <a:lnTo>
                  <a:pt x="15330" y="12556"/>
                </a:lnTo>
                <a:lnTo>
                  <a:pt x="15428" y="12483"/>
                </a:lnTo>
                <a:lnTo>
                  <a:pt x="15501" y="12386"/>
                </a:lnTo>
                <a:lnTo>
                  <a:pt x="15574" y="12288"/>
                </a:lnTo>
                <a:lnTo>
                  <a:pt x="15598" y="12215"/>
                </a:lnTo>
                <a:lnTo>
                  <a:pt x="15598" y="12142"/>
                </a:lnTo>
                <a:lnTo>
                  <a:pt x="15574" y="12094"/>
                </a:lnTo>
                <a:lnTo>
                  <a:pt x="15525" y="12045"/>
                </a:lnTo>
                <a:lnTo>
                  <a:pt x="15452" y="11996"/>
                </a:lnTo>
                <a:close/>
                <a:moveTo>
                  <a:pt x="14114" y="12605"/>
                </a:moveTo>
                <a:lnTo>
                  <a:pt x="14041" y="12629"/>
                </a:lnTo>
                <a:lnTo>
                  <a:pt x="13968" y="12678"/>
                </a:lnTo>
                <a:lnTo>
                  <a:pt x="13895" y="12726"/>
                </a:lnTo>
                <a:lnTo>
                  <a:pt x="13797" y="12751"/>
                </a:lnTo>
                <a:lnTo>
                  <a:pt x="13700" y="12751"/>
                </a:lnTo>
                <a:lnTo>
                  <a:pt x="13578" y="12775"/>
                </a:lnTo>
                <a:lnTo>
                  <a:pt x="13481" y="12848"/>
                </a:lnTo>
                <a:lnTo>
                  <a:pt x="13432" y="12872"/>
                </a:lnTo>
                <a:lnTo>
                  <a:pt x="13408" y="12921"/>
                </a:lnTo>
                <a:lnTo>
                  <a:pt x="13408" y="12970"/>
                </a:lnTo>
                <a:lnTo>
                  <a:pt x="13432" y="13018"/>
                </a:lnTo>
                <a:lnTo>
                  <a:pt x="13457" y="13091"/>
                </a:lnTo>
                <a:lnTo>
                  <a:pt x="13505" y="13116"/>
                </a:lnTo>
                <a:lnTo>
                  <a:pt x="13603" y="13164"/>
                </a:lnTo>
                <a:lnTo>
                  <a:pt x="13724" y="13189"/>
                </a:lnTo>
                <a:lnTo>
                  <a:pt x="13870" y="13189"/>
                </a:lnTo>
                <a:lnTo>
                  <a:pt x="14016" y="13164"/>
                </a:lnTo>
                <a:lnTo>
                  <a:pt x="14162" y="13091"/>
                </a:lnTo>
                <a:lnTo>
                  <a:pt x="14284" y="12994"/>
                </a:lnTo>
                <a:lnTo>
                  <a:pt x="14333" y="12945"/>
                </a:lnTo>
                <a:lnTo>
                  <a:pt x="14357" y="12872"/>
                </a:lnTo>
                <a:lnTo>
                  <a:pt x="14357" y="12799"/>
                </a:lnTo>
                <a:lnTo>
                  <a:pt x="14357" y="12726"/>
                </a:lnTo>
                <a:lnTo>
                  <a:pt x="14333" y="12678"/>
                </a:lnTo>
                <a:lnTo>
                  <a:pt x="14284" y="12653"/>
                </a:lnTo>
                <a:lnTo>
                  <a:pt x="14235" y="12605"/>
                </a:lnTo>
                <a:close/>
                <a:moveTo>
                  <a:pt x="6668" y="512"/>
                </a:moveTo>
                <a:lnTo>
                  <a:pt x="6887" y="755"/>
                </a:lnTo>
                <a:lnTo>
                  <a:pt x="7130" y="950"/>
                </a:lnTo>
                <a:lnTo>
                  <a:pt x="7398" y="1120"/>
                </a:lnTo>
                <a:lnTo>
                  <a:pt x="7666" y="1290"/>
                </a:lnTo>
                <a:lnTo>
                  <a:pt x="8250" y="1558"/>
                </a:lnTo>
                <a:lnTo>
                  <a:pt x="8834" y="1801"/>
                </a:lnTo>
                <a:lnTo>
                  <a:pt x="9320" y="2020"/>
                </a:lnTo>
                <a:lnTo>
                  <a:pt x="9807" y="2215"/>
                </a:lnTo>
                <a:lnTo>
                  <a:pt x="10780" y="2604"/>
                </a:lnTo>
                <a:lnTo>
                  <a:pt x="11194" y="2799"/>
                </a:lnTo>
                <a:lnTo>
                  <a:pt x="11559" y="3018"/>
                </a:lnTo>
                <a:lnTo>
                  <a:pt x="11729" y="3115"/>
                </a:lnTo>
                <a:lnTo>
                  <a:pt x="11924" y="3188"/>
                </a:lnTo>
                <a:lnTo>
                  <a:pt x="12094" y="3261"/>
                </a:lnTo>
                <a:lnTo>
                  <a:pt x="12240" y="3358"/>
                </a:lnTo>
                <a:lnTo>
                  <a:pt x="12264" y="3407"/>
                </a:lnTo>
                <a:lnTo>
                  <a:pt x="12313" y="3456"/>
                </a:lnTo>
                <a:lnTo>
                  <a:pt x="12410" y="3480"/>
                </a:lnTo>
                <a:lnTo>
                  <a:pt x="12435" y="3942"/>
                </a:lnTo>
                <a:lnTo>
                  <a:pt x="11851" y="3650"/>
                </a:lnTo>
                <a:lnTo>
                  <a:pt x="11389" y="3407"/>
                </a:lnTo>
                <a:lnTo>
                  <a:pt x="11170" y="3310"/>
                </a:lnTo>
                <a:lnTo>
                  <a:pt x="10926" y="3237"/>
                </a:lnTo>
                <a:lnTo>
                  <a:pt x="10878" y="3237"/>
                </a:lnTo>
                <a:lnTo>
                  <a:pt x="10853" y="3261"/>
                </a:lnTo>
                <a:lnTo>
                  <a:pt x="10853" y="3285"/>
                </a:lnTo>
                <a:lnTo>
                  <a:pt x="10853" y="3310"/>
                </a:lnTo>
                <a:lnTo>
                  <a:pt x="11024" y="3480"/>
                </a:lnTo>
                <a:lnTo>
                  <a:pt x="11218" y="3626"/>
                </a:lnTo>
                <a:lnTo>
                  <a:pt x="11608" y="3869"/>
                </a:lnTo>
                <a:lnTo>
                  <a:pt x="12045" y="4113"/>
                </a:lnTo>
                <a:lnTo>
                  <a:pt x="12459" y="4307"/>
                </a:lnTo>
                <a:lnTo>
                  <a:pt x="12483" y="4818"/>
                </a:lnTo>
                <a:lnTo>
                  <a:pt x="12337" y="4770"/>
                </a:lnTo>
                <a:lnTo>
                  <a:pt x="12216" y="4721"/>
                </a:lnTo>
                <a:lnTo>
                  <a:pt x="12021" y="4672"/>
                </a:lnTo>
                <a:lnTo>
                  <a:pt x="11729" y="4526"/>
                </a:lnTo>
                <a:lnTo>
                  <a:pt x="11413" y="4380"/>
                </a:lnTo>
                <a:lnTo>
                  <a:pt x="11218" y="4259"/>
                </a:lnTo>
                <a:lnTo>
                  <a:pt x="11121" y="4234"/>
                </a:lnTo>
                <a:lnTo>
                  <a:pt x="11024" y="4210"/>
                </a:lnTo>
                <a:lnTo>
                  <a:pt x="10975" y="4210"/>
                </a:lnTo>
                <a:lnTo>
                  <a:pt x="10951" y="4259"/>
                </a:lnTo>
                <a:lnTo>
                  <a:pt x="10951" y="4283"/>
                </a:lnTo>
                <a:lnTo>
                  <a:pt x="10951" y="4332"/>
                </a:lnTo>
                <a:lnTo>
                  <a:pt x="11024" y="4429"/>
                </a:lnTo>
                <a:lnTo>
                  <a:pt x="11121" y="4526"/>
                </a:lnTo>
                <a:lnTo>
                  <a:pt x="11218" y="4599"/>
                </a:lnTo>
                <a:lnTo>
                  <a:pt x="11340" y="4672"/>
                </a:lnTo>
                <a:lnTo>
                  <a:pt x="11608" y="4818"/>
                </a:lnTo>
                <a:lnTo>
                  <a:pt x="11826" y="4916"/>
                </a:lnTo>
                <a:lnTo>
                  <a:pt x="12143" y="5037"/>
                </a:lnTo>
                <a:lnTo>
                  <a:pt x="12313" y="5086"/>
                </a:lnTo>
                <a:lnTo>
                  <a:pt x="12410" y="5086"/>
                </a:lnTo>
                <a:lnTo>
                  <a:pt x="12483" y="5062"/>
                </a:lnTo>
                <a:lnTo>
                  <a:pt x="12483" y="5743"/>
                </a:lnTo>
                <a:lnTo>
                  <a:pt x="12289" y="5621"/>
                </a:lnTo>
                <a:lnTo>
                  <a:pt x="12094" y="5475"/>
                </a:lnTo>
                <a:lnTo>
                  <a:pt x="11608" y="5256"/>
                </a:lnTo>
                <a:lnTo>
                  <a:pt x="11194" y="5110"/>
                </a:lnTo>
                <a:lnTo>
                  <a:pt x="11024" y="5062"/>
                </a:lnTo>
                <a:lnTo>
                  <a:pt x="10926" y="5062"/>
                </a:lnTo>
                <a:lnTo>
                  <a:pt x="10902" y="5086"/>
                </a:lnTo>
                <a:lnTo>
                  <a:pt x="10878" y="5110"/>
                </a:lnTo>
                <a:lnTo>
                  <a:pt x="10951" y="5232"/>
                </a:lnTo>
                <a:lnTo>
                  <a:pt x="11024" y="5305"/>
                </a:lnTo>
                <a:lnTo>
                  <a:pt x="11121" y="5378"/>
                </a:lnTo>
                <a:lnTo>
                  <a:pt x="11267" y="5451"/>
                </a:lnTo>
                <a:lnTo>
                  <a:pt x="11535" y="5548"/>
                </a:lnTo>
                <a:lnTo>
                  <a:pt x="11754" y="5646"/>
                </a:lnTo>
                <a:lnTo>
                  <a:pt x="12094" y="5792"/>
                </a:lnTo>
                <a:lnTo>
                  <a:pt x="12240" y="5889"/>
                </a:lnTo>
                <a:lnTo>
                  <a:pt x="12386" y="6011"/>
                </a:lnTo>
                <a:lnTo>
                  <a:pt x="12483" y="6108"/>
                </a:lnTo>
                <a:lnTo>
                  <a:pt x="12483" y="6254"/>
                </a:lnTo>
                <a:lnTo>
                  <a:pt x="12337" y="6157"/>
                </a:lnTo>
                <a:lnTo>
                  <a:pt x="12191" y="6084"/>
                </a:lnTo>
                <a:lnTo>
                  <a:pt x="11899" y="5938"/>
                </a:lnTo>
                <a:lnTo>
                  <a:pt x="11705" y="5816"/>
                </a:lnTo>
                <a:lnTo>
                  <a:pt x="11510" y="5743"/>
                </a:lnTo>
                <a:lnTo>
                  <a:pt x="11291" y="5670"/>
                </a:lnTo>
                <a:lnTo>
                  <a:pt x="11194" y="5670"/>
                </a:lnTo>
                <a:lnTo>
                  <a:pt x="11097" y="5694"/>
                </a:lnTo>
                <a:lnTo>
                  <a:pt x="11072" y="5694"/>
                </a:lnTo>
                <a:lnTo>
                  <a:pt x="11072" y="5719"/>
                </a:lnTo>
                <a:lnTo>
                  <a:pt x="11145" y="5816"/>
                </a:lnTo>
                <a:lnTo>
                  <a:pt x="11218" y="5889"/>
                </a:lnTo>
                <a:lnTo>
                  <a:pt x="11413" y="6035"/>
                </a:lnTo>
                <a:lnTo>
                  <a:pt x="11826" y="6254"/>
                </a:lnTo>
                <a:lnTo>
                  <a:pt x="12143" y="6449"/>
                </a:lnTo>
                <a:lnTo>
                  <a:pt x="12289" y="6522"/>
                </a:lnTo>
                <a:lnTo>
                  <a:pt x="12459" y="6570"/>
                </a:lnTo>
                <a:lnTo>
                  <a:pt x="12459" y="6838"/>
                </a:lnTo>
                <a:lnTo>
                  <a:pt x="12459" y="6862"/>
                </a:lnTo>
                <a:lnTo>
                  <a:pt x="12337" y="6765"/>
                </a:lnTo>
                <a:lnTo>
                  <a:pt x="12216" y="6668"/>
                </a:lnTo>
                <a:lnTo>
                  <a:pt x="12094" y="6619"/>
                </a:lnTo>
                <a:lnTo>
                  <a:pt x="11924" y="6546"/>
                </a:lnTo>
                <a:lnTo>
                  <a:pt x="11729" y="6473"/>
                </a:lnTo>
                <a:lnTo>
                  <a:pt x="11486" y="6424"/>
                </a:lnTo>
                <a:lnTo>
                  <a:pt x="11267" y="6376"/>
                </a:lnTo>
                <a:lnTo>
                  <a:pt x="11072" y="6303"/>
                </a:lnTo>
                <a:lnTo>
                  <a:pt x="11048" y="6303"/>
                </a:lnTo>
                <a:lnTo>
                  <a:pt x="11048" y="6327"/>
                </a:lnTo>
                <a:lnTo>
                  <a:pt x="11145" y="6449"/>
                </a:lnTo>
                <a:lnTo>
                  <a:pt x="11267" y="6546"/>
                </a:lnTo>
                <a:lnTo>
                  <a:pt x="11389" y="6619"/>
                </a:lnTo>
                <a:lnTo>
                  <a:pt x="11535" y="6692"/>
                </a:lnTo>
                <a:lnTo>
                  <a:pt x="11948" y="6862"/>
                </a:lnTo>
                <a:lnTo>
                  <a:pt x="12143" y="6960"/>
                </a:lnTo>
                <a:lnTo>
                  <a:pt x="12216" y="7033"/>
                </a:lnTo>
                <a:lnTo>
                  <a:pt x="12289" y="7106"/>
                </a:lnTo>
                <a:lnTo>
                  <a:pt x="12362" y="7179"/>
                </a:lnTo>
                <a:lnTo>
                  <a:pt x="12459" y="7179"/>
                </a:lnTo>
                <a:lnTo>
                  <a:pt x="12459" y="7592"/>
                </a:lnTo>
                <a:lnTo>
                  <a:pt x="12264" y="7495"/>
                </a:lnTo>
                <a:lnTo>
                  <a:pt x="12070" y="7422"/>
                </a:lnTo>
                <a:lnTo>
                  <a:pt x="11802" y="7349"/>
                </a:lnTo>
                <a:lnTo>
                  <a:pt x="11389" y="7106"/>
                </a:lnTo>
                <a:lnTo>
                  <a:pt x="11121" y="7008"/>
                </a:lnTo>
                <a:lnTo>
                  <a:pt x="11024" y="6984"/>
                </a:lnTo>
                <a:lnTo>
                  <a:pt x="10999" y="6984"/>
                </a:lnTo>
                <a:lnTo>
                  <a:pt x="10975" y="7008"/>
                </a:lnTo>
                <a:lnTo>
                  <a:pt x="10975" y="7057"/>
                </a:lnTo>
                <a:lnTo>
                  <a:pt x="10975" y="7106"/>
                </a:lnTo>
                <a:lnTo>
                  <a:pt x="10999" y="7227"/>
                </a:lnTo>
                <a:lnTo>
                  <a:pt x="11097" y="7325"/>
                </a:lnTo>
                <a:lnTo>
                  <a:pt x="11194" y="7398"/>
                </a:lnTo>
                <a:lnTo>
                  <a:pt x="11437" y="7544"/>
                </a:lnTo>
                <a:lnTo>
                  <a:pt x="11632" y="7641"/>
                </a:lnTo>
                <a:lnTo>
                  <a:pt x="11997" y="7836"/>
                </a:lnTo>
                <a:lnTo>
                  <a:pt x="12240" y="7909"/>
                </a:lnTo>
                <a:lnTo>
                  <a:pt x="12362" y="7933"/>
                </a:lnTo>
                <a:lnTo>
                  <a:pt x="12459" y="7957"/>
                </a:lnTo>
                <a:lnTo>
                  <a:pt x="12459" y="8298"/>
                </a:lnTo>
                <a:lnTo>
                  <a:pt x="12216" y="8176"/>
                </a:lnTo>
                <a:lnTo>
                  <a:pt x="11972" y="8055"/>
                </a:lnTo>
                <a:lnTo>
                  <a:pt x="11754" y="7909"/>
                </a:lnTo>
                <a:lnTo>
                  <a:pt x="11535" y="7738"/>
                </a:lnTo>
                <a:lnTo>
                  <a:pt x="11413" y="7665"/>
                </a:lnTo>
                <a:lnTo>
                  <a:pt x="11291" y="7617"/>
                </a:lnTo>
                <a:lnTo>
                  <a:pt x="11170" y="7592"/>
                </a:lnTo>
                <a:lnTo>
                  <a:pt x="11048" y="7568"/>
                </a:lnTo>
                <a:lnTo>
                  <a:pt x="11048" y="7592"/>
                </a:lnTo>
                <a:lnTo>
                  <a:pt x="11024" y="7617"/>
                </a:lnTo>
                <a:lnTo>
                  <a:pt x="11072" y="7714"/>
                </a:lnTo>
                <a:lnTo>
                  <a:pt x="11145" y="7836"/>
                </a:lnTo>
                <a:lnTo>
                  <a:pt x="11243" y="7933"/>
                </a:lnTo>
                <a:lnTo>
                  <a:pt x="11364" y="8006"/>
                </a:lnTo>
                <a:lnTo>
                  <a:pt x="11583" y="8176"/>
                </a:lnTo>
                <a:lnTo>
                  <a:pt x="11802" y="8322"/>
                </a:lnTo>
                <a:lnTo>
                  <a:pt x="12118" y="8493"/>
                </a:lnTo>
                <a:lnTo>
                  <a:pt x="12289" y="8590"/>
                </a:lnTo>
                <a:lnTo>
                  <a:pt x="12459" y="8663"/>
                </a:lnTo>
                <a:lnTo>
                  <a:pt x="12483" y="9101"/>
                </a:lnTo>
                <a:lnTo>
                  <a:pt x="12435" y="9028"/>
                </a:lnTo>
                <a:lnTo>
                  <a:pt x="12386" y="8979"/>
                </a:lnTo>
                <a:lnTo>
                  <a:pt x="12216" y="8882"/>
                </a:lnTo>
                <a:lnTo>
                  <a:pt x="11899" y="8736"/>
                </a:lnTo>
                <a:lnTo>
                  <a:pt x="11559" y="8517"/>
                </a:lnTo>
                <a:lnTo>
                  <a:pt x="11364" y="8420"/>
                </a:lnTo>
                <a:lnTo>
                  <a:pt x="11291" y="8395"/>
                </a:lnTo>
                <a:lnTo>
                  <a:pt x="11194" y="8371"/>
                </a:lnTo>
                <a:lnTo>
                  <a:pt x="11170" y="8371"/>
                </a:lnTo>
                <a:lnTo>
                  <a:pt x="11170" y="8395"/>
                </a:lnTo>
                <a:lnTo>
                  <a:pt x="11194" y="8493"/>
                </a:lnTo>
                <a:lnTo>
                  <a:pt x="11218" y="8566"/>
                </a:lnTo>
                <a:lnTo>
                  <a:pt x="11364" y="8712"/>
                </a:lnTo>
                <a:lnTo>
                  <a:pt x="11535" y="8858"/>
                </a:lnTo>
                <a:lnTo>
                  <a:pt x="11681" y="8955"/>
                </a:lnTo>
                <a:lnTo>
                  <a:pt x="11851" y="9052"/>
                </a:lnTo>
                <a:lnTo>
                  <a:pt x="12070" y="9174"/>
                </a:lnTo>
                <a:lnTo>
                  <a:pt x="12167" y="9223"/>
                </a:lnTo>
                <a:lnTo>
                  <a:pt x="12264" y="9247"/>
                </a:lnTo>
                <a:lnTo>
                  <a:pt x="12362" y="9247"/>
                </a:lnTo>
                <a:lnTo>
                  <a:pt x="12459" y="9223"/>
                </a:lnTo>
                <a:lnTo>
                  <a:pt x="12483" y="9198"/>
                </a:lnTo>
                <a:lnTo>
                  <a:pt x="12508" y="10025"/>
                </a:lnTo>
                <a:lnTo>
                  <a:pt x="12386" y="9879"/>
                </a:lnTo>
                <a:lnTo>
                  <a:pt x="12240" y="9758"/>
                </a:lnTo>
                <a:lnTo>
                  <a:pt x="11924" y="9515"/>
                </a:lnTo>
                <a:lnTo>
                  <a:pt x="11608" y="9296"/>
                </a:lnTo>
                <a:lnTo>
                  <a:pt x="11267" y="9101"/>
                </a:lnTo>
                <a:lnTo>
                  <a:pt x="11243" y="9077"/>
                </a:lnTo>
                <a:lnTo>
                  <a:pt x="11218" y="9101"/>
                </a:lnTo>
                <a:lnTo>
                  <a:pt x="11218" y="9125"/>
                </a:lnTo>
                <a:lnTo>
                  <a:pt x="11218" y="9150"/>
                </a:lnTo>
                <a:lnTo>
                  <a:pt x="11340" y="9296"/>
                </a:lnTo>
                <a:lnTo>
                  <a:pt x="11462" y="9466"/>
                </a:lnTo>
                <a:lnTo>
                  <a:pt x="11608" y="9612"/>
                </a:lnTo>
                <a:lnTo>
                  <a:pt x="11754" y="9733"/>
                </a:lnTo>
                <a:lnTo>
                  <a:pt x="11924" y="9855"/>
                </a:lnTo>
                <a:lnTo>
                  <a:pt x="12094" y="9952"/>
                </a:lnTo>
                <a:lnTo>
                  <a:pt x="12289" y="10050"/>
                </a:lnTo>
                <a:lnTo>
                  <a:pt x="12459" y="10098"/>
                </a:lnTo>
                <a:lnTo>
                  <a:pt x="12508" y="10098"/>
                </a:lnTo>
                <a:lnTo>
                  <a:pt x="12508" y="10488"/>
                </a:lnTo>
                <a:lnTo>
                  <a:pt x="12289" y="10317"/>
                </a:lnTo>
                <a:lnTo>
                  <a:pt x="11802" y="10001"/>
                </a:lnTo>
                <a:lnTo>
                  <a:pt x="11608" y="9855"/>
                </a:lnTo>
                <a:lnTo>
                  <a:pt x="11486" y="9782"/>
                </a:lnTo>
                <a:lnTo>
                  <a:pt x="11389" y="9733"/>
                </a:lnTo>
                <a:lnTo>
                  <a:pt x="11364" y="9758"/>
                </a:lnTo>
                <a:lnTo>
                  <a:pt x="11364" y="9855"/>
                </a:lnTo>
                <a:lnTo>
                  <a:pt x="11389" y="9952"/>
                </a:lnTo>
                <a:lnTo>
                  <a:pt x="11437" y="10050"/>
                </a:lnTo>
                <a:lnTo>
                  <a:pt x="11510" y="10147"/>
                </a:lnTo>
                <a:lnTo>
                  <a:pt x="11681" y="10317"/>
                </a:lnTo>
                <a:lnTo>
                  <a:pt x="11851" y="10439"/>
                </a:lnTo>
                <a:lnTo>
                  <a:pt x="12094" y="10585"/>
                </a:lnTo>
                <a:lnTo>
                  <a:pt x="12313" y="10780"/>
                </a:lnTo>
                <a:lnTo>
                  <a:pt x="12410" y="10877"/>
                </a:lnTo>
                <a:lnTo>
                  <a:pt x="12508" y="10999"/>
                </a:lnTo>
                <a:lnTo>
                  <a:pt x="12483" y="11291"/>
                </a:lnTo>
                <a:lnTo>
                  <a:pt x="11875" y="10901"/>
                </a:lnTo>
                <a:lnTo>
                  <a:pt x="11705" y="10780"/>
                </a:lnTo>
                <a:lnTo>
                  <a:pt x="11535" y="10658"/>
                </a:lnTo>
                <a:lnTo>
                  <a:pt x="11462" y="10609"/>
                </a:lnTo>
                <a:lnTo>
                  <a:pt x="11364" y="10585"/>
                </a:lnTo>
                <a:lnTo>
                  <a:pt x="11267" y="10561"/>
                </a:lnTo>
                <a:lnTo>
                  <a:pt x="11145" y="10585"/>
                </a:lnTo>
                <a:lnTo>
                  <a:pt x="11121" y="10609"/>
                </a:lnTo>
                <a:lnTo>
                  <a:pt x="11145" y="10634"/>
                </a:lnTo>
                <a:lnTo>
                  <a:pt x="11291" y="10780"/>
                </a:lnTo>
                <a:lnTo>
                  <a:pt x="11413" y="10926"/>
                </a:lnTo>
                <a:lnTo>
                  <a:pt x="11535" y="11072"/>
                </a:lnTo>
                <a:lnTo>
                  <a:pt x="11705" y="11218"/>
                </a:lnTo>
                <a:lnTo>
                  <a:pt x="12070" y="11485"/>
                </a:lnTo>
                <a:lnTo>
                  <a:pt x="12483" y="11729"/>
                </a:lnTo>
                <a:lnTo>
                  <a:pt x="12459" y="12094"/>
                </a:lnTo>
                <a:lnTo>
                  <a:pt x="12191" y="11923"/>
                </a:lnTo>
                <a:lnTo>
                  <a:pt x="11948" y="11777"/>
                </a:lnTo>
                <a:lnTo>
                  <a:pt x="11559" y="11558"/>
                </a:lnTo>
                <a:lnTo>
                  <a:pt x="11170" y="11388"/>
                </a:lnTo>
                <a:lnTo>
                  <a:pt x="11145" y="11388"/>
                </a:lnTo>
                <a:lnTo>
                  <a:pt x="11145" y="11485"/>
                </a:lnTo>
                <a:lnTo>
                  <a:pt x="11170" y="11558"/>
                </a:lnTo>
                <a:lnTo>
                  <a:pt x="11243" y="11704"/>
                </a:lnTo>
                <a:lnTo>
                  <a:pt x="11364" y="11850"/>
                </a:lnTo>
                <a:lnTo>
                  <a:pt x="11510" y="11948"/>
                </a:lnTo>
                <a:lnTo>
                  <a:pt x="11754" y="12118"/>
                </a:lnTo>
                <a:lnTo>
                  <a:pt x="12021" y="12288"/>
                </a:lnTo>
                <a:lnTo>
                  <a:pt x="12216" y="12434"/>
                </a:lnTo>
                <a:lnTo>
                  <a:pt x="12435" y="12556"/>
                </a:lnTo>
                <a:lnTo>
                  <a:pt x="12435" y="12799"/>
                </a:lnTo>
                <a:lnTo>
                  <a:pt x="12337" y="12824"/>
                </a:lnTo>
                <a:lnTo>
                  <a:pt x="12264" y="12848"/>
                </a:lnTo>
                <a:lnTo>
                  <a:pt x="12143" y="12775"/>
                </a:lnTo>
                <a:lnTo>
                  <a:pt x="11972" y="12629"/>
                </a:lnTo>
                <a:lnTo>
                  <a:pt x="11802" y="12507"/>
                </a:lnTo>
                <a:lnTo>
                  <a:pt x="11632" y="12361"/>
                </a:lnTo>
                <a:lnTo>
                  <a:pt x="11462" y="12240"/>
                </a:lnTo>
                <a:lnTo>
                  <a:pt x="11413" y="12240"/>
                </a:lnTo>
                <a:lnTo>
                  <a:pt x="11413" y="12288"/>
                </a:lnTo>
                <a:lnTo>
                  <a:pt x="11413" y="12361"/>
                </a:lnTo>
                <a:lnTo>
                  <a:pt x="11413" y="12434"/>
                </a:lnTo>
                <a:lnTo>
                  <a:pt x="11486" y="12605"/>
                </a:lnTo>
                <a:lnTo>
                  <a:pt x="11389" y="12605"/>
                </a:lnTo>
                <a:lnTo>
                  <a:pt x="11267" y="12653"/>
                </a:lnTo>
                <a:lnTo>
                  <a:pt x="11243" y="12678"/>
                </a:lnTo>
                <a:lnTo>
                  <a:pt x="11218" y="12726"/>
                </a:lnTo>
                <a:lnTo>
                  <a:pt x="11218" y="12775"/>
                </a:lnTo>
                <a:lnTo>
                  <a:pt x="11218" y="12848"/>
                </a:lnTo>
                <a:lnTo>
                  <a:pt x="11291" y="12921"/>
                </a:lnTo>
                <a:lnTo>
                  <a:pt x="11364" y="12994"/>
                </a:lnTo>
                <a:lnTo>
                  <a:pt x="11486" y="13043"/>
                </a:lnTo>
                <a:lnTo>
                  <a:pt x="11583" y="13091"/>
                </a:lnTo>
                <a:lnTo>
                  <a:pt x="11705" y="13140"/>
                </a:lnTo>
                <a:lnTo>
                  <a:pt x="11802" y="13140"/>
                </a:lnTo>
                <a:lnTo>
                  <a:pt x="11924" y="13116"/>
                </a:lnTo>
                <a:lnTo>
                  <a:pt x="12021" y="13067"/>
                </a:lnTo>
                <a:lnTo>
                  <a:pt x="12240" y="13189"/>
                </a:lnTo>
                <a:lnTo>
                  <a:pt x="12410" y="13335"/>
                </a:lnTo>
                <a:lnTo>
                  <a:pt x="12386" y="13602"/>
                </a:lnTo>
                <a:lnTo>
                  <a:pt x="11802" y="13286"/>
                </a:lnTo>
                <a:lnTo>
                  <a:pt x="11510" y="13140"/>
                </a:lnTo>
                <a:lnTo>
                  <a:pt x="11194" y="13018"/>
                </a:lnTo>
                <a:lnTo>
                  <a:pt x="11170" y="13018"/>
                </a:lnTo>
                <a:lnTo>
                  <a:pt x="11145" y="13116"/>
                </a:lnTo>
                <a:lnTo>
                  <a:pt x="11170" y="13213"/>
                </a:lnTo>
                <a:lnTo>
                  <a:pt x="11218" y="13286"/>
                </a:lnTo>
                <a:lnTo>
                  <a:pt x="11291" y="13359"/>
                </a:lnTo>
                <a:lnTo>
                  <a:pt x="11437" y="13456"/>
                </a:lnTo>
                <a:lnTo>
                  <a:pt x="11608" y="13529"/>
                </a:lnTo>
                <a:lnTo>
                  <a:pt x="11802" y="13651"/>
                </a:lnTo>
                <a:lnTo>
                  <a:pt x="11997" y="13773"/>
                </a:lnTo>
                <a:lnTo>
                  <a:pt x="12191" y="13894"/>
                </a:lnTo>
                <a:lnTo>
                  <a:pt x="12386" y="14016"/>
                </a:lnTo>
                <a:lnTo>
                  <a:pt x="12386" y="14332"/>
                </a:lnTo>
                <a:lnTo>
                  <a:pt x="11851" y="13943"/>
                </a:lnTo>
                <a:lnTo>
                  <a:pt x="11705" y="13846"/>
                </a:lnTo>
                <a:lnTo>
                  <a:pt x="11510" y="13724"/>
                </a:lnTo>
                <a:lnTo>
                  <a:pt x="11413" y="13700"/>
                </a:lnTo>
                <a:lnTo>
                  <a:pt x="11316" y="13675"/>
                </a:lnTo>
                <a:lnTo>
                  <a:pt x="11218" y="13675"/>
                </a:lnTo>
                <a:lnTo>
                  <a:pt x="11121" y="13700"/>
                </a:lnTo>
                <a:lnTo>
                  <a:pt x="11121" y="13724"/>
                </a:lnTo>
                <a:lnTo>
                  <a:pt x="11121" y="13748"/>
                </a:lnTo>
                <a:lnTo>
                  <a:pt x="11145" y="13821"/>
                </a:lnTo>
                <a:lnTo>
                  <a:pt x="11218" y="13919"/>
                </a:lnTo>
                <a:lnTo>
                  <a:pt x="11364" y="14040"/>
                </a:lnTo>
                <a:lnTo>
                  <a:pt x="11729" y="14284"/>
                </a:lnTo>
                <a:lnTo>
                  <a:pt x="12045" y="14551"/>
                </a:lnTo>
                <a:lnTo>
                  <a:pt x="12191" y="14673"/>
                </a:lnTo>
                <a:lnTo>
                  <a:pt x="12386" y="14795"/>
                </a:lnTo>
                <a:lnTo>
                  <a:pt x="12386" y="15281"/>
                </a:lnTo>
                <a:lnTo>
                  <a:pt x="12289" y="15184"/>
                </a:lnTo>
                <a:lnTo>
                  <a:pt x="12167" y="15087"/>
                </a:lnTo>
                <a:lnTo>
                  <a:pt x="12021" y="14916"/>
                </a:lnTo>
                <a:lnTo>
                  <a:pt x="11851" y="14746"/>
                </a:lnTo>
                <a:lnTo>
                  <a:pt x="11656" y="14600"/>
                </a:lnTo>
                <a:lnTo>
                  <a:pt x="11413" y="14503"/>
                </a:lnTo>
                <a:lnTo>
                  <a:pt x="11170" y="14430"/>
                </a:lnTo>
                <a:lnTo>
                  <a:pt x="10926" y="14430"/>
                </a:lnTo>
                <a:lnTo>
                  <a:pt x="10902" y="14454"/>
                </a:lnTo>
                <a:lnTo>
                  <a:pt x="10902" y="14478"/>
                </a:lnTo>
                <a:lnTo>
                  <a:pt x="10975" y="14551"/>
                </a:lnTo>
                <a:lnTo>
                  <a:pt x="11024" y="14600"/>
                </a:lnTo>
                <a:lnTo>
                  <a:pt x="11194" y="14697"/>
                </a:lnTo>
                <a:lnTo>
                  <a:pt x="11462" y="14892"/>
                </a:lnTo>
                <a:lnTo>
                  <a:pt x="11608" y="14989"/>
                </a:lnTo>
                <a:lnTo>
                  <a:pt x="11729" y="15111"/>
                </a:lnTo>
                <a:lnTo>
                  <a:pt x="11875" y="15281"/>
                </a:lnTo>
                <a:lnTo>
                  <a:pt x="12021" y="15452"/>
                </a:lnTo>
                <a:lnTo>
                  <a:pt x="12118" y="15525"/>
                </a:lnTo>
                <a:lnTo>
                  <a:pt x="12191" y="15573"/>
                </a:lnTo>
                <a:lnTo>
                  <a:pt x="12313" y="15622"/>
                </a:lnTo>
                <a:lnTo>
                  <a:pt x="12410" y="15646"/>
                </a:lnTo>
                <a:lnTo>
                  <a:pt x="12435" y="16133"/>
                </a:lnTo>
                <a:lnTo>
                  <a:pt x="12386" y="16133"/>
                </a:lnTo>
                <a:lnTo>
                  <a:pt x="12362" y="16084"/>
                </a:lnTo>
                <a:lnTo>
                  <a:pt x="12240" y="15963"/>
                </a:lnTo>
                <a:lnTo>
                  <a:pt x="12070" y="15841"/>
                </a:lnTo>
                <a:lnTo>
                  <a:pt x="11754" y="15622"/>
                </a:lnTo>
                <a:lnTo>
                  <a:pt x="11413" y="15354"/>
                </a:lnTo>
                <a:lnTo>
                  <a:pt x="11243" y="15233"/>
                </a:lnTo>
                <a:lnTo>
                  <a:pt x="11072" y="15160"/>
                </a:lnTo>
                <a:lnTo>
                  <a:pt x="11048" y="15160"/>
                </a:lnTo>
                <a:lnTo>
                  <a:pt x="11024" y="15184"/>
                </a:lnTo>
                <a:lnTo>
                  <a:pt x="11048" y="15281"/>
                </a:lnTo>
                <a:lnTo>
                  <a:pt x="11072" y="15354"/>
                </a:lnTo>
                <a:lnTo>
                  <a:pt x="11170" y="15500"/>
                </a:lnTo>
                <a:lnTo>
                  <a:pt x="11291" y="15622"/>
                </a:lnTo>
                <a:lnTo>
                  <a:pt x="11437" y="15744"/>
                </a:lnTo>
                <a:lnTo>
                  <a:pt x="11218" y="15646"/>
                </a:lnTo>
                <a:lnTo>
                  <a:pt x="9564" y="14916"/>
                </a:lnTo>
                <a:lnTo>
                  <a:pt x="8055" y="14259"/>
                </a:lnTo>
                <a:lnTo>
                  <a:pt x="7301" y="13894"/>
                </a:lnTo>
                <a:lnTo>
                  <a:pt x="7130" y="13797"/>
                </a:lnTo>
                <a:lnTo>
                  <a:pt x="6863" y="13675"/>
                </a:lnTo>
                <a:lnTo>
                  <a:pt x="6863" y="13602"/>
                </a:lnTo>
                <a:lnTo>
                  <a:pt x="6814" y="12775"/>
                </a:lnTo>
                <a:lnTo>
                  <a:pt x="6765" y="11972"/>
                </a:lnTo>
                <a:lnTo>
                  <a:pt x="6692" y="11145"/>
                </a:lnTo>
                <a:lnTo>
                  <a:pt x="6668" y="10317"/>
                </a:lnTo>
                <a:lnTo>
                  <a:pt x="6668" y="9393"/>
                </a:lnTo>
                <a:lnTo>
                  <a:pt x="6692" y="8493"/>
                </a:lnTo>
                <a:lnTo>
                  <a:pt x="6717" y="7568"/>
                </a:lnTo>
                <a:lnTo>
                  <a:pt x="6717" y="6643"/>
                </a:lnTo>
                <a:lnTo>
                  <a:pt x="6717" y="5889"/>
                </a:lnTo>
                <a:lnTo>
                  <a:pt x="6863" y="5913"/>
                </a:lnTo>
                <a:lnTo>
                  <a:pt x="6936" y="5938"/>
                </a:lnTo>
                <a:lnTo>
                  <a:pt x="7033" y="5962"/>
                </a:lnTo>
                <a:lnTo>
                  <a:pt x="7130" y="5938"/>
                </a:lnTo>
                <a:lnTo>
                  <a:pt x="7228" y="5865"/>
                </a:lnTo>
                <a:lnTo>
                  <a:pt x="7252" y="5816"/>
                </a:lnTo>
                <a:lnTo>
                  <a:pt x="7276" y="5767"/>
                </a:lnTo>
                <a:lnTo>
                  <a:pt x="7276" y="5670"/>
                </a:lnTo>
                <a:lnTo>
                  <a:pt x="7252" y="5573"/>
                </a:lnTo>
                <a:lnTo>
                  <a:pt x="7179" y="5500"/>
                </a:lnTo>
                <a:lnTo>
                  <a:pt x="7082" y="5451"/>
                </a:lnTo>
                <a:lnTo>
                  <a:pt x="7033" y="5427"/>
                </a:lnTo>
                <a:lnTo>
                  <a:pt x="6960" y="5402"/>
                </a:lnTo>
                <a:lnTo>
                  <a:pt x="6887" y="5427"/>
                </a:lnTo>
                <a:lnTo>
                  <a:pt x="6814" y="5451"/>
                </a:lnTo>
                <a:lnTo>
                  <a:pt x="6790" y="5451"/>
                </a:lnTo>
                <a:lnTo>
                  <a:pt x="6692" y="5500"/>
                </a:lnTo>
                <a:lnTo>
                  <a:pt x="6644" y="3018"/>
                </a:lnTo>
                <a:lnTo>
                  <a:pt x="6644" y="1752"/>
                </a:lnTo>
                <a:lnTo>
                  <a:pt x="6668" y="512"/>
                </a:lnTo>
                <a:close/>
                <a:moveTo>
                  <a:pt x="6206" y="585"/>
                </a:moveTo>
                <a:lnTo>
                  <a:pt x="6181" y="852"/>
                </a:lnTo>
                <a:lnTo>
                  <a:pt x="6181" y="1096"/>
                </a:lnTo>
                <a:lnTo>
                  <a:pt x="6181" y="1874"/>
                </a:lnTo>
                <a:lnTo>
                  <a:pt x="6181" y="2653"/>
                </a:lnTo>
                <a:lnTo>
                  <a:pt x="6181" y="3602"/>
                </a:lnTo>
                <a:lnTo>
                  <a:pt x="6181" y="4551"/>
                </a:lnTo>
                <a:lnTo>
                  <a:pt x="6230" y="6449"/>
                </a:lnTo>
                <a:lnTo>
                  <a:pt x="6230" y="7373"/>
                </a:lnTo>
                <a:lnTo>
                  <a:pt x="6206" y="8298"/>
                </a:lnTo>
                <a:lnTo>
                  <a:pt x="6181" y="9198"/>
                </a:lnTo>
                <a:lnTo>
                  <a:pt x="6133" y="10123"/>
                </a:lnTo>
                <a:lnTo>
                  <a:pt x="6157" y="10926"/>
                </a:lnTo>
                <a:lnTo>
                  <a:pt x="6206" y="11729"/>
                </a:lnTo>
                <a:lnTo>
                  <a:pt x="6254" y="12532"/>
                </a:lnTo>
                <a:lnTo>
                  <a:pt x="6279" y="13335"/>
                </a:lnTo>
                <a:lnTo>
                  <a:pt x="6206" y="13359"/>
                </a:lnTo>
                <a:lnTo>
                  <a:pt x="5451" y="13748"/>
                </a:lnTo>
                <a:lnTo>
                  <a:pt x="4721" y="14186"/>
                </a:lnTo>
                <a:lnTo>
                  <a:pt x="3262" y="15087"/>
                </a:lnTo>
                <a:lnTo>
                  <a:pt x="2897" y="15281"/>
                </a:lnTo>
                <a:lnTo>
                  <a:pt x="2532" y="15476"/>
                </a:lnTo>
                <a:lnTo>
                  <a:pt x="2142" y="15671"/>
                </a:lnTo>
                <a:lnTo>
                  <a:pt x="1753" y="15841"/>
                </a:lnTo>
                <a:lnTo>
                  <a:pt x="950" y="16133"/>
                </a:lnTo>
                <a:lnTo>
                  <a:pt x="634" y="16255"/>
                </a:lnTo>
                <a:lnTo>
                  <a:pt x="634" y="16279"/>
                </a:lnTo>
                <a:lnTo>
                  <a:pt x="585" y="15938"/>
                </a:lnTo>
                <a:lnTo>
                  <a:pt x="561" y="15573"/>
                </a:lnTo>
                <a:lnTo>
                  <a:pt x="536" y="15208"/>
                </a:lnTo>
                <a:lnTo>
                  <a:pt x="512" y="14868"/>
                </a:lnTo>
                <a:lnTo>
                  <a:pt x="439" y="14430"/>
                </a:lnTo>
                <a:lnTo>
                  <a:pt x="415" y="13992"/>
                </a:lnTo>
                <a:lnTo>
                  <a:pt x="415" y="13578"/>
                </a:lnTo>
                <a:lnTo>
                  <a:pt x="439" y="13140"/>
                </a:lnTo>
                <a:lnTo>
                  <a:pt x="512" y="11461"/>
                </a:lnTo>
                <a:lnTo>
                  <a:pt x="561" y="10634"/>
                </a:lnTo>
                <a:lnTo>
                  <a:pt x="585" y="9782"/>
                </a:lnTo>
                <a:lnTo>
                  <a:pt x="609" y="8225"/>
                </a:lnTo>
                <a:lnTo>
                  <a:pt x="609" y="6668"/>
                </a:lnTo>
                <a:lnTo>
                  <a:pt x="561" y="5110"/>
                </a:lnTo>
                <a:lnTo>
                  <a:pt x="536" y="4356"/>
                </a:lnTo>
                <a:lnTo>
                  <a:pt x="488" y="3577"/>
                </a:lnTo>
                <a:lnTo>
                  <a:pt x="609" y="3504"/>
                </a:lnTo>
                <a:lnTo>
                  <a:pt x="755" y="3407"/>
                </a:lnTo>
                <a:lnTo>
                  <a:pt x="1145" y="3164"/>
                </a:lnTo>
                <a:lnTo>
                  <a:pt x="1558" y="2920"/>
                </a:lnTo>
                <a:lnTo>
                  <a:pt x="2337" y="2507"/>
                </a:lnTo>
                <a:lnTo>
                  <a:pt x="3116" y="2093"/>
                </a:lnTo>
                <a:lnTo>
                  <a:pt x="3529" y="1850"/>
                </a:lnTo>
                <a:lnTo>
                  <a:pt x="3967" y="1655"/>
                </a:lnTo>
                <a:lnTo>
                  <a:pt x="4405" y="1461"/>
                </a:lnTo>
                <a:lnTo>
                  <a:pt x="4843" y="1290"/>
                </a:lnTo>
                <a:lnTo>
                  <a:pt x="5208" y="1144"/>
                </a:lnTo>
                <a:lnTo>
                  <a:pt x="5549" y="974"/>
                </a:lnTo>
                <a:lnTo>
                  <a:pt x="6206" y="585"/>
                </a:lnTo>
                <a:close/>
                <a:moveTo>
                  <a:pt x="18542" y="804"/>
                </a:moveTo>
                <a:lnTo>
                  <a:pt x="18518" y="1023"/>
                </a:lnTo>
                <a:lnTo>
                  <a:pt x="18518" y="1266"/>
                </a:lnTo>
                <a:lnTo>
                  <a:pt x="18518" y="1752"/>
                </a:lnTo>
                <a:lnTo>
                  <a:pt x="18567" y="2263"/>
                </a:lnTo>
                <a:lnTo>
                  <a:pt x="18567" y="2726"/>
                </a:lnTo>
                <a:lnTo>
                  <a:pt x="18542" y="4648"/>
                </a:lnTo>
                <a:lnTo>
                  <a:pt x="18494" y="6546"/>
                </a:lnTo>
                <a:lnTo>
                  <a:pt x="18469" y="8249"/>
                </a:lnTo>
                <a:lnTo>
                  <a:pt x="18494" y="9952"/>
                </a:lnTo>
                <a:lnTo>
                  <a:pt x="18567" y="13359"/>
                </a:lnTo>
                <a:lnTo>
                  <a:pt x="18542" y="13359"/>
                </a:lnTo>
                <a:lnTo>
                  <a:pt x="18396" y="13505"/>
                </a:lnTo>
                <a:lnTo>
                  <a:pt x="18226" y="13651"/>
                </a:lnTo>
                <a:lnTo>
                  <a:pt x="18031" y="13748"/>
                </a:lnTo>
                <a:lnTo>
                  <a:pt x="17837" y="13846"/>
                </a:lnTo>
                <a:lnTo>
                  <a:pt x="17423" y="14016"/>
                </a:lnTo>
                <a:lnTo>
                  <a:pt x="17009" y="14186"/>
                </a:lnTo>
                <a:lnTo>
                  <a:pt x="16474" y="14454"/>
                </a:lnTo>
                <a:lnTo>
                  <a:pt x="15963" y="14746"/>
                </a:lnTo>
                <a:lnTo>
                  <a:pt x="15452" y="15038"/>
                </a:lnTo>
                <a:lnTo>
                  <a:pt x="14941" y="15330"/>
                </a:lnTo>
                <a:lnTo>
                  <a:pt x="14479" y="15598"/>
                </a:lnTo>
                <a:lnTo>
                  <a:pt x="14016" y="15865"/>
                </a:lnTo>
                <a:lnTo>
                  <a:pt x="13773" y="15987"/>
                </a:lnTo>
                <a:lnTo>
                  <a:pt x="13530" y="16109"/>
                </a:lnTo>
                <a:lnTo>
                  <a:pt x="13286" y="16182"/>
                </a:lnTo>
                <a:lnTo>
                  <a:pt x="13043" y="16255"/>
                </a:lnTo>
                <a:lnTo>
                  <a:pt x="12921" y="16303"/>
                </a:lnTo>
                <a:lnTo>
                  <a:pt x="12921" y="15987"/>
                </a:lnTo>
                <a:lnTo>
                  <a:pt x="12897" y="15671"/>
                </a:lnTo>
                <a:lnTo>
                  <a:pt x="12873" y="15379"/>
                </a:lnTo>
                <a:lnTo>
                  <a:pt x="12848" y="15062"/>
                </a:lnTo>
                <a:lnTo>
                  <a:pt x="12824" y="14770"/>
                </a:lnTo>
                <a:lnTo>
                  <a:pt x="12824" y="14016"/>
                </a:lnTo>
                <a:lnTo>
                  <a:pt x="12848" y="13943"/>
                </a:lnTo>
                <a:lnTo>
                  <a:pt x="12848" y="13894"/>
                </a:lnTo>
                <a:lnTo>
                  <a:pt x="12848" y="13359"/>
                </a:lnTo>
                <a:lnTo>
                  <a:pt x="12946" y="13335"/>
                </a:lnTo>
                <a:lnTo>
                  <a:pt x="13019" y="13310"/>
                </a:lnTo>
                <a:lnTo>
                  <a:pt x="13092" y="13262"/>
                </a:lnTo>
                <a:lnTo>
                  <a:pt x="13140" y="13213"/>
                </a:lnTo>
                <a:lnTo>
                  <a:pt x="13165" y="13116"/>
                </a:lnTo>
                <a:lnTo>
                  <a:pt x="13165" y="13018"/>
                </a:lnTo>
                <a:lnTo>
                  <a:pt x="13116" y="12921"/>
                </a:lnTo>
                <a:lnTo>
                  <a:pt x="13043" y="12872"/>
                </a:lnTo>
                <a:lnTo>
                  <a:pt x="12970" y="12848"/>
                </a:lnTo>
                <a:lnTo>
                  <a:pt x="12873" y="12848"/>
                </a:lnTo>
                <a:lnTo>
                  <a:pt x="12921" y="11826"/>
                </a:lnTo>
                <a:lnTo>
                  <a:pt x="12970" y="10804"/>
                </a:lnTo>
                <a:lnTo>
                  <a:pt x="12970" y="9806"/>
                </a:lnTo>
                <a:lnTo>
                  <a:pt x="12946" y="8809"/>
                </a:lnTo>
                <a:lnTo>
                  <a:pt x="12897" y="7836"/>
                </a:lnTo>
                <a:lnTo>
                  <a:pt x="12897" y="6838"/>
                </a:lnTo>
                <a:lnTo>
                  <a:pt x="12946" y="5986"/>
                </a:lnTo>
                <a:lnTo>
                  <a:pt x="12970" y="5110"/>
                </a:lnTo>
                <a:lnTo>
                  <a:pt x="12970" y="4672"/>
                </a:lnTo>
                <a:lnTo>
                  <a:pt x="12946" y="4234"/>
                </a:lnTo>
                <a:lnTo>
                  <a:pt x="12897" y="3821"/>
                </a:lnTo>
                <a:lnTo>
                  <a:pt x="12800" y="3383"/>
                </a:lnTo>
                <a:lnTo>
                  <a:pt x="13067" y="3285"/>
                </a:lnTo>
                <a:lnTo>
                  <a:pt x="13335" y="3164"/>
                </a:lnTo>
                <a:lnTo>
                  <a:pt x="13603" y="3042"/>
                </a:lnTo>
                <a:lnTo>
                  <a:pt x="13870" y="2920"/>
                </a:lnTo>
                <a:lnTo>
                  <a:pt x="14235" y="2750"/>
                </a:lnTo>
                <a:lnTo>
                  <a:pt x="14600" y="2555"/>
                </a:lnTo>
                <a:lnTo>
                  <a:pt x="15306" y="2142"/>
                </a:lnTo>
                <a:lnTo>
                  <a:pt x="15963" y="1752"/>
                </a:lnTo>
                <a:lnTo>
                  <a:pt x="16304" y="1558"/>
                </a:lnTo>
                <a:lnTo>
                  <a:pt x="16644" y="1388"/>
                </a:lnTo>
                <a:lnTo>
                  <a:pt x="17009" y="1242"/>
                </a:lnTo>
                <a:lnTo>
                  <a:pt x="17350" y="1096"/>
                </a:lnTo>
                <a:lnTo>
                  <a:pt x="17715" y="974"/>
                </a:lnTo>
                <a:lnTo>
                  <a:pt x="18104" y="877"/>
                </a:lnTo>
                <a:lnTo>
                  <a:pt x="18153" y="877"/>
                </a:lnTo>
                <a:lnTo>
                  <a:pt x="18202" y="828"/>
                </a:lnTo>
                <a:lnTo>
                  <a:pt x="18372" y="828"/>
                </a:lnTo>
                <a:lnTo>
                  <a:pt x="18542" y="804"/>
                </a:lnTo>
                <a:close/>
                <a:moveTo>
                  <a:pt x="6279" y="1"/>
                </a:moveTo>
                <a:lnTo>
                  <a:pt x="6206" y="25"/>
                </a:lnTo>
                <a:lnTo>
                  <a:pt x="5403" y="487"/>
                </a:lnTo>
                <a:lnTo>
                  <a:pt x="4989" y="682"/>
                </a:lnTo>
                <a:lnTo>
                  <a:pt x="4551" y="852"/>
                </a:lnTo>
                <a:lnTo>
                  <a:pt x="4113" y="1023"/>
                </a:lnTo>
                <a:lnTo>
                  <a:pt x="3700" y="1217"/>
                </a:lnTo>
                <a:lnTo>
                  <a:pt x="3286" y="1436"/>
                </a:lnTo>
                <a:lnTo>
                  <a:pt x="2872" y="1679"/>
                </a:lnTo>
                <a:lnTo>
                  <a:pt x="2021" y="2117"/>
                </a:lnTo>
                <a:lnTo>
                  <a:pt x="1607" y="2361"/>
                </a:lnTo>
                <a:lnTo>
                  <a:pt x="1193" y="2604"/>
                </a:lnTo>
                <a:lnTo>
                  <a:pt x="974" y="2726"/>
                </a:lnTo>
                <a:lnTo>
                  <a:pt x="731" y="2896"/>
                </a:lnTo>
                <a:lnTo>
                  <a:pt x="488" y="3066"/>
                </a:lnTo>
                <a:lnTo>
                  <a:pt x="390" y="3188"/>
                </a:lnTo>
                <a:lnTo>
                  <a:pt x="317" y="3285"/>
                </a:lnTo>
                <a:lnTo>
                  <a:pt x="269" y="3310"/>
                </a:lnTo>
                <a:lnTo>
                  <a:pt x="220" y="3358"/>
                </a:lnTo>
                <a:lnTo>
                  <a:pt x="171" y="3480"/>
                </a:lnTo>
                <a:lnTo>
                  <a:pt x="123" y="3626"/>
                </a:lnTo>
                <a:lnTo>
                  <a:pt x="98" y="3894"/>
                </a:lnTo>
                <a:lnTo>
                  <a:pt x="98" y="4186"/>
                </a:lnTo>
                <a:lnTo>
                  <a:pt x="123" y="4453"/>
                </a:lnTo>
                <a:lnTo>
                  <a:pt x="147" y="5329"/>
                </a:lnTo>
                <a:lnTo>
                  <a:pt x="171" y="6205"/>
                </a:lnTo>
                <a:lnTo>
                  <a:pt x="171" y="8006"/>
                </a:lnTo>
                <a:lnTo>
                  <a:pt x="147" y="9782"/>
                </a:lnTo>
                <a:lnTo>
                  <a:pt x="123" y="10658"/>
                </a:lnTo>
                <a:lnTo>
                  <a:pt x="98" y="11558"/>
                </a:lnTo>
                <a:lnTo>
                  <a:pt x="1" y="13335"/>
                </a:lnTo>
                <a:lnTo>
                  <a:pt x="1" y="13700"/>
                </a:lnTo>
                <a:lnTo>
                  <a:pt x="1" y="14065"/>
                </a:lnTo>
                <a:lnTo>
                  <a:pt x="25" y="14454"/>
                </a:lnTo>
                <a:lnTo>
                  <a:pt x="50" y="14819"/>
                </a:lnTo>
                <a:lnTo>
                  <a:pt x="98" y="15233"/>
                </a:lnTo>
                <a:lnTo>
                  <a:pt x="123" y="15646"/>
                </a:lnTo>
                <a:lnTo>
                  <a:pt x="147" y="16060"/>
                </a:lnTo>
                <a:lnTo>
                  <a:pt x="171" y="16255"/>
                </a:lnTo>
                <a:lnTo>
                  <a:pt x="220" y="16474"/>
                </a:lnTo>
                <a:lnTo>
                  <a:pt x="244" y="16547"/>
                </a:lnTo>
                <a:lnTo>
                  <a:pt x="317" y="16595"/>
                </a:lnTo>
                <a:lnTo>
                  <a:pt x="390" y="16620"/>
                </a:lnTo>
                <a:lnTo>
                  <a:pt x="463" y="16620"/>
                </a:lnTo>
                <a:lnTo>
                  <a:pt x="536" y="16644"/>
                </a:lnTo>
                <a:lnTo>
                  <a:pt x="707" y="16620"/>
                </a:lnTo>
                <a:lnTo>
                  <a:pt x="877" y="16595"/>
                </a:lnTo>
                <a:lnTo>
                  <a:pt x="1218" y="16474"/>
                </a:lnTo>
                <a:lnTo>
                  <a:pt x="1850" y="16230"/>
                </a:lnTo>
                <a:lnTo>
                  <a:pt x="2240" y="16060"/>
                </a:lnTo>
                <a:lnTo>
                  <a:pt x="2605" y="15890"/>
                </a:lnTo>
                <a:lnTo>
                  <a:pt x="2970" y="15719"/>
                </a:lnTo>
                <a:lnTo>
                  <a:pt x="3310" y="15525"/>
                </a:lnTo>
                <a:lnTo>
                  <a:pt x="4064" y="15062"/>
                </a:lnTo>
                <a:lnTo>
                  <a:pt x="4819" y="14624"/>
                </a:lnTo>
                <a:lnTo>
                  <a:pt x="5549" y="14162"/>
                </a:lnTo>
                <a:lnTo>
                  <a:pt x="5938" y="13967"/>
                </a:lnTo>
                <a:lnTo>
                  <a:pt x="6327" y="13748"/>
                </a:lnTo>
                <a:lnTo>
                  <a:pt x="6400" y="13821"/>
                </a:lnTo>
                <a:lnTo>
                  <a:pt x="6473" y="13870"/>
                </a:lnTo>
                <a:lnTo>
                  <a:pt x="6546" y="13894"/>
                </a:lnTo>
                <a:lnTo>
                  <a:pt x="6644" y="13870"/>
                </a:lnTo>
                <a:lnTo>
                  <a:pt x="6741" y="13992"/>
                </a:lnTo>
                <a:lnTo>
                  <a:pt x="6863" y="14089"/>
                </a:lnTo>
                <a:lnTo>
                  <a:pt x="7130" y="14259"/>
                </a:lnTo>
                <a:lnTo>
                  <a:pt x="7422" y="14405"/>
                </a:lnTo>
                <a:lnTo>
                  <a:pt x="7690" y="14551"/>
                </a:lnTo>
                <a:lnTo>
                  <a:pt x="8517" y="14916"/>
                </a:lnTo>
                <a:lnTo>
                  <a:pt x="9345" y="15306"/>
                </a:lnTo>
                <a:lnTo>
                  <a:pt x="10878" y="16011"/>
                </a:lnTo>
                <a:lnTo>
                  <a:pt x="11656" y="16352"/>
                </a:lnTo>
                <a:lnTo>
                  <a:pt x="12435" y="16644"/>
                </a:lnTo>
                <a:lnTo>
                  <a:pt x="12459" y="16668"/>
                </a:lnTo>
                <a:lnTo>
                  <a:pt x="12508" y="16741"/>
                </a:lnTo>
                <a:lnTo>
                  <a:pt x="12581" y="16766"/>
                </a:lnTo>
                <a:lnTo>
                  <a:pt x="12678" y="16766"/>
                </a:lnTo>
                <a:lnTo>
                  <a:pt x="12751" y="16741"/>
                </a:lnTo>
                <a:lnTo>
                  <a:pt x="12800" y="16693"/>
                </a:lnTo>
                <a:lnTo>
                  <a:pt x="12897" y="16717"/>
                </a:lnTo>
                <a:lnTo>
                  <a:pt x="13019" y="16717"/>
                </a:lnTo>
                <a:lnTo>
                  <a:pt x="13286" y="16668"/>
                </a:lnTo>
                <a:lnTo>
                  <a:pt x="13530" y="16595"/>
                </a:lnTo>
                <a:lnTo>
                  <a:pt x="13724" y="16522"/>
                </a:lnTo>
                <a:lnTo>
                  <a:pt x="14211" y="16279"/>
                </a:lnTo>
                <a:lnTo>
                  <a:pt x="14698" y="16036"/>
                </a:lnTo>
                <a:lnTo>
                  <a:pt x="15647" y="15500"/>
                </a:lnTo>
                <a:lnTo>
                  <a:pt x="16596" y="14965"/>
                </a:lnTo>
                <a:lnTo>
                  <a:pt x="17058" y="14697"/>
                </a:lnTo>
                <a:lnTo>
                  <a:pt x="17545" y="14478"/>
                </a:lnTo>
                <a:lnTo>
                  <a:pt x="17885" y="14332"/>
                </a:lnTo>
                <a:lnTo>
                  <a:pt x="18226" y="14186"/>
                </a:lnTo>
                <a:lnTo>
                  <a:pt x="18542" y="14016"/>
                </a:lnTo>
                <a:lnTo>
                  <a:pt x="18688" y="13894"/>
                </a:lnTo>
                <a:lnTo>
                  <a:pt x="18834" y="13773"/>
                </a:lnTo>
                <a:lnTo>
                  <a:pt x="18883" y="13748"/>
                </a:lnTo>
                <a:lnTo>
                  <a:pt x="18932" y="13724"/>
                </a:lnTo>
                <a:lnTo>
                  <a:pt x="18980" y="13651"/>
                </a:lnTo>
                <a:lnTo>
                  <a:pt x="18980" y="13578"/>
                </a:lnTo>
                <a:lnTo>
                  <a:pt x="18980" y="12726"/>
                </a:lnTo>
                <a:lnTo>
                  <a:pt x="18956" y="11875"/>
                </a:lnTo>
                <a:lnTo>
                  <a:pt x="18883" y="10171"/>
                </a:lnTo>
                <a:lnTo>
                  <a:pt x="18859" y="9271"/>
                </a:lnTo>
                <a:lnTo>
                  <a:pt x="18859" y="8347"/>
                </a:lnTo>
                <a:lnTo>
                  <a:pt x="18883" y="6546"/>
                </a:lnTo>
                <a:lnTo>
                  <a:pt x="18932" y="4648"/>
                </a:lnTo>
                <a:lnTo>
                  <a:pt x="18956" y="2726"/>
                </a:lnTo>
                <a:lnTo>
                  <a:pt x="18980" y="2215"/>
                </a:lnTo>
                <a:lnTo>
                  <a:pt x="18980" y="1679"/>
                </a:lnTo>
                <a:lnTo>
                  <a:pt x="18932" y="1144"/>
                </a:lnTo>
                <a:lnTo>
                  <a:pt x="18883" y="901"/>
                </a:lnTo>
                <a:lnTo>
                  <a:pt x="18834" y="633"/>
                </a:lnTo>
                <a:lnTo>
                  <a:pt x="18883" y="585"/>
                </a:lnTo>
                <a:lnTo>
                  <a:pt x="18883" y="512"/>
                </a:lnTo>
                <a:lnTo>
                  <a:pt x="18883" y="439"/>
                </a:lnTo>
                <a:lnTo>
                  <a:pt x="18834" y="366"/>
                </a:lnTo>
                <a:lnTo>
                  <a:pt x="18761" y="293"/>
                </a:lnTo>
                <a:lnTo>
                  <a:pt x="18664" y="244"/>
                </a:lnTo>
                <a:lnTo>
                  <a:pt x="18421" y="244"/>
                </a:lnTo>
                <a:lnTo>
                  <a:pt x="18177" y="317"/>
                </a:lnTo>
                <a:lnTo>
                  <a:pt x="17958" y="414"/>
                </a:lnTo>
                <a:lnTo>
                  <a:pt x="17715" y="487"/>
                </a:lnTo>
                <a:lnTo>
                  <a:pt x="17374" y="585"/>
                </a:lnTo>
                <a:lnTo>
                  <a:pt x="17058" y="706"/>
                </a:lnTo>
                <a:lnTo>
                  <a:pt x="16742" y="828"/>
                </a:lnTo>
                <a:lnTo>
                  <a:pt x="16425" y="974"/>
                </a:lnTo>
                <a:lnTo>
                  <a:pt x="15817" y="1290"/>
                </a:lnTo>
                <a:lnTo>
                  <a:pt x="15209" y="1655"/>
                </a:lnTo>
                <a:lnTo>
                  <a:pt x="14479" y="2117"/>
                </a:lnTo>
                <a:lnTo>
                  <a:pt x="14089" y="2312"/>
                </a:lnTo>
                <a:lnTo>
                  <a:pt x="13700" y="2507"/>
                </a:lnTo>
                <a:lnTo>
                  <a:pt x="13432" y="2628"/>
                </a:lnTo>
                <a:lnTo>
                  <a:pt x="13165" y="2750"/>
                </a:lnTo>
                <a:lnTo>
                  <a:pt x="12897" y="2920"/>
                </a:lnTo>
                <a:lnTo>
                  <a:pt x="12654" y="3091"/>
                </a:lnTo>
                <a:lnTo>
                  <a:pt x="12532" y="2969"/>
                </a:lnTo>
                <a:lnTo>
                  <a:pt x="12386" y="2896"/>
                </a:lnTo>
                <a:lnTo>
                  <a:pt x="12070" y="2750"/>
                </a:lnTo>
                <a:lnTo>
                  <a:pt x="11875" y="2653"/>
                </a:lnTo>
                <a:lnTo>
                  <a:pt x="11705" y="2555"/>
                </a:lnTo>
                <a:lnTo>
                  <a:pt x="11316" y="2336"/>
                </a:lnTo>
                <a:lnTo>
                  <a:pt x="11072" y="2190"/>
                </a:lnTo>
                <a:lnTo>
                  <a:pt x="10805" y="2093"/>
                </a:lnTo>
                <a:lnTo>
                  <a:pt x="10294" y="1874"/>
                </a:lnTo>
                <a:lnTo>
                  <a:pt x="9758" y="1679"/>
                </a:lnTo>
                <a:lnTo>
                  <a:pt x="9223" y="1485"/>
                </a:lnTo>
                <a:lnTo>
                  <a:pt x="8298" y="1071"/>
                </a:lnTo>
                <a:lnTo>
                  <a:pt x="7836" y="852"/>
                </a:lnTo>
                <a:lnTo>
                  <a:pt x="7398" y="609"/>
                </a:lnTo>
                <a:lnTo>
                  <a:pt x="7325" y="536"/>
                </a:lnTo>
                <a:lnTo>
                  <a:pt x="7228" y="439"/>
                </a:lnTo>
                <a:lnTo>
                  <a:pt x="7057" y="244"/>
                </a:lnTo>
                <a:lnTo>
                  <a:pt x="6936" y="147"/>
                </a:lnTo>
                <a:lnTo>
                  <a:pt x="6838" y="74"/>
                </a:lnTo>
                <a:lnTo>
                  <a:pt x="6741" y="25"/>
                </a:lnTo>
                <a:lnTo>
                  <a:pt x="6619" y="25"/>
                </a:lnTo>
                <a:lnTo>
                  <a:pt x="6571" y="1"/>
                </a:lnTo>
                <a:lnTo>
                  <a:pt x="6498" y="1"/>
                </a:lnTo>
                <a:lnTo>
                  <a:pt x="6449" y="25"/>
                </a:lnTo>
                <a:lnTo>
                  <a:pt x="640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3" name="Graphic 12" descr="Open quotation mark with solid fill">
            <a:extLst>
              <a:ext uri="{FF2B5EF4-FFF2-40B4-BE49-F238E27FC236}">
                <a16:creationId xmlns:a16="http://schemas.microsoft.com/office/drawing/2014/main" id="{B74AB20F-DBB7-CFDB-C179-7E6BE7337F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14722" y="1442113"/>
            <a:ext cx="914400" cy="914400"/>
          </a:xfrm>
          <a:prstGeom prst="rect">
            <a:avLst/>
          </a:prstGeom>
        </p:spPr>
      </p:pic>
    </p:spTree>
    <p:extLst>
      <p:ext uri="{BB962C8B-B14F-4D97-AF65-F5344CB8AC3E}">
        <p14:creationId xmlns:p14="http://schemas.microsoft.com/office/powerpoint/2010/main" val="16910834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33</a:t>
            </a:fld>
            <a:endParaRPr lang="da-DK"/>
          </a:p>
        </p:txBody>
      </p:sp>
      <p:sp>
        <p:nvSpPr>
          <p:cNvPr id="2" name="Google Shape;846;p29">
            <a:extLst>
              <a:ext uri="{FF2B5EF4-FFF2-40B4-BE49-F238E27FC236}">
                <a16:creationId xmlns:a16="http://schemas.microsoft.com/office/drawing/2014/main" id="{15E4C8ED-7C1D-F41F-CFD3-DC21D4DDC86D}"/>
              </a:ext>
            </a:extLst>
          </p:cNvPr>
          <p:cNvSpPr/>
          <p:nvPr/>
        </p:nvSpPr>
        <p:spPr>
          <a:xfrm>
            <a:off x="0" y="346507"/>
            <a:ext cx="12192001" cy="854281"/>
          </a:xfrm>
          <a:prstGeom prst="rect">
            <a:avLst/>
          </a:prstGeom>
          <a:solidFill>
            <a:schemeClr val="accent4"/>
          </a:solidFill>
          <a:ln>
            <a:noFill/>
          </a:ln>
        </p:spPr>
        <p:txBody>
          <a:bodyPr spcFirstLastPara="1" wrap="square" lIns="396000" tIns="91425" rIns="91425" bIns="91425" anchor="ctr" anchorCtr="0">
            <a:noAutofit/>
          </a:bodyPr>
          <a:lstStyle/>
          <a:p>
            <a:pPr algn="ctr"/>
            <a:r>
              <a:rPr lang="da-DK" sz="3200" b="1">
                <a:solidFill>
                  <a:schemeClr val="bg1"/>
                </a:solidFill>
                <a:latin typeface="Amatic SC" panose="00000500000000000000" pitchFamily="2" charset="-79"/>
                <a:cs typeface="Amatic SC" panose="00000500000000000000" pitchFamily="2" charset="-79"/>
              </a:rPr>
              <a:t>refleksionsspørgsmål</a:t>
            </a:r>
          </a:p>
        </p:txBody>
      </p:sp>
      <p:sp>
        <p:nvSpPr>
          <p:cNvPr id="13" name="Rectangle 12">
            <a:extLst>
              <a:ext uri="{FF2B5EF4-FFF2-40B4-BE49-F238E27FC236}">
                <a16:creationId xmlns:a16="http://schemas.microsoft.com/office/drawing/2014/main" id="{32652A45-6632-026E-3F16-F8CAD5C86D73}"/>
              </a:ext>
            </a:extLst>
          </p:cNvPr>
          <p:cNvSpPr/>
          <p:nvPr/>
        </p:nvSpPr>
        <p:spPr>
          <a:xfrm rot="1069853">
            <a:off x="4687356" y="2960575"/>
            <a:ext cx="2817291" cy="235549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endParaRPr lang="da-DK" sz="2400" b="1">
              <a:solidFill>
                <a:srgbClr val="273F68"/>
              </a:solidFill>
              <a:latin typeface="Amatic SC" panose="00000500000000000000" pitchFamily="2" charset="-79"/>
              <a:cs typeface="Amatic SC" panose="00000500000000000000" pitchFamily="2" charset="-79"/>
            </a:endParaRPr>
          </a:p>
          <a:p>
            <a:pPr algn="ctr"/>
            <a:r>
              <a:rPr lang="da-DK" sz="2400" b="1">
                <a:solidFill>
                  <a:srgbClr val="273F68"/>
                </a:solidFill>
                <a:latin typeface="Amatic SC" panose="00000500000000000000" pitchFamily="2" charset="-79"/>
                <a:cs typeface="Amatic SC" panose="00000500000000000000" pitchFamily="2" charset="-79"/>
              </a:rPr>
              <a:t>Hvordan vil vi i vores team sikre tid til at analysere og evaluere vores praksis (fx ved brug af data)? </a:t>
            </a:r>
            <a:endParaRPr lang="da-DK" sz="2000" b="1">
              <a:solidFill>
                <a:srgbClr val="273F68"/>
              </a:solidFill>
              <a:latin typeface="Amatic SC" panose="00000500000000000000" pitchFamily="2" charset="-79"/>
              <a:cs typeface="Amatic SC" panose="00000500000000000000" pitchFamily="2" charset="-79"/>
            </a:endParaRPr>
          </a:p>
        </p:txBody>
      </p:sp>
      <p:pic>
        <p:nvPicPr>
          <p:cNvPr id="14" name="Graphic 13" descr="Paperclip with solid fill">
            <a:extLst>
              <a:ext uri="{FF2B5EF4-FFF2-40B4-BE49-F238E27FC236}">
                <a16:creationId xmlns:a16="http://schemas.microsoft.com/office/drawing/2014/main" id="{331EF372-0C92-9E48-6FA1-62B1C0B00D9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140968">
            <a:off x="6056811" y="2530028"/>
            <a:ext cx="914400" cy="914400"/>
          </a:xfrm>
          <a:prstGeom prst="rect">
            <a:avLst/>
          </a:prstGeom>
        </p:spPr>
      </p:pic>
      <p:sp>
        <p:nvSpPr>
          <p:cNvPr id="15" name="Rectangle 14">
            <a:extLst>
              <a:ext uri="{FF2B5EF4-FFF2-40B4-BE49-F238E27FC236}">
                <a16:creationId xmlns:a16="http://schemas.microsoft.com/office/drawing/2014/main" id="{8484EB3E-0EC0-445D-2269-68ABAC2436EB}"/>
              </a:ext>
            </a:extLst>
          </p:cNvPr>
          <p:cNvSpPr/>
          <p:nvPr/>
        </p:nvSpPr>
        <p:spPr>
          <a:xfrm rot="437979">
            <a:off x="8481376" y="2405627"/>
            <a:ext cx="2817291" cy="235549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000">
              <a:solidFill>
                <a:srgbClr val="273F68"/>
              </a:solidFill>
              <a:latin typeface="Amatic SC" panose="00000500000000000000" pitchFamily="2" charset="-79"/>
              <a:cs typeface="Amatic SC" panose="00000500000000000000" pitchFamily="2" charset="-79"/>
            </a:endParaRPr>
          </a:p>
          <a:p>
            <a:pPr algn="ctr"/>
            <a:r>
              <a:rPr lang="da-DK" sz="2400" b="1">
                <a:solidFill>
                  <a:srgbClr val="273F68"/>
                </a:solidFill>
                <a:latin typeface="Amatic SC" panose="00000500000000000000" pitchFamily="2" charset="-79"/>
                <a:cs typeface="Amatic SC" panose="00000500000000000000" pitchFamily="2" charset="-79"/>
              </a:rPr>
              <a:t>Hvordan kan vi i højere grad inddrage vejledere med specialpædagogiske kompetencer i vores arbejde?</a:t>
            </a:r>
            <a:r>
              <a:rPr lang="da-DK" sz="2200" b="1">
                <a:solidFill>
                  <a:srgbClr val="273F68"/>
                </a:solidFill>
                <a:latin typeface="Amatic SC" panose="00000500000000000000" pitchFamily="2" charset="-79"/>
                <a:cs typeface="Amatic SC" panose="00000500000000000000" pitchFamily="2" charset="-79"/>
              </a:rPr>
              <a:t> </a:t>
            </a:r>
          </a:p>
        </p:txBody>
      </p:sp>
      <p:sp>
        <p:nvSpPr>
          <p:cNvPr id="17" name="Rectangle 16">
            <a:extLst>
              <a:ext uri="{FF2B5EF4-FFF2-40B4-BE49-F238E27FC236}">
                <a16:creationId xmlns:a16="http://schemas.microsoft.com/office/drawing/2014/main" id="{61E620FF-6BE6-A070-EF76-C0725759776A}"/>
              </a:ext>
            </a:extLst>
          </p:cNvPr>
          <p:cNvSpPr/>
          <p:nvPr/>
        </p:nvSpPr>
        <p:spPr>
          <a:xfrm rot="20942225">
            <a:off x="1206123" y="2405627"/>
            <a:ext cx="2817291" cy="235549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800" noProof="0">
              <a:solidFill>
                <a:srgbClr val="273F68"/>
              </a:solidFill>
              <a:latin typeface="Amatic SC" panose="00000500000000000000" pitchFamily="2" charset="-79"/>
              <a:cs typeface="Amatic SC" panose="00000500000000000000" pitchFamily="2" charset="-79"/>
            </a:endParaRPr>
          </a:p>
          <a:p>
            <a:pPr algn="ctr"/>
            <a:r>
              <a:rPr lang="da-DK" sz="2400" b="1" noProof="0">
                <a:solidFill>
                  <a:srgbClr val="273F68"/>
                </a:solidFill>
                <a:latin typeface="Amatic SC" panose="00000500000000000000" pitchFamily="2" charset="-79"/>
                <a:cs typeface="Amatic SC" panose="00000500000000000000" pitchFamily="2" charset="-79"/>
              </a:rPr>
              <a:t>Hvad kan vi gøre for, at vores praksis og teamsamarbejde i højere grad afspejler vores børnesyn? </a:t>
            </a:r>
          </a:p>
        </p:txBody>
      </p:sp>
      <p:pic>
        <p:nvPicPr>
          <p:cNvPr id="18" name="Graphic 17" descr="Paperclip with solid fill">
            <a:extLst>
              <a:ext uri="{FF2B5EF4-FFF2-40B4-BE49-F238E27FC236}">
                <a16:creationId xmlns:a16="http://schemas.microsoft.com/office/drawing/2014/main" id="{B9BC66BD-03D1-F366-0840-BEB2988C5A9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1114206">
            <a:off x="1899915" y="1914486"/>
            <a:ext cx="914400" cy="914400"/>
          </a:xfrm>
          <a:prstGeom prst="rect">
            <a:avLst/>
          </a:prstGeom>
        </p:spPr>
      </p:pic>
      <p:pic>
        <p:nvPicPr>
          <p:cNvPr id="19" name="Graphic 18" descr="Paperclip with solid fill">
            <a:extLst>
              <a:ext uri="{FF2B5EF4-FFF2-40B4-BE49-F238E27FC236}">
                <a16:creationId xmlns:a16="http://schemas.microsoft.com/office/drawing/2014/main" id="{C08E5D5F-A56F-92B2-0509-3AFC8459F8C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346786">
            <a:off x="9657072" y="1930604"/>
            <a:ext cx="914400" cy="914400"/>
          </a:xfrm>
          <a:prstGeom prst="rect">
            <a:avLst/>
          </a:prstGeom>
        </p:spPr>
      </p:pic>
      <p:sp>
        <p:nvSpPr>
          <p:cNvPr id="3" name="TextBox 2">
            <a:extLst>
              <a:ext uri="{FF2B5EF4-FFF2-40B4-BE49-F238E27FC236}">
                <a16:creationId xmlns:a16="http://schemas.microsoft.com/office/drawing/2014/main" id="{1EE91C3D-64AC-2F5F-B371-C0406E5340D4}"/>
              </a:ext>
            </a:extLst>
          </p:cNvPr>
          <p:cNvSpPr txBox="1"/>
          <p:nvPr/>
        </p:nvSpPr>
        <p:spPr>
          <a:xfrm>
            <a:off x="1007854" y="6150735"/>
            <a:ext cx="10772775" cy="123111"/>
          </a:xfrm>
          <a:prstGeom prst="rect">
            <a:avLst/>
          </a:prstGeom>
          <a:noFill/>
        </p:spPr>
        <p:txBody>
          <a:bodyPr wrap="square" lIns="0" tIns="0" rIns="0" bIns="0" rtlCol="0">
            <a:spAutoFit/>
          </a:bodyPr>
          <a:lstStyle/>
          <a:p>
            <a:r>
              <a:rPr lang="da-DK" sz="800">
                <a:latin typeface="Quicksand" panose="020B0604020202020204"/>
              </a:rPr>
              <a:t>*I kan med fordel inddrage og perspektivere til skolens resultater i skolerapporten </a:t>
            </a:r>
            <a:r>
              <a:rPr lang="da-DK" sz="800">
                <a:solidFill>
                  <a:schemeClr val="tx1"/>
                </a:solidFill>
                <a:latin typeface="Quicksand" panose="020B0604020202020204" charset="0"/>
                <a:ea typeface="Quicksand"/>
                <a:cs typeface="Quicksand" panose="020B0604020202020204" charset="0"/>
                <a:sym typeface="Quicksand"/>
              </a:rPr>
              <a:t>under temaet ”Teamets samarbejde i PLF”. </a:t>
            </a:r>
            <a:endParaRPr lang="da-DK" sz="800">
              <a:latin typeface="Quicksand" panose="020B0604020202020204"/>
            </a:endParaRPr>
          </a:p>
        </p:txBody>
      </p:sp>
    </p:spTree>
    <p:extLst>
      <p:ext uri="{BB962C8B-B14F-4D97-AF65-F5344CB8AC3E}">
        <p14:creationId xmlns:p14="http://schemas.microsoft.com/office/powerpoint/2010/main" val="1620609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Shape 69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41E3BF-4194-4AEC-AE0B-9FE634FD6E9D}"/>
              </a:ext>
            </a:extLst>
          </p:cNvPr>
          <p:cNvGraphicFramePr>
            <a:graphicFrameLocks noChangeAspect="1"/>
          </p:cNvGraphicFramePr>
          <p:nvPr>
            <p:custDataLst>
              <p:tags r:id="rId1"/>
            </p:custDataLst>
            <p:extLst>
              <p:ext uri="{D42A27DB-BD31-4B8C-83A1-F6EECF244321}">
                <p14:modId xmlns:p14="http://schemas.microsoft.com/office/powerpoint/2010/main" val="303981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2" name="Object 1" hidden="1">
                        <a:extLst>
                          <a:ext uri="{FF2B5EF4-FFF2-40B4-BE49-F238E27FC236}">
                            <a16:creationId xmlns:a16="http://schemas.microsoft.com/office/drawing/2014/main" id="{CB41E3BF-4194-4AEC-AE0B-9FE634FD6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94" name="Google Shape;694;p13"/>
          <p:cNvSpPr txBox="1">
            <a:spLocks noGrp="1"/>
          </p:cNvSpPr>
          <p:nvPr>
            <p:ph type="ctrTitle"/>
          </p:nvPr>
        </p:nvSpPr>
        <p:spPr>
          <a:xfrm>
            <a:off x="3328946" y="2157590"/>
            <a:ext cx="5534107" cy="2542820"/>
          </a:xfrm>
          <a:prstGeom prst="rect">
            <a:avLst/>
          </a:prstGeom>
          <a:solidFill>
            <a:schemeClr val="accent3"/>
          </a:solidFill>
        </p:spPr>
        <p:txBody>
          <a:bodyPr spcFirstLastPara="1" wrap="square" lIns="0" tIns="0" rIns="0" bIns="0" anchor="ctr" anchorCtr="0">
            <a:noAutofit/>
          </a:bodyPr>
          <a:lstStyle/>
          <a:p>
            <a:pPr marL="0" lvl="0" indent="0" algn="ctr">
              <a:spcBef>
                <a:spcPts val="0"/>
              </a:spcBef>
              <a:spcAft>
                <a:spcPts val="0"/>
              </a:spcAft>
              <a:buNone/>
            </a:pPr>
            <a:r>
              <a:rPr lang="da-DK" sz="4800" b="1">
                <a:solidFill>
                  <a:schemeClr val="bg1"/>
                </a:solidFill>
                <a:latin typeface="Amatic SC"/>
                <a:ea typeface="Amatic SC"/>
                <a:cs typeface="Amatic SC"/>
                <a:sym typeface="Amatic SC"/>
              </a:rPr>
              <a:t>ledelsen udmønter rolle forskelligt, men bør være tæt på udviklingsproces </a:t>
            </a:r>
          </a:p>
        </p:txBody>
      </p:sp>
    </p:spTree>
    <p:extLst>
      <p:ext uri="{BB962C8B-B14F-4D97-AF65-F5344CB8AC3E}">
        <p14:creationId xmlns:p14="http://schemas.microsoft.com/office/powerpoint/2010/main" val="23071078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35</a:t>
            </a:fld>
            <a:endParaRPr lang="da-DK"/>
          </a:p>
        </p:txBody>
      </p:sp>
      <p:sp>
        <p:nvSpPr>
          <p:cNvPr id="3" name="Slide Number Placeholder 3">
            <a:extLst>
              <a:ext uri="{FF2B5EF4-FFF2-40B4-BE49-F238E27FC236}">
                <a16:creationId xmlns:a16="http://schemas.microsoft.com/office/drawing/2014/main" id="{D649DCE5-69AD-C1B0-9815-C2BE39487E43}"/>
              </a:ext>
            </a:extLst>
          </p:cNvPr>
          <p:cNvSpPr txBox="1">
            <a:spLocks/>
          </p:cNvSpPr>
          <p:nvPr/>
        </p:nvSpPr>
        <p:spPr>
          <a:xfrm>
            <a:off x="11206827" y="5223962"/>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6" name="Rectangle 15">
            <a:extLst>
              <a:ext uri="{FF2B5EF4-FFF2-40B4-BE49-F238E27FC236}">
                <a16:creationId xmlns:a16="http://schemas.microsoft.com/office/drawing/2014/main" id="{69E8CE64-0533-7299-077A-F5CBD4B386AF}"/>
              </a:ext>
            </a:extLst>
          </p:cNvPr>
          <p:cNvSpPr/>
          <p:nvPr/>
        </p:nvSpPr>
        <p:spPr>
          <a:xfrm>
            <a:off x="770412" y="1865191"/>
            <a:ext cx="6346176" cy="274335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2" name="Google Shape;846;p29">
            <a:extLst>
              <a:ext uri="{FF2B5EF4-FFF2-40B4-BE49-F238E27FC236}">
                <a16:creationId xmlns:a16="http://schemas.microsoft.com/office/drawing/2014/main" id="{15E4C8ED-7C1D-F41F-CFD3-DC21D4DDC86D}"/>
              </a:ext>
            </a:extLst>
          </p:cNvPr>
          <p:cNvSpPr/>
          <p:nvPr/>
        </p:nvSpPr>
        <p:spPr>
          <a:xfrm>
            <a:off x="0" y="346507"/>
            <a:ext cx="12192001" cy="854281"/>
          </a:xfrm>
          <a:prstGeom prst="rect">
            <a:avLst/>
          </a:prstGeom>
          <a:solidFill>
            <a:schemeClr val="accent3"/>
          </a:solidFill>
          <a:ln>
            <a:noFill/>
          </a:ln>
        </p:spPr>
        <p:txBody>
          <a:bodyPr spcFirstLastPara="1" wrap="square" lIns="396000" tIns="91425" rIns="91425" bIns="91425" anchor="ctr" anchorCtr="0">
            <a:noAutofit/>
          </a:bodyPr>
          <a:lstStyle/>
          <a:p>
            <a:pPr algn="ctr"/>
            <a:r>
              <a:rPr lang="da-DK" sz="3200" b="1">
                <a:solidFill>
                  <a:schemeClr val="bg1"/>
                </a:solidFill>
                <a:latin typeface="Amatic SC"/>
                <a:ea typeface="Amatic SC"/>
                <a:cs typeface="Amatic SC"/>
                <a:sym typeface="Amatic SC"/>
              </a:rPr>
              <a:t>ledelsen udmønter rolle forskelligt, men bør være tæt på udviklingsproces </a:t>
            </a:r>
            <a:endParaRPr lang="da-DK" sz="3200" b="1">
              <a:solidFill>
                <a:schemeClr val="bg1"/>
              </a:solidFill>
              <a:latin typeface="Amatic SC" panose="00000500000000000000" pitchFamily="2" charset="-79"/>
              <a:cs typeface="Amatic SC" panose="00000500000000000000" pitchFamily="2" charset="-79"/>
            </a:endParaRPr>
          </a:p>
        </p:txBody>
      </p:sp>
      <p:sp>
        <p:nvSpPr>
          <p:cNvPr id="6" name="TextBox 5">
            <a:extLst>
              <a:ext uri="{FF2B5EF4-FFF2-40B4-BE49-F238E27FC236}">
                <a16:creationId xmlns:a16="http://schemas.microsoft.com/office/drawing/2014/main" id="{479CD88A-6E58-621F-7006-85774279DF87}"/>
              </a:ext>
            </a:extLst>
          </p:cNvPr>
          <p:cNvSpPr txBox="1"/>
          <p:nvPr/>
        </p:nvSpPr>
        <p:spPr>
          <a:xfrm>
            <a:off x="770412" y="1583215"/>
            <a:ext cx="6346176" cy="666246"/>
          </a:xfrm>
          <a:prstGeom prst="rect">
            <a:avLst/>
          </a:prstGeom>
          <a:solidFill>
            <a:schemeClr val="accent3"/>
          </a:solidFill>
          <a:ln w="28575">
            <a:solidFill>
              <a:schemeClr val="accent3"/>
            </a:solidFill>
          </a:ln>
        </p:spPr>
        <p:txBody>
          <a:bodyPr wrap="square" lIns="0" tIns="0" rIns="0" bIns="0" rtlCol="0" anchor="ctr">
            <a:noAutofit/>
          </a:bodyPr>
          <a:lstStyle/>
          <a:p>
            <a:pPr algn="ctr"/>
            <a:r>
              <a:rPr lang="da-DK" sz="2400" b="1">
                <a:latin typeface="Amatic SC" panose="00000500000000000000" pitchFamily="2" charset="-79"/>
                <a:cs typeface="Amatic SC" panose="00000500000000000000" pitchFamily="2" charset="-79"/>
              </a:rPr>
              <a:t>det pædagogiske personale oplever, at…</a:t>
            </a:r>
          </a:p>
        </p:txBody>
      </p:sp>
      <p:sp>
        <p:nvSpPr>
          <p:cNvPr id="7" name="TextBox 6">
            <a:extLst>
              <a:ext uri="{FF2B5EF4-FFF2-40B4-BE49-F238E27FC236}">
                <a16:creationId xmlns:a16="http://schemas.microsoft.com/office/drawing/2014/main" id="{BD2606AB-11AB-17EB-93C7-331917089B99}"/>
              </a:ext>
            </a:extLst>
          </p:cNvPr>
          <p:cNvSpPr txBox="1"/>
          <p:nvPr/>
        </p:nvSpPr>
        <p:spPr>
          <a:xfrm>
            <a:off x="879231" y="2518936"/>
            <a:ext cx="6115595" cy="2246769"/>
          </a:xfrm>
          <a:prstGeom prst="rect">
            <a:avLst/>
          </a:prstGeom>
          <a:noFill/>
        </p:spPr>
        <p:txBody>
          <a:bodyPr wrap="square">
            <a:spAutoFit/>
          </a:bodyPr>
          <a:lstStyle/>
          <a:p>
            <a:pPr marL="360000" lvl="1"/>
            <a:r>
              <a:rPr lang="da-DK" sz="1400">
                <a:solidFill>
                  <a:schemeClr val="tx1"/>
                </a:solidFill>
                <a:latin typeface="Quicksand" panose="020B0604020202020204"/>
                <a:cs typeface="Amatic SC" panose="00000500000000000000" pitchFamily="2" charset="-79"/>
              </a:rPr>
              <a:t>…</a:t>
            </a:r>
            <a:r>
              <a:rPr lang="da-DK" sz="1400" b="1">
                <a:solidFill>
                  <a:schemeClr val="tx1"/>
                </a:solidFill>
                <a:latin typeface="Quicksand" panose="020B0604020202020204"/>
                <a:cs typeface="Amatic SC" panose="00000500000000000000" pitchFamily="2" charset="-79"/>
              </a:rPr>
              <a:t> ledelsen bakker op om og sætter retning </a:t>
            </a:r>
            <a:r>
              <a:rPr lang="da-DK" sz="1400">
                <a:solidFill>
                  <a:schemeClr val="tx1"/>
                </a:solidFill>
                <a:latin typeface="Quicksand" panose="020B0604020202020204"/>
                <a:cs typeface="Amatic SC" panose="00000500000000000000" pitchFamily="2" charset="-79"/>
              </a:rPr>
              <a:t>for arbejdet med at skabe deltagelsesmuligheder for alle.</a:t>
            </a:r>
          </a:p>
          <a:p>
            <a:pPr marL="360000" lvl="1"/>
            <a:endParaRPr lang="da-DK" sz="1400">
              <a:latin typeface="Quicksand" panose="020B0604020202020204"/>
              <a:cs typeface="Amatic SC" panose="00000500000000000000" pitchFamily="2" charset="-79"/>
            </a:endParaRPr>
          </a:p>
          <a:p>
            <a:pPr marL="360000" lvl="1"/>
            <a:r>
              <a:rPr lang="da-DK" sz="1400">
                <a:latin typeface="Quicksand" panose="020B0604020202020204"/>
                <a:cs typeface="Amatic SC" panose="00000500000000000000" pitchFamily="2" charset="-79"/>
              </a:rPr>
              <a:t>… </a:t>
            </a:r>
            <a:r>
              <a:rPr lang="da-DK" sz="1400">
                <a:latin typeface="Quicksand" panose="020B0604020202020204"/>
                <a:ea typeface="Verdana" panose="020B0604030504040204" pitchFamily="34" charset="0"/>
                <a:cs typeface="Amatic SC" panose="00000500000000000000" pitchFamily="2" charset="-79"/>
              </a:rPr>
              <a:t>ledelsen </a:t>
            </a:r>
            <a:r>
              <a:rPr lang="da-DK" sz="1400" b="1">
                <a:latin typeface="Quicksand" panose="020B0604020202020204"/>
                <a:ea typeface="Verdana" panose="020B0604030504040204" pitchFamily="34" charset="0"/>
                <a:cs typeface="Amatic SC" panose="00000500000000000000" pitchFamily="2" charset="-79"/>
              </a:rPr>
              <a:t>motiverer dem til at arbejde med at skabe deltagelsesmuligheder</a:t>
            </a:r>
            <a:r>
              <a:rPr lang="da-DK" sz="1400">
                <a:latin typeface="Quicksand" panose="020B0604020202020204"/>
                <a:ea typeface="Verdana" panose="020B0604030504040204" pitchFamily="34" charset="0"/>
                <a:cs typeface="Amatic SC" panose="00000500000000000000" pitchFamily="2" charset="-79"/>
              </a:rPr>
              <a:t> for alle elever.</a:t>
            </a:r>
          </a:p>
          <a:p>
            <a:pPr marL="360000" lvl="1"/>
            <a:endParaRPr lang="da-DK" sz="1400">
              <a:latin typeface="Quicksand" panose="020B0604020202020204"/>
              <a:ea typeface="Verdana" panose="020B0604030504040204" pitchFamily="34" charset="0"/>
              <a:cs typeface="Amatic SC" panose="00000500000000000000" pitchFamily="2" charset="-79"/>
            </a:endParaRPr>
          </a:p>
          <a:p>
            <a:pPr marL="360000" lvl="1"/>
            <a:r>
              <a:rPr lang="da-DK" sz="1400">
                <a:latin typeface="Quicksand" panose="020B0604020202020204"/>
                <a:ea typeface="Verdana" panose="020B0604030504040204" pitchFamily="34" charset="0"/>
                <a:cs typeface="Amatic SC" panose="00000500000000000000" pitchFamily="2" charset="-79"/>
              </a:rPr>
              <a:t>… der på deres skole </a:t>
            </a:r>
            <a:r>
              <a:rPr lang="da-DK" sz="1400" b="1">
                <a:latin typeface="Quicksand" panose="020B0604020202020204"/>
                <a:ea typeface="Verdana" panose="020B0604030504040204" pitchFamily="34" charset="0"/>
                <a:cs typeface="Amatic SC" panose="00000500000000000000" pitchFamily="2" charset="-79"/>
              </a:rPr>
              <a:t>er en klar vision eller et fælles mål </a:t>
            </a:r>
            <a:r>
              <a:rPr lang="da-DK" sz="1400">
                <a:latin typeface="Quicksand" panose="020B0604020202020204"/>
                <a:ea typeface="Verdana" panose="020B0604030504040204" pitchFamily="34" charset="0"/>
                <a:cs typeface="Amatic SC" panose="00000500000000000000" pitchFamily="2" charset="-79"/>
              </a:rPr>
              <a:t>for arbejdet med at skabe deltagelsesmuligheder for alle elever. </a:t>
            </a:r>
          </a:p>
          <a:p>
            <a:pPr marL="360000" lvl="1"/>
            <a:endParaRPr lang="da-DK" sz="1400">
              <a:latin typeface="Quicksand" panose="020B0604020202020204"/>
              <a:ea typeface="Verdana" panose="020B0604030504040204" pitchFamily="34" charset="0"/>
              <a:cs typeface="Amatic SC" panose="00000500000000000000" pitchFamily="2" charset="-79"/>
            </a:endParaRPr>
          </a:p>
          <a:p>
            <a:pPr marL="360000" lvl="1"/>
            <a:endParaRPr lang="da-DK" sz="1400">
              <a:latin typeface="Quicksand" panose="020B0604020202020204"/>
              <a:cs typeface="Amatic SC" panose="00000500000000000000" pitchFamily="2" charset="-79"/>
            </a:endParaRPr>
          </a:p>
        </p:txBody>
      </p:sp>
      <p:sp>
        <p:nvSpPr>
          <p:cNvPr id="11" name="TextBox 10">
            <a:extLst>
              <a:ext uri="{FF2B5EF4-FFF2-40B4-BE49-F238E27FC236}">
                <a16:creationId xmlns:a16="http://schemas.microsoft.com/office/drawing/2014/main" id="{6522811D-D684-D540-607B-3B8A9E427BF6}"/>
              </a:ext>
            </a:extLst>
          </p:cNvPr>
          <p:cNvSpPr txBox="1"/>
          <p:nvPr/>
        </p:nvSpPr>
        <p:spPr>
          <a:xfrm>
            <a:off x="8428257" y="2338517"/>
            <a:ext cx="3102151" cy="1569660"/>
          </a:xfrm>
          <a:prstGeom prst="rect">
            <a:avLst/>
          </a:prstGeom>
          <a:noFill/>
          <a:ln>
            <a:noFill/>
          </a:ln>
        </p:spPr>
        <p:txBody>
          <a:bodyPr wrap="square" lIns="0" tIns="0" rIns="0" bIns="0" rtlCol="0">
            <a:spAutoFit/>
          </a:bodyPr>
          <a:lstStyle/>
          <a:p>
            <a:r>
              <a:rPr lang="da-DK" sz="1400">
                <a:solidFill>
                  <a:schemeClr val="accent3"/>
                </a:solidFill>
                <a:latin typeface="Quicksand" panose="020B0604020202020204"/>
                <a:cs typeface="Quicksand" panose="020B0604020202020204" charset="0"/>
              </a:rPr>
              <a:t>Vores leder brænder også for det på en god måde. Og hende, der kommer ud [fra UCN, red.], hun er også så positiv overfor det, så man har lidt svært ved så at sidde og sige, at det er godt nok spild af min tid, når de er så positive overfor det.</a:t>
            </a:r>
          </a:p>
          <a:p>
            <a:pPr algn="r"/>
            <a:r>
              <a:rPr lang="da-DK" sz="1000" i="1">
                <a:solidFill>
                  <a:schemeClr val="accent3"/>
                </a:solidFill>
                <a:latin typeface="Quicksand" panose="020B0604020202020204"/>
                <a:cs typeface="Quicksand" panose="020B0604020202020204" charset="0"/>
              </a:rPr>
              <a:t>Lærer 1</a:t>
            </a:r>
            <a:endParaRPr lang="da-DK" sz="1400" i="1">
              <a:solidFill>
                <a:schemeClr val="accent3">
                  <a:lumMod val="75000"/>
                </a:schemeClr>
              </a:solidFill>
              <a:latin typeface="Quicksand" panose="020B0604020202020204"/>
              <a:cs typeface="Quicksand" panose="020B0604020202020204" charset="0"/>
            </a:endParaRPr>
          </a:p>
          <a:p>
            <a:endParaRPr lang="da-DK" sz="800">
              <a:latin typeface="Quicksand" panose="020B0604020202020204" charset="0"/>
              <a:cs typeface="Quicksand" panose="020B0604020202020204" charset="0"/>
            </a:endParaRPr>
          </a:p>
        </p:txBody>
      </p:sp>
      <p:sp>
        <p:nvSpPr>
          <p:cNvPr id="15" name="Google Shape;1275;p48">
            <a:extLst>
              <a:ext uri="{FF2B5EF4-FFF2-40B4-BE49-F238E27FC236}">
                <a16:creationId xmlns:a16="http://schemas.microsoft.com/office/drawing/2014/main" id="{1ACACBD9-EF5B-A766-9F60-64E4D71D1475}"/>
              </a:ext>
            </a:extLst>
          </p:cNvPr>
          <p:cNvSpPr/>
          <p:nvPr/>
        </p:nvSpPr>
        <p:spPr>
          <a:xfrm>
            <a:off x="1812387" y="1715877"/>
            <a:ext cx="321749" cy="403662"/>
          </a:xfrm>
          <a:custGeom>
            <a:avLst/>
            <a:gdLst/>
            <a:ahLst/>
            <a:cxnLst/>
            <a:rect l="l" t="t" r="r" b="b"/>
            <a:pathLst>
              <a:path w="14722" h="18470" extrusionOk="0">
                <a:moveTo>
                  <a:pt x="11874" y="658"/>
                </a:moveTo>
                <a:lnTo>
                  <a:pt x="11826" y="1291"/>
                </a:lnTo>
                <a:lnTo>
                  <a:pt x="11777" y="1923"/>
                </a:lnTo>
                <a:lnTo>
                  <a:pt x="11753" y="2264"/>
                </a:lnTo>
                <a:lnTo>
                  <a:pt x="11680" y="2580"/>
                </a:lnTo>
                <a:lnTo>
                  <a:pt x="11607" y="2872"/>
                </a:lnTo>
                <a:lnTo>
                  <a:pt x="11509" y="3188"/>
                </a:lnTo>
                <a:lnTo>
                  <a:pt x="11412" y="3407"/>
                </a:lnTo>
                <a:lnTo>
                  <a:pt x="11290" y="3626"/>
                </a:lnTo>
                <a:lnTo>
                  <a:pt x="11144" y="3797"/>
                </a:lnTo>
                <a:lnTo>
                  <a:pt x="10974" y="3943"/>
                </a:lnTo>
                <a:lnTo>
                  <a:pt x="10779" y="4064"/>
                </a:lnTo>
                <a:lnTo>
                  <a:pt x="10560" y="4162"/>
                </a:lnTo>
                <a:lnTo>
                  <a:pt x="10341" y="4235"/>
                </a:lnTo>
                <a:lnTo>
                  <a:pt x="10122" y="4308"/>
                </a:lnTo>
                <a:lnTo>
                  <a:pt x="9976" y="4332"/>
                </a:lnTo>
                <a:lnTo>
                  <a:pt x="9855" y="4332"/>
                </a:lnTo>
                <a:lnTo>
                  <a:pt x="9563" y="4308"/>
                </a:lnTo>
                <a:lnTo>
                  <a:pt x="9295" y="4259"/>
                </a:lnTo>
                <a:lnTo>
                  <a:pt x="9052" y="4162"/>
                </a:lnTo>
                <a:lnTo>
                  <a:pt x="9392" y="3894"/>
                </a:lnTo>
                <a:lnTo>
                  <a:pt x="9611" y="3675"/>
                </a:lnTo>
                <a:lnTo>
                  <a:pt x="9806" y="3432"/>
                </a:lnTo>
                <a:lnTo>
                  <a:pt x="10025" y="3188"/>
                </a:lnTo>
                <a:lnTo>
                  <a:pt x="10220" y="2921"/>
                </a:lnTo>
                <a:lnTo>
                  <a:pt x="10366" y="2629"/>
                </a:lnTo>
                <a:lnTo>
                  <a:pt x="10512" y="2337"/>
                </a:lnTo>
                <a:lnTo>
                  <a:pt x="10633" y="2045"/>
                </a:lnTo>
                <a:lnTo>
                  <a:pt x="10706" y="1753"/>
                </a:lnTo>
                <a:lnTo>
                  <a:pt x="10706" y="1680"/>
                </a:lnTo>
                <a:lnTo>
                  <a:pt x="10682" y="1607"/>
                </a:lnTo>
                <a:lnTo>
                  <a:pt x="10658" y="1558"/>
                </a:lnTo>
                <a:lnTo>
                  <a:pt x="10585" y="1534"/>
                </a:lnTo>
                <a:lnTo>
                  <a:pt x="10536" y="1510"/>
                </a:lnTo>
                <a:lnTo>
                  <a:pt x="10463" y="1510"/>
                </a:lnTo>
                <a:lnTo>
                  <a:pt x="10414" y="1558"/>
                </a:lnTo>
                <a:lnTo>
                  <a:pt x="10366" y="1607"/>
                </a:lnTo>
                <a:lnTo>
                  <a:pt x="10098" y="2069"/>
                </a:lnTo>
                <a:lnTo>
                  <a:pt x="9855" y="2531"/>
                </a:lnTo>
                <a:lnTo>
                  <a:pt x="9587" y="2969"/>
                </a:lnTo>
                <a:lnTo>
                  <a:pt x="9441" y="3188"/>
                </a:lnTo>
                <a:lnTo>
                  <a:pt x="9271" y="3383"/>
                </a:lnTo>
                <a:lnTo>
                  <a:pt x="9027" y="3626"/>
                </a:lnTo>
                <a:lnTo>
                  <a:pt x="8760" y="3845"/>
                </a:lnTo>
                <a:lnTo>
                  <a:pt x="8735" y="3845"/>
                </a:lnTo>
                <a:lnTo>
                  <a:pt x="8638" y="3724"/>
                </a:lnTo>
                <a:lnTo>
                  <a:pt x="8589" y="3578"/>
                </a:lnTo>
                <a:lnTo>
                  <a:pt x="8565" y="3432"/>
                </a:lnTo>
                <a:lnTo>
                  <a:pt x="8541" y="3261"/>
                </a:lnTo>
                <a:lnTo>
                  <a:pt x="8589" y="2921"/>
                </a:lnTo>
                <a:lnTo>
                  <a:pt x="8638" y="2629"/>
                </a:lnTo>
                <a:lnTo>
                  <a:pt x="8711" y="2410"/>
                </a:lnTo>
                <a:lnTo>
                  <a:pt x="8808" y="2215"/>
                </a:lnTo>
                <a:lnTo>
                  <a:pt x="8930" y="2020"/>
                </a:lnTo>
                <a:lnTo>
                  <a:pt x="9052" y="1850"/>
                </a:lnTo>
                <a:lnTo>
                  <a:pt x="9222" y="1680"/>
                </a:lnTo>
                <a:lnTo>
                  <a:pt x="9392" y="1510"/>
                </a:lnTo>
                <a:lnTo>
                  <a:pt x="9563" y="1388"/>
                </a:lnTo>
                <a:lnTo>
                  <a:pt x="9757" y="1266"/>
                </a:lnTo>
                <a:lnTo>
                  <a:pt x="10001" y="1120"/>
                </a:lnTo>
                <a:lnTo>
                  <a:pt x="10244" y="1023"/>
                </a:lnTo>
                <a:lnTo>
                  <a:pt x="10512" y="950"/>
                </a:lnTo>
                <a:lnTo>
                  <a:pt x="10779" y="877"/>
                </a:lnTo>
                <a:lnTo>
                  <a:pt x="11339" y="755"/>
                </a:lnTo>
                <a:lnTo>
                  <a:pt x="11874" y="658"/>
                </a:lnTo>
                <a:close/>
                <a:moveTo>
                  <a:pt x="1849" y="4527"/>
                </a:moveTo>
                <a:lnTo>
                  <a:pt x="2141" y="4551"/>
                </a:lnTo>
                <a:lnTo>
                  <a:pt x="2433" y="4600"/>
                </a:lnTo>
                <a:lnTo>
                  <a:pt x="2701" y="4648"/>
                </a:lnTo>
                <a:lnTo>
                  <a:pt x="2993" y="4746"/>
                </a:lnTo>
                <a:lnTo>
                  <a:pt x="3236" y="4819"/>
                </a:lnTo>
                <a:lnTo>
                  <a:pt x="3772" y="5062"/>
                </a:lnTo>
                <a:lnTo>
                  <a:pt x="4258" y="5330"/>
                </a:lnTo>
                <a:lnTo>
                  <a:pt x="4721" y="5622"/>
                </a:lnTo>
                <a:lnTo>
                  <a:pt x="4915" y="5768"/>
                </a:lnTo>
                <a:lnTo>
                  <a:pt x="5061" y="5914"/>
                </a:lnTo>
                <a:lnTo>
                  <a:pt x="5232" y="6084"/>
                </a:lnTo>
                <a:lnTo>
                  <a:pt x="5353" y="6254"/>
                </a:lnTo>
                <a:lnTo>
                  <a:pt x="5597" y="6644"/>
                </a:lnTo>
                <a:lnTo>
                  <a:pt x="5816" y="7057"/>
                </a:lnTo>
                <a:lnTo>
                  <a:pt x="5913" y="7301"/>
                </a:lnTo>
                <a:lnTo>
                  <a:pt x="5986" y="7568"/>
                </a:lnTo>
                <a:lnTo>
                  <a:pt x="6059" y="7836"/>
                </a:lnTo>
                <a:lnTo>
                  <a:pt x="6083" y="8104"/>
                </a:lnTo>
                <a:lnTo>
                  <a:pt x="6083" y="8323"/>
                </a:lnTo>
                <a:lnTo>
                  <a:pt x="6059" y="8542"/>
                </a:lnTo>
                <a:lnTo>
                  <a:pt x="5962" y="8858"/>
                </a:lnTo>
                <a:lnTo>
                  <a:pt x="5670" y="8712"/>
                </a:lnTo>
                <a:lnTo>
                  <a:pt x="5305" y="8493"/>
                </a:lnTo>
                <a:lnTo>
                  <a:pt x="4988" y="8250"/>
                </a:lnTo>
                <a:lnTo>
                  <a:pt x="4672" y="7958"/>
                </a:lnTo>
                <a:lnTo>
                  <a:pt x="4380" y="7666"/>
                </a:lnTo>
                <a:lnTo>
                  <a:pt x="4015" y="7179"/>
                </a:lnTo>
                <a:lnTo>
                  <a:pt x="3796" y="6911"/>
                </a:lnTo>
                <a:lnTo>
                  <a:pt x="3553" y="6619"/>
                </a:lnTo>
                <a:lnTo>
                  <a:pt x="3309" y="6376"/>
                </a:lnTo>
                <a:lnTo>
                  <a:pt x="3163" y="6279"/>
                </a:lnTo>
                <a:lnTo>
                  <a:pt x="3042" y="6181"/>
                </a:lnTo>
                <a:lnTo>
                  <a:pt x="2896" y="6108"/>
                </a:lnTo>
                <a:lnTo>
                  <a:pt x="2774" y="6060"/>
                </a:lnTo>
                <a:lnTo>
                  <a:pt x="2628" y="6035"/>
                </a:lnTo>
                <a:lnTo>
                  <a:pt x="2433" y="6035"/>
                </a:lnTo>
                <a:lnTo>
                  <a:pt x="2409" y="6060"/>
                </a:lnTo>
                <a:lnTo>
                  <a:pt x="2409" y="6108"/>
                </a:lnTo>
                <a:lnTo>
                  <a:pt x="2409" y="6157"/>
                </a:lnTo>
                <a:lnTo>
                  <a:pt x="2506" y="6279"/>
                </a:lnTo>
                <a:lnTo>
                  <a:pt x="2604" y="6425"/>
                </a:lnTo>
                <a:lnTo>
                  <a:pt x="2847" y="6668"/>
                </a:lnTo>
                <a:lnTo>
                  <a:pt x="3090" y="6911"/>
                </a:lnTo>
                <a:lnTo>
                  <a:pt x="3309" y="7130"/>
                </a:lnTo>
                <a:lnTo>
                  <a:pt x="3772" y="7739"/>
                </a:lnTo>
                <a:lnTo>
                  <a:pt x="4015" y="8031"/>
                </a:lnTo>
                <a:lnTo>
                  <a:pt x="4258" y="8323"/>
                </a:lnTo>
                <a:lnTo>
                  <a:pt x="4404" y="8444"/>
                </a:lnTo>
                <a:lnTo>
                  <a:pt x="4550" y="8590"/>
                </a:lnTo>
                <a:lnTo>
                  <a:pt x="4867" y="8834"/>
                </a:lnTo>
                <a:lnTo>
                  <a:pt x="5207" y="9053"/>
                </a:lnTo>
                <a:lnTo>
                  <a:pt x="5548" y="9247"/>
                </a:lnTo>
                <a:lnTo>
                  <a:pt x="5353" y="9345"/>
                </a:lnTo>
                <a:lnTo>
                  <a:pt x="5159" y="9418"/>
                </a:lnTo>
                <a:lnTo>
                  <a:pt x="4940" y="9466"/>
                </a:lnTo>
                <a:lnTo>
                  <a:pt x="4745" y="9491"/>
                </a:lnTo>
                <a:lnTo>
                  <a:pt x="4550" y="9491"/>
                </a:lnTo>
                <a:lnTo>
                  <a:pt x="4331" y="9466"/>
                </a:lnTo>
                <a:lnTo>
                  <a:pt x="4112" y="9442"/>
                </a:lnTo>
                <a:lnTo>
                  <a:pt x="3869" y="9369"/>
                </a:lnTo>
                <a:lnTo>
                  <a:pt x="3650" y="9296"/>
                </a:lnTo>
                <a:lnTo>
                  <a:pt x="3407" y="9174"/>
                </a:lnTo>
                <a:lnTo>
                  <a:pt x="3188" y="9053"/>
                </a:lnTo>
                <a:lnTo>
                  <a:pt x="2969" y="8907"/>
                </a:lnTo>
                <a:lnTo>
                  <a:pt x="2774" y="8761"/>
                </a:lnTo>
                <a:lnTo>
                  <a:pt x="2579" y="8590"/>
                </a:lnTo>
                <a:lnTo>
                  <a:pt x="2239" y="8201"/>
                </a:lnTo>
                <a:lnTo>
                  <a:pt x="2068" y="7982"/>
                </a:lnTo>
                <a:lnTo>
                  <a:pt x="1898" y="7714"/>
                </a:lnTo>
                <a:lnTo>
                  <a:pt x="1776" y="7471"/>
                </a:lnTo>
                <a:lnTo>
                  <a:pt x="1655" y="7179"/>
                </a:lnTo>
                <a:lnTo>
                  <a:pt x="1460" y="6619"/>
                </a:lnTo>
                <a:lnTo>
                  <a:pt x="1314" y="6060"/>
                </a:lnTo>
                <a:lnTo>
                  <a:pt x="1144" y="5330"/>
                </a:lnTo>
                <a:lnTo>
                  <a:pt x="1046" y="4940"/>
                </a:lnTo>
                <a:lnTo>
                  <a:pt x="998" y="4575"/>
                </a:lnTo>
                <a:lnTo>
                  <a:pt x="1265" y="4551"/>
                </a:lnTo>
                <a:lnTo>
                  <a:pt x="1557" y="4527"/>
                </a:lnTo>
                <a:close/>
                <a:moveTo>
                  <a:pt x="10974" y="14138"/>
                </a:moveTo>
                <a:lnTo>
                  <a:pt x="10755" y="14187"/>
                </a:lnTo>
                <a:lnTo>
                  <a:pt x="10536" y="14260"/>
                </a:lnTo>
                <a:lnTo>
                  <a:pt x="10098" y="14430"/>
                </a:lnTo>
                <a:lnTo>
                  <a:pt x="9855" y="14503"/>
                </a:lnTo>
                <a:lnTo>
                  <a:pt x="9636" y="14600"/>
                </a:lnTo>
                <a:lnTo>
                  <a:pt x="9198" y="14844"/>
                </a:lnTo>
                <a:lnTo>
                  <a:pt x="9173" y="14868"/>
                </a:lnTo>
                <a:lnTo>
                  <a:pt x="9149" y="14892"/>
                </a:lnTo>
                <a:lnTo>
                  <a:pt x="9173" y="14965"/>
                </a:lnTo>
                <a:lnTo>
                  <a:pt x="9198" y="14990"/>
                </a:lnTo>
                <a:lnTo>
                  <a:pt x="9246" y="15014"/>
                </a:lnTo>
                <a:lnTo>
                  <a:pt x="9271" y="15014"/>
                </a:lnTo>
                <a:lnTo>
                  <a:pt x="9490" y="14941"/>
                </a:lnTo>
                <a:lnTo>
                  <a:pt x="9757" y="14892"/>
                </a:lnTo>
                <a:lnTo>
                  <a:pt x="10268" y="14795"/>
                </a:lnTo>
                <a:lnTo>
                  <a:pt x="10512" y="14722"/>
                </a:lnTo>
                <a:lnTo>
                  <a:pt x="10731" y="14625"/>
                </a:lnTo>
                <a:lnTo>
                  <a:pt x="10828" y="14552"/>
                </a:lnTo>
                <a:lnTo>
                  <a:pt x="10925" y="14479"/>
                </a:lnTo>
                <a:lnTo>
                  <a:pt x="11023" y="14381"/>
                </a:lnTo>
                <a:lnTo>
                  <a:pt x="11096" y="14284"/>
                </a:lnTo>
                <a:lnTo>
                  <a:pt x="11096" y="14235"/>
                </a:lnTo>
                <a:lnTo>
                  <a:pt x="11071" y="14162"/>
                </a:lnTo>
                <a:lnTo>
                  <a:pt x="11023" y="14138"/>
                </a:lnTo>
                <a:close/>
                <a:moveTo>
                  <a:pt x="8297" y="13116"/>
                </a:moveTo>
                <a:lnTo>
                  <a:pt x="8614" y="13140"/>
                </a:lnTo>
                <a:lnTo>
                  <a:pt x="8443" y="13238"/>
                </a:lnTo>
                <a:lnTo>
                  <a:pt x="8370" y="13286"/>
                </a:lnTo>
                <a:lnTo>
                  <a:pt x="8297" y="13335"/>
                </a:lnTo>
                <a:lnTo>
                  <a:pt x="8273" y="13384"/>
                </a:lnTo>
                <a:lnTo>
                  <a:pt x="8249" y="13432"/>
                </a:lnTo>
                <a:lnTo>
                  <a:pt x="8273" y="13505"/>
                </a:lnTo>
                <a:lnTo>
                  <a:pt x="8322" y="13578"/>
                </a:lnTo>
                <a:lnTo>
                  <a:pt x="8370" y="13603"/>
                </a:lnTo>
                <a:lnTo>
                  <a:pt x="8419" y="13627"/>
                </a:lnTo>
                <a:lnTo>
                  <a:pt x="8614" y="13603"/>
                </a:lnTo>
                <a:lnTo>
                  <a:pt x="8784" y="13554"/>
                </a:lnTo>
                <a:lnTo>
                  <a:pt x="9125" y="13432"/>
                </a:lnTo>
                <a:lnTo>
                  <a:pt x="9271" y="13408"/>
                </a:lnTo>
                <a:lnTo>
                  <a:pt x="9538" y="13408"/>
                </a:lnTo>
                <a:lnTo>
                  <a:pt x="9660" y="13384"/>
                </a:lnTo>
                <a:lnTo>
                  <a:pt x="9782" y="13432"/>
                </a:lnTo>
                <a:lnTo>
                  <a:pt x="10220" y="13651"/>
                </a:lnTo>
                <a:lnTo>
                  <a:pt x="9952" y="13724"/>
                </a:lnTo>
                <a:lnTo>
                  <a:pt x="9709" y="13797"/>
                </a:lnTo>
                <a:lnTo>
                  <a:pt x="9149" y="13919"/>
                </a:lnTo>
                <a:lnTo>
                  <a:pt x="8857" y="13968"/>
                </a:lnTo>
                <a:lnTo>
                  <a:pt x="8589" y="14041"/>
                </a:lnTo>
                <a:lnTo>
                  <a:pt x="8541" y="14089"/>
                </a:lnTo>
                <a:lnTo>
                  <a:pt x="8516" y="14138"/>
                </a:lnTo>
                <a:lnTo>
                  <a:pt x="8541" y="14187"/>
                </a:lnTo>
                <a:lnTo>
                  <a:pt x="8589" y="14235"/>
                </a:lnTo>
                <a:lnTo>
                  <a:pt x="8857" y="14284"/>
                </a:lnTo>
                <a:lnTo>
                  <a:pt x="9125" y="14284"/>
                </a:lnTo>
                <a:lnTo>
                  <a:pt x="9392" y="14260"/>
                </a:lnTo>
                <a:lnTo>
                  <a:pt x="9660" y="14211"/>
                </a:lnTo>
                <a:lnTo>
                  <a:pt x="9903" y="14162"/>
                </a:lnTo>
                <a:lnTo>
                  <a:pt x="10171" y="14114"/>
                </a:lnTo>
                <a:lnTo>
                  <a:pt x="10414" y="14016"/>
                </a:lnTo>
                <a:lnTo>
                  <a:pt x="10536" y="13943"/>
                </a:lnTo>
                <a:lnTo>
                  <a:pt x="10633" y="13870"/>
                </a:lnTo>
                <a:lnTo>
                  <a:pt x="11096" y="14162"/>
                </a:lnTo>
                <a:lnTo>
                  <a:pt x="11558" y="14479"/>
                </a:lnTo>
                <a:lnTo>
                  <a:pt x="11631" y="14527"/>
                </a:lnTo>
                <a:lnTo>
                  <a:pt x="11193" y="14722"/>
                </a:lnTo>
                <a:lnTo>
                  <a:pt x="10852" y="14892"/>
                </a:lnTo>
                <a:lnTo>
                  <a:pt x="10512" y="15014"/>
                </a:lnTo>
                <a:lnTo>
                  <a:pt x="10171" y="15136"/>
                </a:lnTo>
                <a:lnTo>
                  <a:pt x="9830" y="15209"/>
                </a:lnTo>
                <a:lnTo>
                  <a:pt x="9782" y="15233"/>
                </a:lnTo>
                <a:lnTo>
                  <a:pt x="9782" y="15257"/>
                </a:lnTo>
                <a:lnTo>
                  <a:pt x="9782" y="15282"/>
                </a:lnTo>
                <a:lnTo>
                  <a:pt x="9830" y="15306"/>
                </a:lnTo>
                <a:lnTo>
                  <a:pt x="9976" y="15330"/>
                </a:lnTo>
                <a:lnTo>
                  <a:pt x="10122" y="15330"/>
                </a:lnTo>
                <a:lnTo>
                  <a:pt x="10414" y="15306"/>
                </a:lnTo>
                <a:lnTo>
                  <a:pt x="10731" y="15233"/>
                </a:lnTo>
                <a:lnTo>
                  <a:pt x="11023" y="15136"/>
                </a:lnTo>
                <a:lnTo>
                  <a:pt x="11485" y="14965"/>
                </a:lnTo>
                <a:lnTo>
                  <a:pt x="11996" y="14771"/>
                </a:lnTo>
                <a:lnTo>
                  <a:pt x="12337" y="15038"/>
                </a:lnTo>
                <a:lnTo>
                  <a:pt x="12093" y="15111"/>
                </a:lnTo>
                <a:lnTo>
                  <a:pt x="11874" y="15209"/>
                </a:lnTo>
                <a:lnTo>
                  <a:pt x="11436" y="15403"/>
                </a:lnTo>
                <a:lnTo>
                  <a:pt x="11047" y="15525"/>
                </a:lnTo>
                <a:lnTo>
                  <a:pt x="10682" y="15647"/>
                </a:lnTo>
                <a:lnTo>
                  <a:pt x="10293" y="15744"/>
                </a:lnTo>
                <a:lnTo>
                  <a:pt x="9903" y="15890"/>
                </a:lnTo>
                <a:lnTo>
                  <a:pt x="9879" y="15914"/>
                </a:lnTo>
                <a:lnTo>
                  <a:pt x="9879" y="15939"/>
                </a:lnTo>
                <a:lnTo>
                  <a:pt x="9879" y="15963"/>
                </a:lnTo>
                <a:lnTo>
                  <a:pt x="9903" y="15987"/>
                </a:lnTo>
                <a:lnTo>
                  <a:pt x="10098" y="16036"/>
                </a:lnTo>
                <a:lnTo>
                  <a:pt x="10268" y="16060"/>
                </a:lnTo>
                <a:lnTo>
                  <a:pt x="10463" y="16036"/>
                </a:lnTo>
                <a:lnTo>
                  <a:pt x="10658" y="16012"/>
                </a:lnTo>
                <a:lnTo>
                  <a:pt x="11023" y="15939"/>
                </a:lnTo>
                <a:lnTo>
                  <a:pt x="11388" y="15817"/>
                </a:lnTo>
                <a:lnTo>
                  <a:pt x="12020" y="15598"/>
                </a:lnTo>
                <a:lnTo>
                  <a:pt x="12337" y="15476"/>
                </a:lnTo>
                <a:lnTo>
                  <a:pt x="12629" y="15306"/>
                </a:lnTo>
                <a:lnTo>
                  <a:pt x="12921" y="15598"/>
                </a:lnTo>
                <a:lnTo>
                  <a:pt x="12434" y="15793"/>
                </a:lnTo>
                <a:lnTo>
                  <a:pt x="11947" y="15963"/>
                </a:lnTo>
                <a:lnTo>
                  <a:pt x="11534" y="16060"/>
                </a:lnTo>
                <a:lnTo>
                  <a:pt x="11096" y="16158"/>
                </a:lnTo>
                <a:lnTo>
                  <a:pt x="10682" y="16255"/>
                </a:lnTo>
                <a:lnTo>
                  <a:pt x="10487" y="16328"/>
                </a:lnTo>
                <a:lnTo>
                  <a:pt x="10293" y="16425"/>
                </a:lnTo>
                <a:lnTo>
                  <a:pt x="10268" y="16450"/>
                </a:lnTo>
                <a:lnTo>
                  <a:pt x="10268" y="16474"/>
                </a:lnTo>
                <a:lnTo>
                  <a:pt x="10268" y="16498"/>
                </a:lnTo>
                <a:lnTo>
                  <a:pt x="10293" y="16523"/>
                </a:lnTo>
                <a:lnTo>
                  <a:pt x="10512" y="16547"/>
                </a:lnTo>
                <a:lnTo>
                  <a:pt x="10731" y="16547"/>
                </a:lnTo>
                <a:lnTo>
                  <a:pt x="10950" y="16523"/>
                </a:lnTo>
                <a:lnTo>
                  <a:pt x="11169" y="16498"/>
                </a:lnTo>
                <a:lnTo>
                  <a:pt x="11607" y="16401"/>
                </a:lnTo>
                <a:lnTo>
                  <a:pt x="12020" y="16279"/>
                </a:lnTo>
                <a:lnTo>
                  <a:pt x="12312" y="16182"/>
                </a:lnTo>
                <a:lnTo>
                  <a:pt x="12604" y="16085"/>
                </a:lnTo>
                <a:lnTo>
                  <a:pt x="12872" y="15963"/>
                </a:lnTo>
                <a:lnTo>
                  <a:pt x="13140" y="15841"/>
                </a:lnTo>
                <a:lnTo>
                  <a:pt x="13164" y="15866"/>
                </a:lnTo>
                <a:lnTo>
                  <a:pt x="13407" y="16133"/>
                </a:lnTo>
                <a:lnTo>
                  <a:pt x="12994" y="16231"/>
                </a:lnTo>
                <a:lnTo>
                  <a:pt x="12604" y="16377"/>
                </a:lnTo>
                <a:lnTo>
                  <a:pt x="11680" y="16669"/>
                </a:lnTo>
                <a:lnTo>
                  <a:pt x="10779" y="16912"/>
                </a:lnTo>
                <a:lnTo>
                  <a:pt x="10731" y="16961"/>
                </a:lnTo>
                <a:lnTo>
                  <a:pt x="10706" y="17034"/>
                </a:lnTo>
                <a:lnTo>
                  <a:pt x="10731" y="17082"/>
                </a:lnTo>
                <a:lnTo>
                  <a:pt x="10804" y="17107"/>
                </a:lnTo>
                <a:lnTo>
                  <a:pt x="11023" y="17082"/>
                </a:lnTo>
                <a:lnTo>
                  <a:pt x="11242" y="17082"/>
                </a:lnTo>
                <a:lnTo>
                  <a:pt x="11680" y="16985"/>
                </a:lnTo>
                <a:lnTo>
                  <a:pt x="12093" y="16888"/>
                </a:lnTo>
                <a:lnTo>
                  <a:pt x="12531" y="16742"/>
                </a:lnTo>
                <a:lnTo>
                  <a:pt x="13091" y="16571"/>
                </a:lnTo>
                <a:lnTo>
                  <a:pt x="13626" y="16401"/>
                </a:lnTo>
                <a:lnTo>
                  <a:pt x="13870" y="16717"/>
                </a:lnTo>
                <a:lnTo>
                  <a:pt x="14089" y="17058"/>
                </a:lnTo>
                <a:lnTo>
                  <a:pt x="13894" y="17155"/>
                </a:lnTo>
                <a:lnTo>
                  <a:pt x="13699" y="17228"/>
                </a:lnTo>
                <a:lnTo>
                  <a:pt x="13286" y="17350"/>
                </a:lnTo>
                <a:lnTo>
                  <a:pt x="12872" y="17423"/>
                </a:lnTo>
                <a:lnTo>
                  <a:pt x="12434" y="17472"/>
                </a:lnTo>
                <a:lnTo>
                  <a:pt x="11339" y="17618"/>
                </a:lnTo>
                <a:lnTo>
                  <a:pt x="10220" y="17788"/>
                </a:lnTo>
                <a:lnTo>
                  <a:pt x="9587" y="17885"/>
                </a:lnTo>
                <a:lnTo>
                  <a:pt x="8930" y="17934"/>
                </a:lnTo>
                <a:lnTo>
                  <a:pt x="8297" y="17958"/>
                </a:lnTo>
                <a:lnTo>
                  <a:pt x="7032" y="17958"/>
                </a:lnTo>
                <a:lnTo>
                  <a:pt x="6400" y="17910"/>
                </a:lnTo>
                <a:lnTo>
                  <a:pt x="5110" y="17837"/>
                </a:lnTo>
                <a:lnTo>
                  <a:pt x="3918" y="17764"/>
                </a:lnTo>
                <a:lnTo>
                  <a:pt x="3334" y="17715"/>
                </a:lnTo>
                <a:lnTo>
                  <a:pt x="2725" y="17666"/>
                </a:lnTo>
                <a:lnTo>
                  <a:pt x="2166" y="17618"/>
                </a:lnTo>
                <a:lnTo>
                  <a:pt x="1849" y="17569"/>
                </a:lnTo>
                <a:lnTo>
                  <a:pt x="1533" y="17520"/>
                </a:lnTo>
                <a:lnTo>
                  <a:pt x="1217" y="17447"/>
                </a:lnTo>
                <a:lnTo>
                  <a:pt x="925" y="17350"/>
                </a:lnTo>
                <a:lnTo>
                  <a:pt x="681" y="17204"/>
                </a:lnTo>
                <a:lnTo>
                  <a:pt x="560" y="17131"/>
                </a:lnTo>
                <a:lnTo>
                  <a:pt x="462" y="17034"/>
                </a:lnTo>
                <a:lnTo>
                  <a:pt x="754" y="16644"/>
                </a:lnTo>
                <a:lnTo>
                  <a:pt x="1046" y="16279"/>
                </a:lnTo>
                <a:lnTo>
                  <a:pt x="1363" y="15914"/>
                </a:lnTo>
                <a:lnTo>
                  <a:pt x="1703" y="15574"/>
                </a:lnTo>
                <a:lnTo>
                  <a:pt x="2044" y="15257"/>
                </a:lnTo>
                <a:lnTo>
                  <a:pt x="2409" y="14941"/>
                </a:lnTo>
                <a:lnTo>
                  <a:pt x="2798" y="14649"/>
                </a:lnTo>
                <a:lnTo>
                  <a:pt x="3212" y="14381"/>
                </a:lnTo>
                <a:lnTo>
                  <a:pt x="3699" y="14089"/>
                </a:lnTo>
                <a:lnTo>
                  <a:pt x="4185" y="13870"/>
                </a:lnTo>
                <a:lnTo>
                  <a:pt x="4721" y="13676"/>
                </a:lnTo>
                <a:lnTo>
                  <a:pt x="5232" y="13505"/>
                </a:lnTo>
                <a:lnTo>
                  <a:pt x="5767" y="13384"/>
                </a:lnTo>
                <a:lnTo>
                  <a:pt x="6327" y="13286"/>
                </a:lnTo>
                <a:lnTo>
                  <a:pt x="6862" y="13189"/>
                </a:lnTo>
                <a:lnTo>
                  <a:pt x="7421" y="13140"/>
                </a:lnTo>
                <a:lnTo>
                  <a:pt x="7373" y="13603"/>
                </a:lnTo>
                <a:lnTo>
                  <a:pt x="7276" y="14065"/>
                </a:lnTo>
                <a:lnTo>
                  <a:pt x="7276" y="14187"/>
                </a:lnTo>
                <a:lnTo>
                  <a:pt x="7324" y="14284"/>
                </a:lnTo>
                <a:lnTo>
                  <a:pt x="7397" y="14357"/>
                </a:lnTo>
                <a:lnTo>
                  <a:pt x="7494" y="14381"/>
                </a:lnTo>
                <a:lnTo>
                  <a:pt x="7592" y="14406"/>
                </a:lnTo>
                <a:lnTo>
                  <a:pt x="7689" y="14381"/>
                </a:lnTo>
                <a:lnTo>
                  <a:pt x="7762" y="14308"/>
                </a:lnTo>
                <a:lnTo>
                  <a:pt x="7811" y="14211"/>
                </a:lnTo>
                <a:lnTo>
                  <a:pt x="7884" y="13676"/>
                </a:lnTo>
                <a:lnTo>
                  <a:pt x="7957" y="13116"/>
                </a:lnTo>
                <a:close/>
                <a:moveTo>
                  <a:pt x="6886" y="1"/>
                </a:moveTo>
                <a:lnTo>
                  <a:pt x="6813" y="25"/>
                </a:lnTo>
                <a:lnTo>
                  <a:pt x="6765" y="25"/>
                </a:lnTo>
                <a:lnTo>
                  <a:pt x="6740" y="74"/>
                </a:lnTo>
                <a:lnTo>
                  <a:pt x="6740" y="98"/>
                </a:lnTo>
                <a:lnTo>
                  <a:pt x="6740" y="147"/>
                </a:lnTo>
                <a:lnTo>
                  <a:pt x="6862" y="536"/>
                </a:lnTo>
                <a:lnTo>
                  <a:pt x="7008" y="926"/>
                </a:lnTo>
                <a:lnTo>
                  <a:pt x="7130" y="1315"/>
                </a:lnTo>
                <a:lnTo>
                  <a:pt x="7227" y="1704"/>
                </a:lnTo>
                <a:lnTo>
                  <a:pt x="7300" y="2118"/>
                </a:lnTo>
                <a:lnTo>
                  <a:pt x="7349" y="2556"/>
                </a:lnTo>
                <a:lnTo>
                  <a:pt x="7373" y="2994"/>
                </a:lnTo>
                <a:lnTo>
                  <a:pt x="7373" y="3407"/>
                </a:lnTo>
                <a:lnTo>
                  <a:pt x="7324" y="3870"/>
                </a:lnTo>
                <a:lnTo>
                  <a:pt x="7276" y="4332"/>
                </a:lnTo>
                <a:lnTo>
                  <a:pt x="7105" y="5257"/>
                </a:lnTo>
                <a:lnTo>
                  <a:pt x="6911" y="6181"/>
                </a:lnTo>
                <a:lnTo>
                  <a:pt x="6838" y="6644"/>
                </a:lnTo>
                <a:lnTo>
                  <a:pt x="6765" y="7106"/>
                </a:lnTo>
                <a:lnTo>
                  <a:pt x="6716" y="7666"/>
                </a:lnTo>
                <a:lnTo>
                  <a:pt x="6716" y="8201"/>
                </a:lnTo>
                <a:lnTo>
                  <a:pt x="6765" y="8712"/>
                </a:lnTo>
                <a:lnTo>
                  <a:pt x="6838" y="9223"/>
                </a:lnTo>
                <a:lnTo>
                  <a:pt x="6424" y="9077"/>
                </a:lnTo>
                <a:lnTo>
                  <a:pt x="6497" y="8834"/>
                </a:lnTo>
                <a:lnTo>
                  <a:pt x="6570" y="8590"/>
                </a:lnTo>
                <a:lnTo>
                  <a:pt x="6594" y="8347"/>
                </a:lnTo>
                <a:lnTo>
                  <a:pt x="6594" y="8079"/>
                </a:lnTo>
                <a:lnTo>
                  <a:pt x="6570" y="7836"/>
                </a:lnTo>
                <a:lnTo>
                  <a:pt x="6521" y="7568"/>
                </a:lnTo>
                <a:lnTo>
                  <a:pt x="6448" y="7325"/>
                </a:lnTo>
                <a:lnTo>
                  <a:pt x="6351" y="7082"/>
                </a:lnTo>
                <a:lnTo>
                  <a:pt x="6254" y="6838"/>
                </a:lnTo>
                <a:lnTo>
                  <a:pt x="6132" y="6595"/>
                </a:lnTo>
                <a:lnTo>
                  <a:pt x="6010" y="6352"/>
                </a:lnTo>
                <a:lnTo>
                  <a:pt x="5864" y="6133"/>
                </a:lnTo>
                <a:lnTo>
                  <a:pt x="5694" y="5938"/>
                </a:lnTo>
                <a:lnTo>
                  <a:pt x="5548" y="5743"/>
                </a:lnTo>
                <a:lnTo>
                  <a:pt x="5378" y="5549"/>
                </a:lnTo>
                <a:lnTo>
                  <a:pt x="5207" y="5403"/>
                </a:lnTo>
                <a:lnTo>
                  <a:pt x="4964" y="5208"/>
                </a:lnTo>
                <a:lnTo>
                  <a:pt x="4696" y="5013"/>
                </a:lnTo>
                <a:lnTo>
                  <a:pt x="4429" y="4867"/>
                </a:lnTo>
                <a:lnTo>
                  <a:pt x="4161" y="4721"/>
                </a:lnTo>
                <a:lnTo>
                  <a:pt x="3869" y="4575"/>
                </a:lnTo>
                <a:lnTo>
                  <a:pt x="3577" y="4454"/>
                </a:lnTo>
                <a:lnTo>
                  <a:pt x="2993" y="4259"/>
                </a:lnTo>
                <a:lnTo>
                  <a:pt x="2506" y="4137"/>
                </a:lnTo>
                <a:lnTo>
                  <a:pt x="2239" y="4089"/>
                </a:lnTo>
                <a:lnTo>
                  <a:pt x="1971" y="4064"/>
                </a:lnTo>
                <a:lnTo>
                  <a:pt x="1679" y="4040"/>
                </a:lnTo>
                <a:lnTo>
                  <a:pt x="1411" y="4064"/>
                </a:lnTo>
                <a:lnTo>
                  <a:pt x="1168" y="4137"/>
                </a:lnTo>
                <a:lnTo>
                  <a:pt x="949" y="4235"/>
                </a:lnTo>
                <a:lnTo>
                  <a:pt x="900" y="4186"/>
                </a:lnTo>
                <a:lnTo>
                  <a:pt x="852" y="4137"/>
                </a:lnTo>
                <a:lnTo>
                  <a:pt x="803" y="4137"/>
                </a:lnTo>
                <a:lnTo>
                  <a:pt x="754" y="4186"/>
                </a:lnTo>
                <a:lnTo>
                  <a:pt x="681" y="4259"/>
                </a:lnTo>
                <a:lnTo>
                  <a:pt x="633" y="4356"/>
                </a:lnTo>
                <a:lnTo>
                  <a:pt x="608" y="4454"/>
                </a:lnTo>
                <a:lnTo>
                  <a:pt x="584" y="4575"/>
                </a:lnTo>
                <a:lnTo>
                  <a:pt x="584" y="4819"/>
                </a:lnTo>
                <a:lnTo>
                  <a:pt x="608" y="5062"/>
                </a:lnTo>
                <a:lnTo>
                  <a:pt x="657" y="5330"/>
                </a:lnTo>
                <a:lnTo>
                  <a:pt x="706" y="5597"/>
                </a:lnTo>
                <a:lnTo>
                  <a:pt x="803" y="6011"/>
                </a:lnTo>
                <a:lnTo>
                  <a:pt x="876" y="6352"/>
                </a:lnTo>
                <a:lnTo>
                  <a:pt x="973" y="6692"/>
                </a:lnTo>
                <a:lnTo>
                  <a:pt x="1071" y="7033"/>
                </a:lnTo>
                <a:lnTo>
                  <a:pt x="1192" y="7349"/>
                </a:lnTo>
                <a:lnTo>
                  <a:pt x="1338" y="7690"/>
                </a:lnTo>
                <a:lnTo>
                  <a:pt x="1484" y="8006"/>
                </a:lnTo>
                <a:lnTo>
                  <a:pt x="1679" y="8298"/>
                </a:lnTo>
                <a:lnTo>
                  <a:pt x="1874" y="8566"/>
                </a:lnTo>
                <a:lnTo>
                  <a:pt x="2068" y="8809"/>
                </a:lnTo>
                <a:lnTo>
                  <a:pt x="2287" y="9004"/>
                </a:lnTo>
                <a:lnTo>
                  <a:pt x="2531" y="9199"/>
                </a:lnTo>
                <a:lnTo>
                  <a:pt x="2774" y="9393"/>
                </a:lnTo>
                <a:lnTo>
                  <a:pt x="3042" y="9539"/>
                </a:lnTo>
                <a:lnTo>
                  <a:pt x="3309" y="9685"/>
                </a:lnTo>
                <a:lnTo>
                  <a:pt x="3577" y="9807"/>
                </a:lnTo>
                <a:lnTo>
                  <a:pt x="3869" y="9904"/>
                </a:lnTo>
                <a:lnTo>
                  <a:pt x="4161" y="9977"/>
                </a:lnTo>
                <a:lnTo>
                  <a:pt x="4453" y="10001"/>
                </a:lnTo>
                <a:lnTo>
                  <a:pt x="4745" y="10001"/>
                </a:lnTo>
                <a:lnTo>
                  <a:pt x="5013" y="9977"/>
                </a:lnTo>
                <a:lnTo>
                  <a:pt x="5280" y="9904"/>
                </a:lnTo>
                <a:lnTo>
                  <a:pt x="5548" y="9807"/>
                </a:lnTo>
                <a:lnTo>
                  <a:pt x="5816" y="9685"/>
                </a:lnTo>
                <a:lnTo>
                  <a:pt x="6059" y="9539"/>
                </a:lnTo>
                <a:lnTo>
                  <a:pt x="6278" y="9637"/>
                </a:lnTo>
                <a:lnTo>
                  <a:pt x="6521" y="9734"/>
                </a:lnTo>
                <a:lnTo>
                  <a:pt x="6740" y="9783"/>
                </a:lnTo>
                <a:lnTo>
                  <a:pt x="6984" y="9807"/>
                </a:lnTo>
                <a:lnTo>
                  <a:pt x="7203" y="10634"/>
                </a:lnTo>
                <a:lnTo>
                  <a:pt x="7324" y="11145"/>
                </a:lnTo>
                <a:lnTo>
                  <a:pt x="7421" y="11632"/>
                </a:lnTo>
                <a:lnTo>
                  <a:pt x="7446" y="12143"/>
                </a:lnTo>
                <a:lnTo>
                  <a:pt x="7446" y="12629"/>
                </a:lnTo>
                <a:lnTo>
                  <a:pt x="6886" y="12678"/>
                </a:lnTo>
                <a:lnTo>
                  <a:pt x="6327" y="12775"/>
                </a:lnTo>
                <a:lnTo>
                  <a:pt x="5767" y="12873"/>
                </a:lnTo>
                <a:lnTo>
                  <a:pt x="5207" y="12994"/>
                </a:lnTo>
                <a:lnTo>
                  <a:pt x="4648" y="13165"/>
                </a:lnTo>
                <a:lnTo>
                  <a:pt x="4112" y="13359"/>
                </a:lnTo>
                <a:lnTo>
                  <a:pt x="3601" y="13603"/>
                </a:lnTo>
                <a:lnTo>
                  <a:pt x="3090" y="13870"/>
                </a:lnTo>
                <a:lnTo>
                  <a:pt x="2652" y="14138"/>
                </a:lnTo>
                <a:lnTo>
                  <a:pt x="2239" y="14454"/>
                </a:lnTo>
                <a:lnTo>
                  <a:pt x="1825" y="14795"/>
                </a:lnTo>
                <a:lnTo>
                  <a:pt x="1411" y="15136"/>
                </a:lnTo>
                <a:lnTo>
                  <a:pt x="1046" y="15525"/>
                </a:lnTo>
                <a:lnTo>
                  <a:pt x="706" y="15939"/>
                </a:lnTo>
                <a:lnTo>
                  <a:pt x="414" y="16377"/>
                </a:lnTo>
                <a:lnTo>
                  <a:pt x="146" y="16839"/>
                </a:lnTo>
                <a:lnTo>
                  <a:pt x="73" y="16863"/>
                </a:lnTo>
                <a:lnTo>
                  <a:pt x="24" y="16912"/>
                </a:lnTo>
                <a:lnTo>
                  <a:pt x="0" y="16985"/>
                </a:lnTo>
                <a:lnTo>
                  <a:pt x="0" y="17058"/>
                </a:lnTo>
                <a:lnTo>
                  <a:pt x="73" y="17204"/>
                </a:lnTo>
                <a:lnTo>
                  <a:pt x="146" y="17326"/>
                </a:lnTo>
                <a:lnTo>
                  <a:pt x="219" y="17423"/>
                </a:lnTo>
                <a:lnTo>
                  <a:pt x="316" y="17520"/>
                </a:lnTo>
                <a:lnTo>
                  <a:pt x="438" y="17618"/>
                </a:lnTo>
                <a:lnTo>
                  <a:pt x="560" y="17691"/>
                </a:lnTo>
                <a:lnTo>
                  <a:pt x="852" y="17812"/>
                </a:lnTo>
                <a:lnTo>
                  <a:pt x="1144" y="17910"/>
                </a:lnTo>
                <a:lnTo>
                  <a:pt x="1460" y="17982"/>
                </a:lnTo>
                <a:lnTo>
                  <a:pt x="1995" y="18080"/>
                </a:lnTo>
                <a:lnTo>
                  <a:pt x="2725" y="18177"/>
                </a:lnTo>
                <a:lnTo>
                  <a:pt x="3455" y="18226"/>
                </a:lnTo>
                <a:lnTo>
                  <a:pt x="4940" y="18323"/>
                </a:lnTo>
                <a:lnTo>
                  <a:pt x="6205" y="18396"/>
                </a:lnTo>
                <a:lnTo>
                  <a:pt x="7470" y="18469"/>
                </a:lnTo>
                <a:lnTo>
                  <a:pt x="8078" y="18469"/>
                </a:lnTo>
                <a:lnTo>
                  <a:pt x="8711" y="18445"/>
                </a:lnTo>
                <a:lnTo>
                  <a:pt x="9344" y="18396"/>
                </a:lnTo>
                <a:lnTo>
                  <a:pt x="9976" y="18323"/>
                </a:lnTo>
                <a:lnTo>
                  <a:pt x="11339" y="18128"/>
                </a:lnTo>
                <a:lnTo>
                  <a:pt x="12726" y="17958"/>
                </a:lnTo>
                <a:lnTo>
                  <a:pt x="13140" y="17885"/>
                </a:lnTo>
                <a:lnTo>
                  <a:pt x="13553" y="17812"/>
                </a:lnTo>
                <a:lnTo>
                  <a:pt x="13967" y="17666"/>
                </a:lnTo>
                <a:lnTo>
                  <a:pt x="14162" y="17593"/>
                </a:lnTo>
                <a:lnTo>
                  <a:pt x="14356" y="17472"/>
                </a:lnTo>
                <a:lnTo>
                  <a:pt x="14429" y="17496"/>
                </a:lnTo>
                <a:lnTo>
                  <a:pt x="14502" y="17496"/>
                </a:lnTo>
                <a:lnTo>
                  <a:pt x="14575" y="17472"/>
                </a:lnTo>
                <a:lnTo>
                  <a:pt x="14624" y="17447"/>
                </a:lnTo>
                <a:lnTo>
                  <a:pt x="14673" y="17399"/>
                </a:lnTo>
                <a:lnTo>
                  <a:pt x="14721" y="17326"/>
                </a:lnTo>
                <a:lnTo>
                  <a:pt x="14721" y="17277"/>
                </a:lnTo>
                <a:lnTo>
                  <a:pt x="14697" y="17180"/>
                </a:lnTo>
                <a:lnTo>
                  <a:pt x="14600" y="16912"/>
                </a:lnTo>
                <a:lnTo>
                  <a:pt x="14454" y="16669"/>
                </a:lnTo>
                <a:lnTo>
                  <a:pt x="14283" y="16401"/>
                </a:lnTo>
                <a:lnTo>
                  <a:pt x="14113" y="16182"/>
                </a:lnTo>
                <a:lnTo>
                  <a:pt x="14137" y="16158"/>
                </a:lnTo>
                <a:lnTo>
                  <a:pt x="14137" y="16133"/>
                </a:lnTo>
                <a:lnTo>
                  <a:pt x="14137" y="16109"/>
                </a:lnTo>
                <a:lnTo>
                  <a:pt x="14113" y="16109"/>
                </a:lnTo>
                <a:lnTo>
                  <a:pt x="14040" y="16085"/>
                </a:lnTo>
                <a:lnTo>
                  <a:pt x="13699" y="15671"/>
                </a:lnTo>
                <a:lnTo>
                  <a:pt x="13553" y="15525"/>
                </a:lnTo>
                <a:lnTo>
                  <a:pt x="13626" y="15452"/>
                </a:lnTo>
                <a:lnTo>
                  <a:pt x="13626" y="15403"/>
                </a:lnTo>
                <a:lnTo>
                  <a:pt x="13626" y="15379"/>
                </a:lnTo>
                <a:lnTo>
                  <a:pt x="13602" y="15355"/>
                </a:lnTo>
                <a:lnTo>
                  <a:pt x="13553" y="15355"/>
                </a:lnTo>
                <a:lnTo>
                  <a:pt x="13432" y="15379"/>
                </a:lnTo>
                <a:lnTo>
                  <a:pt x="13188" y="15136"/>
                </a:lnTo>
                <a:lnTo>
                  <a:pt x="12945" y="14892"/>
                </a:lnTo>
                <a:lnTo>
                  <a:pt x="12385" y="14454"/>
                </a:lnTo>
                <a:lnTo>
                  <a:pt x="12361" y="14381"/>
                </a:lnTo>
                <a:lnTo>
                  <a:pt x="12312" y="14357"/>
                </a:lnTo>
                <a:lnTo>
                  <a:pt x="12264" y="14333"/>
                </a:lnTo>
                <a:lnTo>
                  <a:pt x="12069" y="14211"/>
                </a:lnTo>
                <a:lnTo>
                  <a:pt x="11582" y="13870"/>
                </a:lnTo>
                <a:lnTo>
                  <a:pt x="11071" y="13554"/>
                </a:lnTo>
                <a:lnTo>
                  <a:pt x="10560" y="13262"/>
                </a:lnTo>
                <a:lnTo>
                  <a:pt x="10025" y="12994"/>
                </a:lnTo>
                <a:lnTo>
                  <a:pt x="9782" y="12897"/>
                </a:lnTo>
                <a:lnTo>
                  <a:pt x="9538" y="12824"/>
                </a:lnTo>
                <a:lnTo>
                  <a:pt x="9295" y="12751"/>
                </a:lnTo>
                <a:lnTo>
                  <a:pt x="9027" y="12702"/>
                </a:lnTo>
                <a:lnTo>
                  <a:pt x="8516" y="12629"/>
                </a:lnTo>
                <a:lnTo>
                  <a:pt x="8005" y="12629"/>
                </a:lnTo>
                <a:lnTo>
                  <a:pt x="8005" y="12264"/>
                </a:lnTo>
                <a:lnTo>
                  <a:pt x="7981" y="11899"/>
                </a:lnTo>
                <a:lnTo>
                  <a:pt x="7957" y="11559"/>
                </a:lnTo>
                <a:lnTo>
                  <a:pt x="7884" y="11194"/>
                </a:lnTo>
                <a:lnTo>
                  <a:pt x="7786" y="10731"/>
                </a:lnTo>
                <a:lnTo>
                  <a:pt x="7640" y="10269"/>
                </a:lnTo>
                <a:lnTo>
                  <a:pt x="7494" y="9807"/>
                </a:lnTo>
                <a:lnTo>
                  <a:pt x="7349" y="9345"/>
                </a:lnTo>
                <a:lnTo>
                  <a:pt x="7300" y="9077"/>
                </a:lnTo>
                <a:lnTo>
                  <a:pt x="7251" y="8809"/>
                </a:lnTo>
                <a:lnTo>
                  <a:pt x="7203" y="8250"/>
                </a:lnTo>
                <a:lnTo>
                  <a:pt x="7203" y="7666"/>
                </a:lnTo>
                <a:lnTo>
                  <a:pt x="7251" y="7106"/>
                </a:lnTo>
                <a:lnTo>
                  <a:pt x="7324" y="6522"/>
                </a:lnTo>
                <a:lnTo>
                  <a:pt x="7421" y="5938"/>
                </a:lnTo>
                <a:lnTo>
                  <a:pt x="7616" y="4746"/>
                </a:lnTo>
                <a:lnTo>
                  <a:pt x="7884" y="4746"/>
                </a:lnTo>
                <a:lnTo>
                  <a:pt x="8127" y="4673"/>
                </a:lnTo>
                <a:lnTo>
                  <a:pt x="8370" y="4575"/>
                </a:lnTo>
                <a:lnTo>
                  <a:pt x="8638" y="4454"/>
                </a:lnTo>
                <a:lnTo>
                  <a:pt x="8760" y="4527"/>
                </a:lnTo>
                <a:lnTo>
                  <a:pt x="8906" y="4624"/>
                </a:lnTo>
                <a:lnTo>
                  <a:pt x="9076" y="4673"/>
                </a:lnTo>
                <a:lnTo>
                  <a:pt x="9246" y="4721"/>
                </a:lnTo>
                <a:lnTo>
                  <a:pt x="9587" y="4794"/>
                </a:lnTo>
                <a:lnTo>
                  <a:pt x="10122" y="4794"/>
                </a:lnTo>
                <a:lnTo>
                  <a:pt x="10366" y="4746"/>
                </a:lnTo>
                <a:lnTo>
                  <a:pt x="10609" y="4673"/>
                </a:lnTo>
                <a:lnTo>
                  <a:pt x="10828" y="4575"/>
                </a:lnTo>
                <a:lnTo>
                  <a:pt x="11071" y="4454"/>
                </a:lnTo>
                <a:lnTo>
                  <a:pt x="11266" y="4308"/>
                </a:lnTo>
                <a:lnTo>
                  <a:pt x="11461" y="4162"/>
                </a:lnTo>
                <a:lnTo>
                  <a:pt x="11607" y="3967"/>
                </a:lnTo>
                <a:lnTo>
                  <a:pt x="11728" y="3797"/>
                </a:lnTo>
                <a:lnTo>
                  <a:pt x="11850" y="3602"/>
                </a:lnTo>
                <a:lnTo>
                  <a:pt x="11947" y="3407"/>
                </a:lnTo>
                <a:lnTo>
                  <a:pt x="12020" y="3188"/>
                </a:lnTo>
                <a:lnTo>
                  <a:pt x="12142" y="2775"/>
                </a:lnTo>
                <a:lnTo>
                  <a:pt x="12215" y="2312"/>
                </a:lnTo>
                <a:lnTo>
                  <a:pt x="12288" y="1850"/>
                </a:lnTo>
                <a:lnTo>
                  <a:pt x="12312" y="1412"/>
                </a:lnTo>
                <a:lnTo>
                  <a:pt x="12361" y="512"/>
                </a:lnTo>
                <a:lnTo>
                  <a:pt x="12458" y="463"/>
                </a:lnTo>
                <a:lnTo>
                  <a:pt x="12507" y="390"/>
                </a:lnTo>
                <a:lnTo>
                  <a:pt x="12531" y="317"/>
                </a:lnTo>
                <a:lnTo>
                  <a:pt x="12507" y="220"/>
                </a:lnTo>
                <a:lnTo>
                  <a:pt x="12483" y="147"/>
                </a:lnTo>
                <a:lnTo>
                  <a:pt x="12434" y="98"/>
                </a:lnTo>
                <a:lnTo>
                  <a:pt x="12337" y="74"/>
                </a:lnTo>
                <a:lnTo>
                  <a:pt x="12264" y="98"/>
                </a:lnTo>
                <a:lnTo>
                  <a:pt x="12069" y="147"/>
                </a:lnTo>
                <a:lnTo>
                  <a:pt x="12045" y="147"/>
                </a:lnTo>
                <a:lnTo>
                  <a:pt x="11631" y="269"/>
                </a:lnTo>
                <a:lnTo>
                  <a:pt x="11217" y="366"/>
                </a:lnTo>
                <a:lnTo>
                  <a:pt x="10804" y="463"/>
                </a:lnTo>
                <a:lnTo>
                  <a:pt x="10390" y="561"/>
                </a:lnTo>
                <a:lnTo>
                  <a:pt x="10001" y="707"/>
                </a:lnTo>
                <a:lnTo>
                  <a:pt x="9611" y="877"/>
                </a:lnTo>
                <a:lnTo>
                  <a:pt x="9417" y="974"/>
                </a:lnTo>
                <a:lnTo>
                  <a:pt x="9246" y="1096"/>
                </a:lnTo>
                <a:lnTo>
                  <a:pt x="9076" y="1242"/>
                </a:lnTo>
                <a:lnTo>
                  <a:pt x="8906" y="1388"/>
                </a:lnTo>
                <a:lnTo>
                  <a:pt x="8735" y="1558"/>
                </a:lnTo>
                <a:lnTo>
                  <a:pt x="8614" y="1753"/>
                </a:lnTo>
                <a:lnTo>
                  <a:pt x="8492" y="1947"/>
                </a:lnTo>
                <a:lnTo>
                  <a:pt x="8395" y="2142"/>
                </a:lnTo>
                <a:lnTo>
                  <a:pt x="8297" y="2361"/>
                </a:lnTo>
                <a:lnTo>
                  <a:pt x="8249" y="2580"/>
                </a:lnTo>
                <a:lnTo>
                  <a:pt x="8200" y="2799"/>
                </a:lnTo>
                <a:lnTo>
                  <a:pt x="8151" y="3042"/>
                </a:lnTo>
                <a:lnTo>
                  <a:pt x="8151" y="3286"/>
                </a:lnTo>
                <a:lnTo>
                  <a:pt x="8200" y="3578"/>
                </a:lnTo>
                <a:lnTo>
                  <a:pt x="8224" y="3724"/>
                </a:lnTo>
                <a:lnTo>
                  <a:pt x="8297" y="3845"/>
                </a:lnTo>
                <a:lnTo>
                  <a:pt x="8370" y="3967"/>
                </a:lnTo>
                <a:lnTo>
                  <a:pt x="8443" y="4040"/>
                </a:lnTo>
                <a:lnTo>
                  <a:pt x="8443" y="4064"/>
                </a:lnTo>
                <a:lnTo>
                  <a:pt x="8370" y="4089"/>
                </a:lnTo>
                <a:lnTo>
                  <a:pt x="8200" y="4186"/>
                </a:lnTo>
                <a:lnTo>
                  <a:pt x="8030" y="4259"/>
                </a:lnTo>
                <a:lnTo>
                  <a:pt x="7689" y="4381"/>
                </a:lnTo>
                <a:lnTo>
                  <a:pt x="7762" y="3797"/>
                </a:lnTo>
                <a:lnTo>
                  <a:pt x="7811" y="3237"/>
                </a:lnTo>
                <a:lnTo>
                  <a:pt x="7811" y="2702"/>
                </a:lnTo>
                <a:lnTo>
                  <a:pt x="7786" y="2142"/>
                </a:lnTo>
                <a:lnTo>
                  <a:pt x="7738" y="1874"/>
                </a:lnTo>
                <a:lnTo>
                  <a:pt x="7689" y="1607"/>
                </a:lnTo>
                <a:lnTo>
                  <a:pt x="7616" y="1339"/>
                </a:lnTo>
                <a:lnTo>
                  <a:pt x="7519" y="1072"/>
                </a:lnTo>
                <a:lnTo>
                  <a:pt x="7421" y="828"/>
                </a:lnTo>
                <a:lnTo>
                  <a:pt x="7300" y="561"/>
                </a:lnTo>
                <a:lnTo>
                  <a:pt x="7130" y="317"/>
                </a:lnTo>
                <a:lnTo>
                  <a:pt x="6959" y="50"/>
                </a:lnTo>
                <a:lnTo>
                  <a:pt x="6935" y="25"/>
                </a:lnTo>
                <a:lnTo>
                  <a:pt x="688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 name="Graphic 9" descr="Open quotation mark with solid fill">
            <a:extLst>
              <a:ext uri="{FF2B5EF4-FFF2-40B4-BE49-F238E27FC236}">
                <a16:creationId xmlns:a16="http://schemas.microsoft.com/office/drawing/2014/main" id="{808036F8-A495-F0CD-1CA8-5A9A4345D4B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14722" y="1442113"/>
            <a:ext cx="914400" cy="914400"/>
          </a:xfrm>
          <a:prstGeom prst="rect">
            <a:avLst/>
          </a:prstGeom>
        </p:spPr>
      </p:pic>
      <p:sp>
        <p:nvSpPr>
          <p:cNvPr id="12" name="TextBox 11">
            <a:extLst>
              <a:ext uri="{FF2B5EF4-FFF2-40B4-BE49-F238E27FC236}">
                <a16:creationId xmlns:a16="http://schemas.microsoft.com/office/drawing/2014/main" id="{BA4951C2-6DB4-8E73-2680-89BEB1D554D2}"/>
              </a:ext>
            </a:extLst>
          </p:cNvPr>
          <p:cNvSpPr txBox="1"/>
          <p:nvPr/>
        </p:nvSpPr>
        <p:spPr>
          <a:xfrm>
            <a:off x="8428257" y="4363884"/>
            <a:ext cx="3102151" cy="1446550"/>
          </a:xfrm>
          <a:prstGeom prst="rect">
            <a:avLst/>
          </a:prstGeom>
          <a:noFill/>
          <a:ln>
            <a:noFill/>
          </a:ln>
        </p:spPr>
        <p:txBody>
          <a:bodyPr wrap="square" lIns="0" tIns="0" rIns="0" bIns="0" rtlCol="0">
            <a:spAutoFit/>
          </a:bodyPr>
          <a:lstStyle/>
          <a:p>
            <a:r>
              <a:rPr lang="da-DK" sz="1400">
                <a:solidFill>
                  <a:schemeClr val="accent3"/>
                </a:solidFill>
                <a:latin typeface="Quicksand" panose="020B0604020202020204"/>
                <a:cs typeface="Quicksand" panose="020B0604020202020204" charset="0"/>
              </a:rPr>
              <a:t>Ja, vi havde et andet projekt, hvor vores leder var syg, hvilket er fair nok, men så er det svært at tænke positivt om projektet, når man sidder og hænger på Teams og ledelsen heller ikke kommer. I det her projekt tager man det seriøst. </a:t>
            </a:r>
          </a:p>
          <a:p>
            <a:pPr algn="r"/>
            <a:r>
              <a:rPr lang="da-DK" sz="1000" i="1">
                <a:solidFill>
                  <a:schemeClr val="accent3"/>
                </a:solidFill>
                <a:latin typeface="Quicksand" panose="020B0604020202020204"/>
                <a:cs typeface="Quicksand" panose="020B0604020202020204" charset="0"/>
              </a:rPr>
              <a:t>Lærer 2</a:t>
            </a:r>
          </a:p>
        </p:txBody>
      </p:sp>
      <p:pic>
        <p:nvPicPr>
          <p:cNvPr id="13" name="Graphic 12" descr="Open quotation mark with solid fill">
            <a:extLst>
              <a:ext uri="{FF2B5EF4-FFF2-40B4-BE49-F238E27FC236}">
                <a16:creationId xmlns:a16="http://schemas.microsoft.com/office/drawing/2014/main" id="{6D7BB48C-0954-DED4-6131-6D923C2AD2F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39634" y="3542297"/>
            <a:ext cx="914400" cy="914400"/>
          </a:xfrm>
          <a:prstGeom prst="rect">
            <a:avLst/>
          </a:prstGeom>
        </p:spPr>
      </p:pic>
    </p:spTree>
    <p:extLst>
      <p:ext uri="{BB962C8B-B14F-4D97-AF65-F5344CB8AC3E}">
        <p14:creationId xmlns:p14="http://schemas.microsoft.com/office/powerpoint/2010/main" val="21898451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36</a:t>
            </a:fld>
            <a:endParaRPr lang="da-DK"/>
          </a:p>
        </p:txBody>
      </p:sp>
      <p:sp>
        <p:nvSpPr>
          <p:cNvPr id="3" name="Slide Number Placeholder 3">
            <a:extLst>
              <a:ext uri="{FF2B5EF4-FFF2-40B4-BE49-F238E27FC236}">
                <a16:creationId xmlns:a16="http://schemas.microsoft.com/office/drawing/2014/main" id="{D649DCE5-69AD-C1B0-9815-C2BE39487E43}"/>
              </a:ext>
            </a:extLst>
          </p:cNvPr>
          <p:cNvSpPr txBox="1">
            <a:spLocks/>
          </p:cNvSpPr>
          <p:nvPr/>
        </p:nvSpPr>
        <p:spPr>
          <a:xfrm>
            <a:off x="11206827" y="5223962"/>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6" name="Rectangle 15">
            <a:extLst>
              <a:ext uri="{FF2B5EF4-FFF2-40B4-BE49-F238E27FC236}">
                <a16:creationId xmlns:a16="http://schemas.microsoft.com/office/drawing/2014/main" id="{69E8CE64-0533-7299-077A-F5CBD4B386AF}"/>
              </a:ext>
            </a:extLst>
          </p:cNvPr>
          <p:cNvSpPr/>
          <p:nvPr/>
        </p:nvSpPr>
        <p:spPr>
          <a:xfrm>
            <a:off x="770411" y="1865189"/>
            <a:ext cx="6653049" cy="4259385"/>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2" name="Google Shape;846;p29">
            <a:extLst>
              <a:ext uri="{FF2B5EF4-FFF2-40B4-BE49-F238E27FC236}">
                <a16:creationId xmlns:a16="http://schemas.microsoft.com/office/drawing/2014/main" id="{15E4C8ED-7C1D-F41F-CFD3-DC21D4DDC86D}"/>
              </a:ext>
            </a:extLst>
          </p:cNvPr>
          <p:cNvSpPr/>
          <p:nvPr/>
        </p:nvSpPr>
        <p:spPr>
          <a:xfrm>
            <a:off x="0" y="346507"/>
            <a:ext cx="12192001" cy="854281"/>
          </a:xfrm>
          <a:prstGeom prst="rect">
            <a:avLst/>
          </a:prstGeom>
          <a:solidFill>
            <a:schemeClr val="accent3"/>
          </a:solidFill>
          <a:ln>
            <a:noFill/>
          </a:ln>
        </p:spPr>
        <p:txBody>
          <a:bodyPr spcFirstLastPara="1" wrap="square" lIns="396000" tIns="91425" rIns="91425" bIns="91425" anchor="ctr" anchorCtr="0">
            <a:noAutofit/>
          </a:bodyPr>
          <a:lstStyle/>
          <a:p>
            <a:pPr algn="ctr"/>
            <a:r>
              <a:rPr lang="da-DK" sz="3200" b="1">
                <a:solidFill>
                  <a:schemeClr val="bg1"/>
                </a:solidFill>
                <a:latin typeface="Amatic SC"/>
                <a:ea typeface="Amatic SC"/>
                <a:cs typeface="Amatic SC"/>
                <a:sym typeface="Amatic SC"/>
              </a:rPr>
              <a:t>ledelsen udmønter rolle forskelligt, men bør være tæt på udviklingsproces </a:t>
            </a:r>
            <a:endParaRPr lang="da-DK" sz="3200" b="1">
              <a:solidFill>
                <a:schemeClr val="bg1"/>
              </a:solidFill>
              <a:latin typeface="Amatic SC" panose="00000500000000000000" pitchFamily="2" charset="-79"/>
              <a:cs typeface="Amatic SC" panose="00000500000000000000" pitchFamily="2" charset="-79"/>
            </a:endParaRPr>
          </a:p>
        </p:txBody>
      </p:sp>
      <p:sp>
        <p:nvSpPr>
          <p:cNvPr id="6" name="TextBox 5">
            <a:extLst>
              <a:ext uri="{FF2B5EF4-FFF2-40B4-BE49-F238E27FC236}">
                <a16:creationId xmlns:a16="http://schemas.microsoft.com/office/drawing/2014/main" id="{479CD88A-6E58-621F-7006-85774279DF87}"/>
              </a:ext>
            </a:extLst>
          </p:cNvPr>
          <p:cNvSpPr txBox="1"/>
          <p:nvPr/>
        </p:nvSpPr>
        <p:spPr>
          <a:xfrm>
            <a:off x="770411" y="1583215"/>
            <a:ext cx="6653049" cy="666246"/>
          </a:xfrm>
          <a:prstGeom prst="rect">
            <a:avLst/>
          </a:prstGeom>
          <a:solidFill>
            <a:schemeClr val="accent3"/>
          </a:solidFill>
          <a:ln w="28575">
            <a:solidFill>
              <a:schemeClr val="accent3"/>
            </a:solidFill>
          </a:ln>
        </p:spPr>
        <p:txBody>
          <a:bodyPr wrap="square" lIns="0" tIns="0" rIns="0" bIns="0" rtlCol="0" anchor="ctr">
            <a:noAutofit/>
          </a:bodyPr>
          <a:lstStyle/>
          <a:p>
            <a:pPr algn="ctr"/>
            <a:r>
              <a:rPr lang="da-DK" sz="2400" b="1">
                <a:latin typeface="Amatic SC" panose="00000500000000000000" pitchFamily="2" charset="-79"/>
                <a:cs typeface="Amatic SC" panose="00000500000000000000" pitchFamily="2" charset="-79"/>
              </a:rPr>
              <a:t>Det er særligt motiverende, når ledelsen…</a:t>
            </a:r>
          </a:p>
        </p:txBody>
      </p:sp>
      <p:sp>
        <p:nvSpPr>
          <p:cNvPr id="7" name="TextBox 6">
            <a:extLst>
              <a:ext uri="{FF2B5EF4-FFF2-40B4-BE49-F238E27FC236}">
                <a16:creationId xmlns:a16="http://schemas.microsoft.com/office/drawing/2014/main" id="{BD2606AB-11AB-17EB-93C7-331917089B99}"/>
              </a:ext>
            </a:extLst>
          </p:cNvPr>
          <p:cNvSpPr txBox="1"/>
          <p:nvPr/>
        </p:nvSpPr>
        <p:spPr>
          <a:xfrm>
            <a:off x="879231" y="2518936"/>
            <a:ext cx="6447399" cy="3754874"/>
          </a:xfrm>
          <a:prstGeom prst="rect">
            <a:avLst/>
          </a:prstGeom>
          <a:noFill/>
        </p:spPr>
        <p:txBody>
          <a:bodyPr wrap="square">
            <a:spAutoFit/>
          </a:bodyPr>
          <a:lstStyle/>
          <a:p>
            <a:pPr marL="360000" lvl="1"/>
            <a:r>
              <a:rPr lang="da-DK" sz="1400">
                <a:latin typeface="Quicksand" panose="020B0604020202020204" charset="0"/>
              </a:rPr>
              <a:t>… </a:t>
            </a:r>
            <a:r>
              <a:rPr lang="da-DK" sz="1400" b="1">
                <a:latin typeface="Quicksand" panose="020B0604020202020204" charset="0"/>
              </a:rPr>
              <a:t>går tæt på praksis </a:t>
            </a:r>
            <a:r>
              <a:rPr lang="da-DK" sz="1400">
                <a:latin typeface="Quicksand" panose="020B0604020202020204" charset="0"/>
              </a:rPr>
              <a:t>og involverer sig aktivt i udviklingen af læringsmiljøer, der skaber deltagelsesmuligheder for alle elever.</a:t>
            </a:r>
          </a:p>
          <a:p>
            <a:pPr marL="360000" lvl="1"/>
            <a:endParaRPr lang="da-DK" sz="1400">
              <a:latin typeface="Quicksand" panose="020B0604020202020204" charset="0"/>
            </a:endParaRPr>
          </a:p>
          <a:p>
            <a:pPr marL="360000" lvl="1"/>
            <a:r>
              <a:rPr lang="da-DK" sz="1400">
                <a:latin typeface="Quicksand" panose="020B0604020202020204" charset="0"/>
              </a:rPr>
              <a:t>… gør det klart, hvordan arbejdet med Den Mangfoldige Folkeskole </a:t>
            </a:r>
            <a:r>
              <a:rPr lang="da-DK" sz="1400" b="1">
                <a:latin typeface="Quicksand" panose="020B0604020202020204" charset="0"/>
              </a:rPr>
              <a:t>kvalificerer og understøtter</a:t>
            </a:r>
            <a:r>
              <a:rPr lang="da-DK" sz="1400">
                <a:latin typeface="Quicksand" panose="020B0604020202020204" charset="0"/>
              </a:rPr>
              <a:t> skolens eksisterende fokus.</a:t>
            </a:r>
          </a:p>
          <a:p>
            <a:pPr marL="360000" lvl="1"/>
            <a:endParaRPr lang="da-DK" sz="1400">
              <a:latin typeface="Quicksand" panose="020B0604020202020204" charset="0"/>
            </a:endParaRPr>
          </a:p>
          <a:p>
            <a:pPr marL="360000" lvl="1"/>
            <a:r>
              <a:rPr lang="da-DK" sz="1400" noProof="0">
                <a:latin typeface="Quicksand" panose="020B0604020202020204" charset="0"/>
              </a:rPr>
              <a:t>… tydeliggør, hvordan arbejdet med Den Mangfoldige </a:t>
            </a:r>
            <a:r>
              <a:rPr lang="da-DK" sz="1400">
                <a:latin typeface="Quicksand" panose="020B0604020202020204" charset="0"/>
              </a:rPr>
              <a:t>F</a:t>
            </a:r>
            <a:r>
              <a:rPr lang="da-DK" sz="1400" noProof="0" err="1">
                <a:latin typeface="Quicksand" panose="020B0604020202020204" charset="0"/>
              </a:rPr>
              <a:t>olkeskole</a:t>
            </a:r>
            <a:r>
              <a:rPr lang="da-DK" sz="1400" noProof="0">
                <a:latin typeface="Quicksand" panose="020B0604020202020204" charset="0"/>
              </a:rPr>
              <a:t> </a:t>
            </a:r>
            <a:r>
              <a:rPr lang="da-DK" sz="1400" b="1" noProof="0">
                <a:latin typeface="Quicksand" panose="020B0604020202020204" charset="0"/>
              </a:rPr>
              <a:t>konkret bidrager til at forbedre praksis</a:t>
            </a:r>
            <a:r>
              <a:rPr lang="da-DK" sz="1400" noProof="0">
                <a:latin typeface="Quicksand" panose="020B0604020202020204" charset="0"/>
              </a:rPr>
              <a:t>.</a:t>
            </a:r>
            <a:endParaRPr lang="da-DK" sz="1400" b="1" noProof="0">
              <a:latin typeface="Quicksand" panose="020B0604020202020204" charset="0"/>
            </a:endParaRPr>
          </a:p>
          <a:p>
            <a:pPr marL="360000" lvl="1"/>
            <a:endParaRPr lang="da-DK" sz="1400">
              <a:latin typeface="Quicksand" panose="020B0604020202020204" charset="0"/>
            </a:endParaRPr>
          </a:p>
          <a:p>
            <a:pPr marL="360000" lvl="1"/>
            <a:r>
              <a:rPr lang="da-DK" sz="1400" noProof="0">
                <a:latin typeface="Quicksand" panose="020B0604020202020204" charset="0"/>
              </a:rPr>
              <a:t>… prioriterer, at medarbejderne </a:t>
            </a:r>
            <a:r>
              <a:rPr lang="da-DK" sz="1400" b="1" noProof="0">
                <a:latin typeface="Quicksand" panose="020B0604020202020204" charset="0"/>
              </a:rPr>
              <a:t>kan dele succeser og udfordringer i arbejdet </a:t>
            </a:r>
            <a:r>
              <a:rPr lang="da-DK" sz="1400" noProof="0">
                <a:latin typeface="Quicksand" panose="020B0604020202020204" charset="0"/>
              </a:rPr>
              <a:t>med aktionslæring på tværs af teams. </a:t>
            </a:r>
          </a:p>
          <a:p>
            <a:pPr marL="360000" lvl="1"/>
            <a:endParaRPr lang="da-DK" sz="1400">
              <a:latin typeface="Quicksand" panose="020B0604020202020204" charset="0"/>
            </a:endParaRPr>
          </a:p>
          <a:p>
            <a:pPr marL="360000" lvl="1"/>
            <a:r>
              <a:rPr lang="da-DK" sz="1400" noProof="0">
                <a:latin typeface="Quicksand" panose="020B0604020202020204" charset="0"/>
              </a:rPr>
              <a:t>… opfordrer medarbejdere </a:t>
            </a:r>
            <a:r>
              <a:rPr lang="da-DK" sz="1400" b="1" noProof="0">
                <a:latin typeface="Quicksand" panose="020B0604020202020204" charset="0"/>
              </a:rPr>
              <a:t>til at dele viden </a:t>
            </a:r>
            <a:r>
              <a:rPr lang="da-DK" sz="1400" noProof="0">
                <a:latin typeface="Quicksand" panose="020B0604020202020204" charset="0"/>
              </a:rPr>
              <a:t>fra kompetenceudvikling (fx fra kurser) på fælles møder.</a:t>
            </a:r>
          </a:p>
          <a:p>
            <a:pPr marL="360000" lvl="1"/>
            <a:endParaRPr lang="da-DK" sz="1400">
              <a:latin typeface="Quicksand" panose="020B0604020202020204" charset="0"/>
            </a:endParaRPr>
          </a:p>
          <a:p>
            <a:pPr marL="360000" lvl="1"/>
            <a:r>
              <a:rPr lang="da-DK" sz="1400" noProof="0">
                <a:latin typeface="Quicksand" panose="020B0604020202020204" charset="0"/>
              </a:rPr>
              <a:t>… tydeliggør, hvordan teamene </a:t>
            </a:r>
            <a:r>
              <a:rPr lang="da-DK" sz="1400" b="1" noProof="0">
                <a:latin typeface="Quicksand" panose="020B0604020202020204" charset="0"/>
              </a:rPr>
              <a:t>forventes at arbejde med aktionslæring</a:t>
            </a:r>
            <a:r>
              <a:rPr lang="da-DK" sz="1400" noProof="0">
                <a:latin typeface="Quicksand" panose="020B0604020202020204" charset="0"/>
              </a:rPr>
              <a:t>.</a:t>
            </a:r>
            <a:r>
              <a:rPr lang="da-DK" sz="1400" b="1" noProof="0">
                <a:latin typeface="Quicksand" panose="020B0604020202020204" charset="0"/>
              </a:rPr>
              <a:t> </a:t>
            </a:r>
          </a:p>
          <a:p>
            <a:pPr marL="360000" lvl="1"/>
            <a:endParaRPr lang="da-DK" sz="1400" b="1" noProof="0">
              <a:latin typeface="Quicksand" panose="020B0604020202020204" charset="0"/>
            </a:endParaRPr>
          </a:p>
        </p:txBody>
      </p:sp>
      <p:sp>
        <p:nvSpPr>
          <p:cNvPr id="11" name="TextBox 10">
            <a:extLst>
              <a:ext uri="{FF2B5EF4-FFF2-40B4-BE49-F238E27FC236}">
                <a16:creationId xmlns:a16="http://schemas.microsoft.com/office/drawing/2014/main" id="{6522811D-D684-D540-607B-3B8A9E427BF6}"/>
              </a:ext>
            </a:extLst>
          </p:cNvPr>
          <p:cNvSpPr txBox="1"/>
          <p:nvPr/>
        </p:nvSpPr>
        <p:spPr>
          <a:xfrm>
            <a:off x="8428257" y="2356513"/>
            <a:ext cx="2993332" cy="1446550"/>
          </a:xfrm>
          <a:prstGeom prst="rect">
            <a:avLst/>
          </a:prstGeom>
          <a:noFill/>
          <a:ln>
            <a:noFill/>
          </a:ln>
        </p:spPr>
        <p:txBody>
          <a:bodyPr wrap="square" lIns="0" tIns="0" rIns="0" bIns="0" rtlCol="0">
            <a:spAutoFit/>
          </a:bodyPr>
          <a:lstStyle/>
          <a:p>
            <a:r>
              <a:rPr lang="da-DK" sz="1400">
                <a:solidFill>
                  <a:schemeClr val="accent3"/>
                </a:solidFill>
                <a:latin typeface="Quicksand" panose="020B0604020202020204"/>
                <a:cs typeface="Quicksand" panose="020B0604020202020204" charset="0"/>
              </a:rPr>
              <a:t>Min leder har fingeren på pulsen. Vi har et tæt samarbejde og kan let sparre. Hun deltager i udviklingen af overordnede handleplaner og LMV-møder og hun er også med i aktionslæring. Det fungerer rigtigt godt. </a:t>
            </a:r>
            <a:endParaRPr lang="da-DK" sz="1400" i="1">
              <a:solidFill>
                <a:schemeClr val="accent3"/>
              </a:solidFill>
              <a:latin typeface="Quicksand" panose="020B0604020202020204"/>
              <a:cs typeface="Quicksand" panose="020B0604020202020204" charset="0"/>
            </a:endParaRPr>
          </a:p>
          <a:p>
            <a:pPr algn="r"/>
            <a:r>
              <a:rPr lang="da-DK" sz="1000" i="1">
                <a:solidFill>
                  <a:schemeClr val="accent3"/>
                </a:solidFill>
                <a:latin typeface="Quicksand" panose="020B0604020202020204" charset="0"/>
                <a:cs typeface="Quicksand" panose="020B0604020202020204" charset="0"/>
              </a:rPr>
              <a:t>Vejleder</a:t>
            </a:r>
            <a:endParaRPr lang="da-DK" sz="800">
              <a:latin typeface="Quicksand" panose="020B0604020202020204" charset="0"/>
              <a:cs typeface="Quicksand" panose="020B0604020202020204" charset="0"/>
            </a:endParaRPr>
          </a:p>
        </p:txBody>
      </p:sp>
      <p:sp>
        <p:nvSpPr>
          <p:cNvPr id="8" name="Google Shape;1251;p48">
            <a:extLst>
              <a:ext uri="{FF2B5EF4-FFF2-40B4-BE49-F238E27FC236}">
                <a16:creationId xmlns:a16="http://schemas.microsoft.com/office/drawing/2014/main" id="{CAEDC0E2-5B22-DA90-5AB4-2F254728B258}"/>
              </a:ext>
            </a:extLst>
          </p:cNvPr>
          <p:cNvSpPr/>
          <p:nvPr/>
        </p:nvSpPr>
        <p:spPr>
          <a:xfrm>
            <a:off x="1724143" y="1696231"/>
            <a:ext cx="345681" cy="414830"/>
          </a:xfrm>
          <a:custGeom>
            <a:avLst/>
            <a:gdLst/>
            <a:ahLst/>
            <a:cxnLst/>
            <a:rect l="l" t="t" r="r" b="b"/>
            <a:pathLst>
              <a:path w="15817" h="18981" extrusionOk="0">
                <a:moveTo>
                  <a:pt x="11364" y="1"/>
                </a:moveTo>
                <a:lnTo>
                  <a:pt x="11242" y="25"/>
                </a:lnTo>
                <a:lnTo>
                  <a:pt x="11169" y="74"/>
                </a:lnTo>
                <a:lnTo>
                  <a:pt x="11096" y="171"/>
                </a:lnTo>
                <a:lnTo>
                  <a:pt x="10780" y="731"/>
                </a:lnTo>
                <a:lnTo>
                  <a:pt x="10634" y="999"/>
                </a:lnTo>
                <a:lnTo>
                  <a:pt x="10537" y="1315"/>
                </a:lnTo>
                <a:lnTo>
                  <a:pt x="10512" y="1388"/>
                </a:lnTo>
                <a:lnTo>
                  <a:pt x="10537" y="1461"/>
                </a:lnTo>
                <a:lnTo>
                  <a:pt x="10585" y="1534"/>
                </a:lnTo>
                <a:lnTo>
                  <a:pt x="10634" y="1583"/>
                </a:lnTo>
                <a:lnTo>
                  <a:pt x="10707" y="1607"/>
                </a:lnTo>
                <a:lnTo>
                  <a:pt x="10804" y="1631"/>
                </a:lnTo>
                <a:lnTo>
                  <a:pt x="10877" y="1607"/>
                </a:lnTo>
                <a:lnTo>
                  <a:pt x="10950" y="1558"/>
                </a:lnTo>
                <a:lnTo>
                  <a:pt x="11145" y="1315"/>
                </a:lnTo>
                <a:lnTo>
                  <a:pt x="11291" y="1047"/>
                </a:lnTo>
                <a:lnTo>
                  <a:pt x="11510" y="731"/>
                </a:lnTo>
                <a:lnTo>
                  <a:pt x="11583" y="682"/>
                </a:lnTo>
                <a:lnTo>
                  <a:pt x="11656" y="609"/>
                </a:lnTo>
                <a:lnTo>
                  <a:pt x="11705" y="463"/>
                </a:lnTo>
                <a:lnTo>
                  <a:pt x="11729" y="342"/>
                </a:lnTo>
                <a:lnTo>
                  <a:pt x="11705" y="220"/>
                </a:lnTo>
                <a:lnTo>
                  <a:pt x="11656" y="123"/>
                </a:lnTo>
                <a:lnTo>
                  <a:pt x="11583" y="50"/>
                </a:lnTo>
                <a:lnTo>
                  <a:pt x="11486" y="25"/>
                </a:lnTo>
                <a:lnTo>
                  <a:pt x="11461" y="1"/>
                </a:lnTo>
                <a:close/>
                <a:moveTo>
                  <a:pt x="3821" y="171"/>
                </a:moveTo>
                <a:lnTo>
                  <a:pt x="3748" y="196"/>
                </a:lnTo>
                <a:lnTo>
                  <a:pt x="3699" y="244"/>
                </a:lnTo>
                <a:lnTo>
                  <a:pt x="3651" y="317"/>
                </a:lnTo>
                <a:lnTo>
                  <a:pt x="3651" y="390"/>
                </a:lnTo>
                <a:lnTo>
                  <a:pt x="3651" y="463"/>
                </a:lnTo>
                <a:lnTo>
                  <a:pt x="3699" y="634"/>
                </a:lnTo>
                <a:lnTo>
                  <a:pt x="3772" y="804"/>
                </a:lnTo>
                <a:lnTo>
                  <a:pt x="3943" y="1120"/>
                </a:lnTo>
                <a:lnTo>
                  <a:pt x="4113" y="1461"/>
                </a:lnTo>
                <a:lnTo>
                  <a:pt x="4259" y="1802"/>
                </a:lnTo>
                <a:lnTo>
                  <a:pt x="4332" y="1923"/>
                </a:lnTo>
                <a:lnTo>
                  <a:pt x="4429" y="1996"/>
                </a:lnTo>
                <a:lnTo>
                  <a:pt x="4527" y="2021"/>
                </a:lnTo>
                <a:lnTo>
                  <a:pt x="4624" y="1996"/>
                </a:lnTo>
                <a:lnTo>
                  <a:pt x="4721" y="1972"/>
                </a:lnTo>
                <a:lnTo>
                  <a:pt x="4794" y="1899"/>
                </a:lnTo>
                <a:lnTo>
                  <a:pt x="4843" y="1777"/>
                </a:lnTo>
                <a:lnTo>
                  <a:pt x="4843" y="1656"/>
                </a:lnTo>
                <a:lnTo>
                  <a:pt x="4794" y="1461"/>
                </a:lnTo>
                <a:lnTo>
                  <a:pt x="4697" y="1266"/>
                </a:lnTo>
                <a:lnTo>
                  <a:pt x="4502" y="901"/>
                </a:lnTo>
                <a:lnTo>
                  <a:pt x="4283" y="536"/>
                </a:lnTo>
                <a:lnTo>
                  <a:pt x="4162" y="390"/>
                </a:lnTo>
                <a:lnTo>
                  <a:pt x="4040" y="244"/>
                </a:lnTo>
                <a:lnTo>
                  <a:pt x="3967" y="196"/>
                </a:lnTo>
                <a:lnTo>
                  <a:pt x="3894" y="171"/>
                </a:lnTo>
                <a:close/>
                <a:moveTo>
                  <a:pt x="15452" y="4405"/>
                </a:moveTo>
                <a:lnTo>
                  <a:pt x="15379" y="4429"/>
                </a:lnTo>
                <a:lnTo>
                  <a:pt x="15306" y="4454"/>
                </a:lnTo>
                <a:lnTo>
                  <a:pt x="15135" y="4551"/>
                </a:lnTo>
                <a:lnTo>
                  <a:pt x="14941" y="4600"/>
                </a:lnTo>
                <a:lnTo>
                  <a:pt x="14551" y="4697"/>
                </a:lnTo>
                <a:lnTo>
                  <a:pt x="14357" y="4746"/>
                </a:lnTo>
                <a:lnTo>
                  <a:pt x="14162" y="4819"/>
                </a:lnTo>
                <a:lnTo>
                  <a:pt x="14016" y="4916"/>
                </a:lnTo>
                <a:lnTo>
                  <a:pt x="13870" y="5062"/>
                </a:lnTo>
                <a:lnTo>
                  <a:pt x="13822" y="5135"/>
                </a:lnTo>
                <a:lnTo>
                  <a:pt x="13822" y="5232"/>
                </a:lnTo>
                <a:lnTo>
                  <a:pt x="13846" y="5330"/>
                </a:lnTo>
                <a:lnTo>
                  <a:pt x="13895" y="5354"/>
                </a:lnTo>
                <a:lnTo>
                  <a:pt x="13943" y="5354"/>
                </a:lnTo>
                <a:lnTo>
                  <a:pt x="14138" y="5378"/>
                </a:lnTo>
                <a:lnTo>
                  <a:pt x="14357" y="5378"/>
                </a:lnTo>
                <a:lnTo>
                  <a:pt x="14600" y="5354"/>
                </a:lnTo>
                <a:lnTo>
                  <a:pt x="14819" y="5330"/>
                </a:lnTo>
                <a:lnTo>
                  <a:pt x="15038" y="5257"/>
                </a:lnTo>
                <a:lnTo>
                  <a:pt x="15257" y="5208"/>
                </a:lnTo>
                <a:lnTo>
                  <a:pt x="15452" y="5111"/>
                </a:lnTo>
                <a:lnTo>
                  <a:pt x="15646" y="5038"/>
                </a:lnTo>
                <a:lnTo>
                  <a:pt x="15719" y="4989"/>
                </a:lnTo>
                <a:lnTo>
                  <a:pt x="15768" y="4940"/>
                </a:lnTo>
                <a:lnTo>
                  <a:pt x="15817" y="4819"/>
                </a:lnTo>
                <a:lnTo>
                  <a:pt x="15792" y="4697"/>
                </a:lnTo>
                <a:lnTo>
                  <a:pt x="15768" y="4575"/>
                </a:lnTo>
                <a:lnTo>
                  <a:pt x="15671" y="4478"/>
                </a:lnTo>
                <a:lnTo>
                  <a:pt x="15573" y="4429"/>
                </a:lnTo>
                <a:lnTo>
                  <a:pt x="15452" y="4405"/>
                </a:lnTo>
                <a:close/>
                <a:moveTo>
                  <a:pt x="317" y="4697"/>
                </a:moveTo>
                <a:lnTo>
                  <a:pt x="220" y="4721"/>
                </a:lnTo>
                <a:lnTo>
                  <a:pt x="122" y="4746"/>
                </a:lnTo>
                <a:lnTo>
                  <a:pt x="25" y="4794"/>
                </a:lnTo>
                <a:lnTo>
                  <a:pt x="1" y="4867"/>
                </a:lnTo>
                <a:lnTo>
                  <a:pt x="1" y="4965"/>
                </a:lnTo>
                <a:lnTo>
                  <a:pt x="49" y="5038"/>
                </a:lnTo>
                <a:lnTo>
                  <a:pt x="195" y="5184"/>
                </a:lnTo>
                <a:lnTo>
                  <a:pt x="390" y="5305"/>
                </a:lnTo>
                <a:lnTo>
                  <a:pt x="779" y="5524"/>
                </a:lnTo>
                <a:lnTo>
                  <a:pt x="1169" y="5743"/>
                </a:lnTo>
                <a:lnTo>
                  <a:pt x="1388" y="5841"/>
                </a:lnTo>
                <a:lnTo>
                  <a:pt x="1582" y="5938"/>
                </a:lnTo>
                <a:lnTo>
                  <a:pt x="1655" y="5962"/>
                </a:lnTo>
                <a:lnTo>
                  <a:pt x="1801" y="5962"/>
                </a:lnTo>
                <a:lnTo>
                  <a:pt x="1850" y="5938"/>
                </a:lnTo>
                <a:lnTo>
                  <a:pt x="1923" y="5841"/>
                </a:lnTo>
                <a:lnTo>
                  <a:pt x="1972" y="5743"/>
                </a:lnTo>
                <a:lnTo>
                  <a:pt x="1996" y="5622"/>
                </a:lnTo>
                <a:lnTo>
                  <a:pt x="1972" y="5476"/>
                </a:lnTo>
                <a:lnTo>
                  <a:pt x="1899" y="5378"/>
                </a:lnTo>
                <a:lnTo>
                  <a:pt x="1826" y="5330"/>
                </a:lnTo>
                <a:lnTo>
                  <a:pt x="1777" y="5305"/>
                </a:lnTo>
                <a:lnTo>
                  <a:pt x="1582" y="5208"/>
                </a:lnTo>
                <a:lnTo>
                  <a:pt x="1388" y="5111"/>
                </a:lnTo>
                <a:lnTo>
                  <a:pt x="974" y="4892"/>
                </a:lnTo>
                <a:lnTo>
                  <a:pt x="755" y="4794"/>
                </a:lnTo>
                <a:lnTo>
                  <a:pt x="536" y="4721"/>
                </a:lnTo>
                <a:lnTo>
                  <a:pt x="317" y="4697"/>
                </a:lnTo>
                <a:close/>
                <a:moveTo>
                  <a:pt x="8809" y="6936"/>
                </a:moveTo>
                <a:lnTo>
                  <a:pt x="8736" y="6984"/>
                </a:lnTo>
                <a:lnTo>
                  <a:pt x="8663" y="7057"/>
                </a:lnTo>
                <a:lnTo>
                  <a:pt x="8566" y="7252"/>
                </a:lnTo>
                <a:lnTo>
                  <a:pt x="8468" y="7495"/>
                </a:lnTo>
                <a:lnTo>
                  <a:pt x="8420" y="7739"/>
                </a:lnTo>
                <a:lnTo>
                  <a:pt x="8395" y="7958"/>
                </a:lnTo>
                <a:lnTo>
                  <a:pt x="8395" y="8128"/>
                </a:lnTo>
                <a:lnTo>
                  <a:pt x="8322" y="8177"/>
                </a:lnTo>
                <a:lnTo>
                  <a:pt x="8201" y="8225"/>
                </a:lnTo>
                <a:lnTo>
                  <a:pt x="8079" y="8250"/>
                </a:lnTo>
                <a:lnTo>
                  <a:pt x="7982" y="8225"/>
                </a:lnTo>
                <a:lnTo>
                  <a:pt x="7909" y="8201"/>
                </a:lnTo>
                <a:lnTo>
                  <a:pt x="7982" y="8079"/>
                </a:lnTo>
                <a:lnTo>
                  <a:pt x="8055" y="7933"/>
                </a:lnTo>
                <a:lnTo>
                  <a:pt x="8103" y="7812"/>
                </a:lnTo>
                <a:lnTo>
                  <a:pt x="8103" y="7666"/>
                </a:lnTo>
                <a:lnTo>
                  <a:pt x="8103" y="7520"/>
                </a:lnTo>
                <a:lnTo>
                  <a:pt x="8055" y="7398"/>
                </a:lnTo>
                <a:lnTo>
                  <a:pt x="7957" y="7252"/>
                </a:lnTo>
                <a:lnTo>
                  <a:pt x="7836" y="7130"/>
                </a:lnTo>
                <a:lnTo>
                  <a:pt x="7763" y="7082"/>
                </a:lnTo>
                <a:lnTo>
                  <a:pt x="7617" y="7082"/>
                </a:lnTo>
                <a:lnTo>
                  <a:pt x="7544" y="7130"/>
                </a:lnTo>
                <a:lnTo>
                  <a:pt x="7446" y="7252"/>
                </a:lnTo>
                <a:lnTo>
                  <a:pt x="7373" y="7374"/>
                </a:lnTo>
                <a:lnTo>
                  <a:pt x="7325" y="7495"/>
                </a:lnTo>
                <a:lnTo>
                  <a:pt x="7300" y="7641"/>
                </a:lnTo>
                <a:lnTo>
                  <a:pt x="7300" y="7787"/>
                </a:lnTo>
                <a:lnTo>
                  <a:pt x="7300" y="7909"/>
                </a:lnTo>
                <a:lnTo>
                  <a:pt x="7325" y="8055"/>
                </a:lnTo>
                <a:lnTo>
                  <a:pt x="7373" y="8177"/>
                </a:lnTo>
                <a:lnTo>
                  <a:pt x="7179" y="8298"/>
                </a:lnTo>
                <a:lnTo>
                  <a:pt x="7081" y="8323"/>
                </a:lnTo>
                <a:lnTo>
                  <a:pt x="6984" y="8347"/>
                </a:lnTo>
                <a:lnTo>
                  <a:pt x="6911" y="8371"/>
                </a:lnTo>
                <a:lnTo>
                  <a:pt x="6814" y="8347"/>
                </a:lnTo>
                <a:lnTo>
                  <a:pt x="6692" y="8298"/>
                </a:lnTo>
                <a:lnTo>
                  <a:pt x="6570" y="8201"/>
                </a:lnTo>
                <a:lnTo>
                  <a:pt x="6497" y="8055"/>
                </a:lnTo>
                <a:lnTo>
                  <a:pt x="6449" y="7909"/>
                </a:lnTo>
                <a:lnTo>
                  <a:pt x="6449" y="7739"/>
                </a:lnTo>
                <a:lnTo>
                  <a:pt x="6497" y="7544"/>
                </a:lnTo>
                <a:lnTo>
                  <a:pt x="6497" y="7520"/>
                </a:lnTo>
                <a:lnTo>
                  <a:pt x="6473" y="7520"/>
                </a:lnTo>
                <a:lnTo>
                  <a:pt x="6449" y="7495"/>
                </a:lnTo>
                <a:lnTo>
                  <a:pt x="6424" y="7520"/>
                </a:lnTo>
                <a:lnTo>
                  <a:pt x="6327" y="7617"/>
                </a:lnTo>
                <a:lnTo>
                  <a:pt x="6254" y="7739"/>
                </a:lnTo>
                <a:lnTo>
                  <a:pt x="6230" y="7836"/>
                </a:lnTo>
                <a:lnTo>
                  <a:pt x="6206" y="7958"/>
                </a:lnTo>
                <a:lnTo>
                  <a:pt x="6206" y="8055"/>
                </a:lnTo>
                <a:lnTo>
                  <a:pt x="6206" y="8177"/>
                </a:lnTo>
                <a:lnTo>
                  <a:pt x="6254" y="8274"/>
                </a:lnTo>
                <a:lnTo>
                  <a:pt x="6303" y="8371"/>
                </a:lnTo>
                <a:lnTo>
                  <a:pt x="6376" y="8469"/>
                </a:lnTo>
                <a:lnTo>
                  <a:pt x="6449" y="8542"/>
                </a:lnTo>
                <a:lnTo>
                  <a:pt x="6546" y="8615"/>
                </a:lnTo>
                <a:lnTo>
                  <a:pt x="6643" y="8663"/>
                </a:lnTo>
                <a:lnTo>
                  <a:pt x="6765" y="8712"/>
                </a:lnTo>
                <a:lnTo>
                  <a:pt x="6862" y="8736"/>
                </a:lnTo>
                <a:lnTo>
                  <a:pt x="7008" y="8736"/>
                </a:lnTo>
                <a:lnTo>
                  <a:pt x="7130" y="8712"/>
                </a:lnTo>
                <a:lnTo>
                  <a:pt x="7349" y="8615"/>
                </a:lnTo>
                <a:lnTo>
                  <a:pt x="7592" y="8493"/>
                </a:lnTo>
                <a:lnTo>
                  <a:pt x="7690" y="8566"/>
                </a:lnTo>
                <a:lnTo>
                  <a:pt x="7836" y="8639"/>
                </a:lnTo>
                <a:lnTo>
                  <a:pt x="7982" y="8663"/>
                </a:lnTo>
                <a:lnTo>
                  <a:pt x="8128" y="8688"/>
                </a:lnTo>
                <a:lnTo>
                  <a:pt x="8225" y="8688"/>
                </a:lnTo>
                <a:lnTo>
                  <a:pt x="8347" y="8663"/>
                </a:lnTo>
                <a:lnTo>
                  <a:pt x="8566" y="8566"/>
                </a:lnTo>
                <a:lnTo>
                  <a:pt x="8639" y="8663"/>
                </a:lnTo>
                <a:lnTo>
                  <a:pt x="8736" y="8736"/>
                </a:lnTo>
                <a:lnTo>
                  <a:pt x="8833" y="8809"/>
                </a:lnTo>
                <a:lnTo>
                  <a:pt x="8931" y="8858"/>
                </a:lnTo>
                <a:lnTo>
                  <a:pt x="9174" y="8907"/>
                </a:lnTo>
                <a:lnTo>
                  <a:pt x="9417" y="8931"/>
                </a:lnTo>
                <a:lnTo>
                  <a:pt x="9661" y="8882"/>
                </a:lnTo>
                <a:lnTo>
                  <a:pt x="9880" y="8809"/>
                </a:lnTo>
                <a:lnTo>
                  <a:pt x="9977" y="8736"/>
                </a:lnTo>
                <a:lnTo>
                  <a:pt x="10074" y="8663"/>
                </a:lnTo>
                <a:lnTo>
                  <a:pt x="10172" y="8566"/>
                </a:lnTo>
                <a:lnTo>
                  <a:pt x="10269" y="8469"/>
                </a:lnTo>
                <a:lnTo>
                  <a:pt x="10293" y="8396"/>
                </a:lnTo>
                <a:lnTo>
                  <a:pt x="10293" y="8347"/>
                </a:lnTo>
                <a:lnTo>
                  <a:pt x="10269" y="8298"/>
                </a:lnTo>
                <a:lnTo>
                  <a:pt x="10245" y="8250"/>
                </a:lnTo>
                <a:lnTo>
                  <a:pt x="10172" y="8225"/>
                </a:lnTo>
                <a:lnTo>
                  <a:pt x="10123" y="8201"/>
                </a:lnTo>
                <a:lnTo>
                  <a:pt x="10001" y="8201"/>
                </a:lnTo>
                <a:lnTo>
                  <a:pt x="9782" y="8323"/>
                </a:lnTo>
                <a:lnTo>
                  <a:pt x="9563" y="8420"/>
                </a:lnTo>
                <a:lnTo>
                  <a:pt x="9442" y="8444"/>
                </a:lnTo>
                <a:lnTo>
                  <a:pt x="9344" y="8469"/>
                </a:lnTo>
                <a:lnTo>
                  <a:pt x="9223" y="8469"/>
                </a:lnTo>
                <a:lnTo>
                  <a:pt x="9101" y="8420"/>
                </a:lnTo>
                <a:lnTo>
                  <a:pt x="9004" y="8347"/>
                </a:lnTo>
                <a:lnTo>
                  <a:pt x="8931" y="8274"/>
                </a:lnTo>
                <a:lnTo>
                  <a:pt x="9052" y="8128"/>
                </a:lnTo>
                <a:lnTo>
                  <a:pt x="9150" y="7982"/>
                </a:lnTo>
                <a:lnTo>
                  <a:pt x="9247" y="7836"/>
                </a:lnTo>
                <a:lnTo>
                  <a:pt x="9296" y="7666"/>
                </a:lnTo>
                <a:lnTo>
                  <a:pt x="9320" y="7495"/>
                </a:lnTo>
                <a:lnTo>
                  <a:pt x="9296" y="7349"/>
                </a:lnTo>
                <a:lnTo>
                  <a:pt x="9247" y="7203"/>
                </a:lnTo>
                <a:lnTo>
                  <a:pt x="9150" y="7057"/>
                </a:lnTo>
                <a:lnTo>
                  <a:pt x="9052" y="6984"/>
                </a:lnTo>
                <a:lnTo>
                  <a:pt x="8955" y="6936"/>
                </a:lnTo>
                <a:close/>
                <a:moveTo>
                  <a:pt x="1947" y="9710"/>
                </a:moveTo>
                <a:lnTo>
                  <a:pt x="1801" y="9758"/>
                </a:lnTo>
                <a:lnTo>
                  <a:pt x="1582" y="9856"/>
                </a:lnTo>
                <a:lnTo>
                  <a:pt x="1363" y="10002"/>
                </a:lnTo>
                <a:lnTo>
                  <a:pt x="925" y="10294"/>
                </a:lnTo>
                <a:lnTo>
                  <a:pt x="706" y="10415"/>
                </a:lnTo>
                <a:lnTo>
                  <a:pt x="585" y="10513"/>
                </a:lnTo>
                <a:lnTo>
                  <a:pt x="463" y="10610"/>
                </a:lnTo>
                <a:lnTo>
                  <a:pt x="366" y="10707"/>
                </a:lnTo>
                <a:lnTo>
                  <a:pt x="317" y="10829"/>
                </a:lnTo>
                <a:lnTo>
                  <a:pt x="317" y="10878"/>
                </a:lnTo>
                <a:lnTo>
                  <a:pt x="341" y="10926"/>
                </a:lnTo>
                <a:lnTo>
                  <a:pt x="366" y="10999"/>
                </a:lnTo>
                <a:lnTo>
                  <a:pt x="439" y="11048"/>
                </a:lnTo>
                <a:lnTo>
                  <a:pt x="536" y="11097"/>
                </a:lnTo>
                <a:lnTo>
                  <a:pt x="633" y="11097"/>
                </a:lnTo>
                <a:lnTo>
                  <a:pt x="755" y="11072"/>
                </a:lnTo>
                <a:lnTo>
                  <a:pt x="877" y="11048"/>
                </a:lnTo>
                <a:lnTo>
                  <a:pt x="1120" y="10926"/>
                </a:lnTo>
                <a:lnTo>
                  <a:pt x="1315" y="10829"/>
                </a:lnTo>
                <a:lnTo>
                  <a:pt x="1728" y="10610"/>
                </a:lnTo>
                <a:lnTo>
                  <a:pt x="1947" y="10488"/>
                </a:lnTo>
                <a:lnTo>
                  <a:pt x="2142" y="10342"/>
                </a:lnTo>
                <a:lnTo>
                  <a:pt x="2264" y="10245"/>
                </a:lnTo>
                <a:lnTo>
                  <a:pt x="2312" y="10123"/>
                </a:lnTo>
                <a:lnTo>
                  <a:pt x="2312" y="10002"/>
                </a:lnTo>
                <a:lnTo>
                  <a:pt x="2264" y="9880"/>
                </a:lnTo>
                <a:lnTo>
                  <a:pt x="2191" y="9783"/>
                </a:lnTo>
                <a:lnTo>
                  <a:pt x="2069" y="9734"/>
                </a:lnTo>
                <a:lnTo>
                  <a:pt x="1947" y="9710"/>
                </a:lnTo>
                <a:close/>
                <a:moveTo>
                  <a:pt x="14065" y="10026"/>
                </a:moveTo>
                <a:lnTo>
                  <a:pt x="13895" y="10050"/>
                </a:lnTo>
                <a:lnTo>
                  <a:pt x="13846" y="10075"/>
                </a:lnTo>
                <a:lnTo>
                  <a:pt x="13797" y="10123"/>
                </a:lnTo>
                <a:lnTo>
                  <a:pt x="13773" y="10172"/>
                </a:lnTo>
                <a:lnTo>
                  <a:pt x="13749" y="10221"/>
                </a:lnTo>
                <a:lnTo>
                  <a:pt x="13773" y="10318"/>
                </a:lnTo>
                <a:lnTo>
                  <a:pt x="13797" y="10367"/>
                </a:lnTo>
                <a:lnTo>
                  <a:pt x="13846" y="10415"/>
                </a:lnTo>
                <a:lnTo>
                  <a:pt x="14138" y="10586"/>
                </a:lnTo>
                <a:lnTo>
                  <a:pt x="14454" y="10756"/>
                </a:lnTo>
                <a:lnTo>
                  <a:pt x="14624" y="10878"/>
                </a:lnTo>
                <a:lnTo>
                  <a:pt x="14819" y="10975"/>
                </a:lnTo>
                <a:lnTo>
                  <a:pt x="15014" y="11048"/>
                </a:lnTo>
                <a:lnTo>
                  <a:pt x="15208" y="11097"/>
                </a:lnTo>
                <a:lnTo>
                  <a:pt x="15379" y="11097"/>
                </a:lnTo>
                <a:lnTo>
                  <a:pt x="15427" y="11072"/>
                </a:lnTo>
                <a:lnTo>
                  <a:pt x="15500" y="11024"/>
                </a:lnTo>
                <a:lnTo>
                  <a:pt x="15573" y="10951"/>
                </a:lnTo>
                <a:lnTo>
                  <a:pt x="15598" y="10829"/>
                </a:lnTo>
                <a:lnTo>
                  <a:pt x="15598" y="10707"/>
                </a:lnTo>
                <a:lnTo>
                  <a:pt x="15549" y="10586"/>
                </a:lnTo>
                <a:lnTo>
                  <a:pt x="15500" y="10537"/>
                </a:lnTo>
                <a:lnTo>
                  <a:pt x="15452" y="10513"/>
                </a:lnTo>
                <a:lnTo>
                  <a:pt x="15379" y="10464"/>
                </a:lnTo>
                <a:lnTo>
                  <a:pt x="15306" y="10464"/>
                </a:lnTo>
                <a:lnTo>
                  <a:pt x="15135" y="10415"/>
                </a:lnTo>
                <a:lnTo>
                  <a:pt x="14965" y="10367"/>
                </a:lnTo>
                <a:lnTo>
                  <a:pt x="14600" y="10196"/>
                </a:lnTo>
                <a:lnTo>
                  <a:pt x="14430" y="10099"/>
                </a:lnTo>
                <a:lnTo>
                  <a:pt x="14260" y="10050"/>
                </a:lnTo>
                <a:lnTo>
                  <a:pt x="14065" y="10026"/>
                </a:lnTo>
                <a:close/>
                <a:moveTo>
                  <a:pt x="8468" y="2605"/>
                </a:moveTo>
                <a:lnTo>
                  <a:pt x="8760" y="2629"/>
                </a:lnTo>
                <a:lnTo>
                  <a:pt x="9052" y="2678"/>
                </a:lnTo>
                <a:lnTo>
                  <a:pt x="9344" y="2726"/>
                </a:lnTo>
                <a:lnTo>
                  <a:pt x="9125" y="2799"/>
                </a:lnTo>
                <a:lnTo>
                  <a:pt x="9101" y="2824"/>
                </a:lnTo>
                <a:lnTo>
                  <a:pt x="9101" y="2848"/>
                </a:lnTo>
                <a:lnTo>
                  <a:pt x="9101" y="2872"/>
                </a:lnTo>
                <a:lnTo>
                  <a:pt x="9125" y="2897"/>
                </a:lnTo>
                <a:lnTo>
                  <a:pt x="9223" y="2945"/>
                </a:lnTo>
                <a:lnTo>
                  <a:pt x="9320" y="2970"/>
                </a:lnTo>
                <a:lnTo>
                  <a:pt x="9442" y="2945"/>
                </a:lnTo>
                <a:lnTo>
                  <a:pt x="9563" y="2921"/>
                </a:lnTo>
                <a:lnTo>
                  <a:pt x="9855" y="2872"/>
                </a:lnTo>
                <a:lnTo>
                  <a:pt x="10269" y="3043"/>
                </a:lnTo>
                <a:lnTo>
                  <a:pt x="10074" y="3067"/>
                </a:lnTo>
                <a:lnTo>
                  <a:pt x="9855" y="3116"/>
                </a:lnTo>
                <a:lnTo>
                  <a:pt x="9685" y="3189"/>
                </a:lnTo>
                <a:lnTo>
                  <a:pt x="9515" y="3262"/>
                </a:lnTo>
                <a:lnTo>
                  <a:pt x="9515" y="3286"/>
                </a:lnTo>
                <a:lnTo>
                  <a:pt x="9490" y="3310"/>
                </a:lnTo>
                <a:lnTo>
                  <a:pt x="9515" y="3335"/>
                </a:lnTo>
                <a:lnTo>
                  <a:pt x="9539" y="3359"/>
                </a:lnTo>
                <a:lnTo>
                  <a:pt x="9953" y="3335"/>
                </a:lnTo>
                <a:lnTo>
                  <a:pt x="10342" y="3310"/>
                </a:lnTo>
                <a:lnTo>
                  <a:pt x="10780" y="3310"/>
                </a:lnTo>
                <a:lnTo>
                  <a:pt x="11048" y="3505"/>
                </a:lnTo>
                <a:lnTo>
                  <a:pt x="10756" y="3578"/>
                </a:lnTo>
                <a:lnTo>
                  <a:pt x="10464" y="3675"/>
                </a:lnTo>
                <a:lnTo>
                  <a:pt x="10245" y="3797"/>
                </a:lnTo>
                <a:lnTo>
                  <a:pt x="10099" y="3918"/>
                </a:lnTo>
                <a:lnTo>
                  <a:pt x="10074" y="3943"/>
                </a:lnTo>
                <a:lnTo>
                  <a:pt x="10099" y="3943"/>
                </a:lnTo>
                <a:lnTo>
                  <a:pt x="10391" y="3918"/>
                </a:lnTo>
                <a:lnTo>
                  <a:pt x="10683" y="3870"/>
                </a:lnTo>
                <a:lnTo>
                  <a:pt x="10975" y="3821"/>
                </a:lnTo>
                <a:lnTo>
                  <a:pt x="11291" y="3773"/>
                </a:lnTo>
                <a:lnTo>
                  <a:pt x="11364" y="3773"/>
                </a:lnTo>
                <a:lnTo>
                  <a:pt x="11583" y="3967"/>
                </a:lnTo>
                <a:lnTo>
                  <a:pt x="11778" y="4186"/>
                </a:lnTo>
                <a:lnTo>
                  <a:pt x="11388" y="4210"/>
                </a:lnTo>
                <a:lnTo>
                  <a:pt x="10829" y="4259"/>
                </a:lnTo>
                <a:lnTo>
                  <a:pt x="10561" y="4283"/>
                </a:lnTo>
                <a:lnTo>
                  <a:pt x="10318" y="4381"/>
                </a:lnTo>
                <a:lnTo>
                  <a:pt x="10293" y="4405"/>
                </a:lnTo>
                <a:lnTo>
                  <a:pt x="10293" y="4429"/>
                </a:lnTo>
                <a:lnTo>
                  <a:pt x="10318" y="4454"/>
                </a:lnTo>
                <a:lnTo>
                  <a:pt x="10585" y="4527"/>
                </a:lnTo>
                <a:lnTo>
                  <a:pt x="11705" y="4527"/>
                </a:lnTo>
                <a:lnTo>
                  <a:pt x="11997" y="4502"/>
                </a:lnTo>
                <a:lnTo>
                  <a:pt x="12216" y="4867"/>
                </a:lnTo>
                <a:lnTo>
                  <a:pt x="11851" y="4867"/>
                </a:lnTo>
                <a:lnTo>
                  <a:pt x="11267" y="4892"/>
                </a:lnTo>
                <a:lnTo>
                  <a:pt x="10658" y="4940"/>
                </a:lnTo>
                <a:lnTo>
                  <a:pt x="10634" y="4940"/>
                </a:lnTo>
                <a:lnTo>
                  <a:pt x="10634" y="4965"/>
                </a:lnTo>
                <a:lnTo>
                  <a:pt x="10634" y="4989"/>
                </a:lnTo>
                <a:lnTo>
                  <a:pt x="10658" y="5013"/>
                </a:lnTo>
                <a:lnTo>
                  <a:pt x="10902" y="5086"/>
                </a:lnTo>
                <a:lnTo>
                  <a:pt x="11169" y="5111"/>
                </a:lnTo>
                <a:lnTo>
                  <a:pt x="12021" y="5111"/>
                </a:lnTo>
                <a:lnTo>
                  <a:pt x="12362" y="5135"/>
                </a:lnTo>
                <a:lnTo>
                  <a:pt x="12556" y="5622"/>
                </a:lnTo>
                <a:lnTo>
                  <a:pt x="11461" y="5622"/>
                </a:lnTo>
                <a:lnTo>
                  <a:pt x="11291" y="5646"/>
                </a:lnTo>
                <a:lnTo>
                  <a:pt x="11145" y="5695"/>
                </a:lnTo>
                <a:lnTo>
                  <a:pt x="10999" y="5768"/>
                </a:lnTo>
                <a:lnTo>
                  <a:pt x="10975" y="5792"/>
                </a:lnTo>
                <a:lnTo>
                  <a:pt x="10999" y="5841"/>
                </a:lnTo>
                <a:lnTo>
                  <a:pt x="11267" y="5889"/>
                </a:lnTo>
                <a:lnTo>
                  <a:pt x="11534" y="5889"/>
                </a:lnTo>
                <a:lnTo>
                  <a:pt x="12070" y="5914"/>
                </a:lnTo>
                <a:lnTo>
                  <a:pt x="12654" y="5938"/>
                </a:lnTo>
                <a:lnTo>
                  <a:pt x="12702" y="6060"/>
                </a:lnTo>
                <a:lnTo>
                  <a:pt x="12727" y="6181"/>
                </a:lnTo>
                <a:lnTo>
                  <a:pt x="12386" y="6181"/>
                </a:lnTo>
                <a:lnTo>
                  <a:pt x="11729" y="6254"/>
                </a:lnTo>
                <a:lnTo>
                  <a:pt x="11413" y="6279"/>
                </a:lnTo>
                <a:lnTo>
                  <a:pt x="11121" y="6352"/>
                </a:lnTo>
                <a:lnTo>
                  <a:pt x="11096" y="6352"/>
                </a:lnTo>
                <a:lnTo>
                  <a:pt x="11096" y="6376"/>
                </a:lnTo>
                <a:lnTo>
                  <a:pt x="11096" y="6400"/>
                </a:lnTo>
                <a:lnTo>
                  <a:pt x="11121" y="6425"/>
                </a:lnTo>
                <a:lnTo>
                  <a:pt x="11388" y="6473"/>
                </a:lnTo>
                <a:lnTo>
                  <a:pt x="11656" y="6498"/>
                </a:lnTo>
                <a:lnTo>
                  <a:pt x="12508" y="6498"/>
                </a:lnTo>
                <a:lnTo>
                  <a:pt x="12824" y="6522"/>
                </a:lnTo>
                <a:lnTo>
                  <a:pt x="12873" y="6838"/>
                </a:lnTo>
                <a:lnTo>
                  <a:pt x="12556" y="6838"/>
                </a:lnTo>
                <a:lnTo>
                  <a:pt x="12240" y="6863"/>
                </a:lnTo>
                <a:lnTo>
                  <a:pt x="11753" y="6887"/>
                </a:lnTo>
                <a:lnTo>
                  <a:pt x="11510" y="6911"/>
                </a:lnTo>
                <a:lnTo>
                  <a:pt x="11267" y="6936"/>
                </a:lnTo>
                <a:lnTo>
                  <a:pt x="11242" y="6936"/>
                </a:lnTo>
                <a:lnTo>
                  <a:pt x="11242" y="6960"/>
                </a:lnTo>
                <a:lnTo>
                  <a:pt x="11242" y="7009"/>
                </a:lnTo>
                <a:lnTo>
                  <a:pt x="11267" y="7009"/>
                </a:lnTo>
                <a:lnTo>
                  <a:pt x="11461" y="7082"/>
                </a:lnTo>
                <a:lnTo>
                  <a:pt x="11680" y="7130"/>
                </a:lnTo>
                <a:lnTo>
                  <a:pt x="12727" y="7130"/>
                </a:lnTo>
                <a:lnTo>
                  <a:pt x="12921" y="7106"/>
                </a:lnTo>
                <a:lnTo>
                  <a:pt x="12994" y="7593"/>
                </a:lnTo>
                <a:lnTo>
                  <a:pt x="12994" y="7593"/>
                </a:lnTo>
                <a:lnTo>
                  <a:pt x="12848" y="7568"/>
                </a:lnTo>
                <a:lnTo>
                  <a:pt x="12702" y="7568"/>
                </a:lnTo>
                <a:lnTo>
                  <a:pt x="12435" y="7593"/>
                </a:lnTo>
                <a:lnTo>
                  <a:pt x="11997" y="7593"/>
                </a:lnTo>
                <a:lnTo>
                  <a:pt x="11778" y="7617"/>
                </a:lnTo>
                <a:lnTo>
                  <a:pt x="11559" y="7690"/>
                </a:lnTo>
                <a:lnTo>
                  <a:pt x="11534" y="7690"/>
                </a:lnTo>
                <a:lnTo>
                  <a:pt x="11534" y="7739"/>
                </a:lnTo>
                <a:lnTo>
                  <a:pt x="11534" y="7763"/>
                </a:lnTo>
                <a:lnTo>
                  <a:pt x="11559" y="7787"/>
                </a:lnTo>
                <a:lnTo>
                  <a:pt x="11778" y="7836"/>
                </a:lnTo>
                <a:lnTo>
                  <a:pt x="11997" y="7860"/>
                </a:lnTo>
                <a:lnTo>
                  <a:pt x="12435" y="7860"/>
                </a:lnTo>
                <a:lnTo>
                  <a:pt x="12702" y="7885"/>
                </a:lnTo>
                <a:lnTo>
                  <a:pt x="12848" y="7885"/>
                </a:lnTo>
                <a:lnTo>
                  <a:pt x="12994" y="7860"/>
                </a:lnTo>
                <a:lnTo>
                  <a:pt x="12994" y="7909"/>
                </a:lnTo>
                <a:lnTo>
                  <a:pt x="12994" y="8250"/>
                </a:lnTo>
                <a:lnTo>
                  <a:pt x="12873" y="8201"/>
                </a:lnTo>
                <a:lnTo>
                  <a:pt x="12775" y="8201"/>
                </a:lnTo>
                <a:lnTo>
                  <a:pt x="12532" y="8177"/>
                </a:lnTo>
                <a:lnTo>
                  <a:pt x="12094" y="8177"/>
                </a:lnTo>
                <a:lnTo>
                  <a:pt x="11875" y="8201"/>
                </a:lnTo>
                <a:lnTo>
                  <a:pt x="11656" y="8250"/>
                </a:lnTo>
                <a:lnTo>
                  <a:pt x="11656" y="8274"/>
                </a:lnTo>
                <a:lnTo>
                  <a:pt x="11632" y="8298"/>
                </a:lnTo>
                <a:lnTo>
                  <a:pt x="11656" y="8298"/>
                </a:lnTo>
                <a:lnTo>
                  <a:pt x="11656" y="8323"/>
                </a:lnTo>
                <a:lnTo>
                  <a:pt x="12045" y="8396"/>
                </a:lnTo>
                <a:lnTo>
                  <a:pt x="12410" y="8444"/>
                </a:lnTo>
                <a:lnTo>
                  <a:pt x="12702" y="8469"/>
                </a:lnTo>
                <a:lnTo>
                  <a:pt x="12824" y="8493"/>
                </a:lnTo>
                <a:lnTo>
                  <a:pt x="12970" y="8469"/>
                </a:lnTo>
                <a:lnTo>
                  <a:pt x="12873" y="8858"/>
                </a:lnTo>
                <a:lnTo>
                  <a:pt x="12654" y="8809"/>
                </a:lnTo>
                <a:lnTo>
                  <a:pt x="12483" y="8785"/>
                </a:lnTo>
                <a:lnTo>
                  <a:pt x="12264" y="8736"/>
                </a:lnTo>
                <a:lnTo>
                  <a:pt x="11826" y="8736"/>
                </a:lnTo>
                <a:lnTo>
                  <a:pt x="11607" y="8809"/>
                </a:lnTo>
                <a:lnTo>
                  <a:pt x="11583" y="8834"/>
                </a:lnTo>
                <a:lnTo>
                  <a:pt x="11583" y="8858"/>
                </a:lnTo>
                <a:lnTo>
                  <a:pt x="11583" y="8882"/>
                </a:lnTo>
                <a:lnTo>
                  <a:pt x="11851" y="8882"/>
                </a:lnTo>
                <a:lnTo>
                  <a:pt x="12094" y="8931"/>
                </a:lnTo>
                <a:lnTo>
                  <a:pt x="12556" y="9053"/>
                </a:lnTo>
                <a:lnTo>
                  <a:pt x="12775" y="9126"/>
                </a:lnTo>
                <a:lnTo>
                  <a:pt x="12654" y="9345"/>
                </a:lnTo>
                <a:lnTo>
                  <a:pt x="12508" y="9296"/>
                </a:lnTo>
                <a:lnTo>
                  <a:pt x="12313" y="9272"/>
                </a:lnTo>
                <a:lnTo>
                  <a:pt x="12143" y="9223"/>
                </a:lnTo>
                <a:lnTo>
                  <a:pt x="11972" y="9199"/>
                </a:lnTo>
                <a:lnTo>
                  <a:pt x="11607" y="9199"/>
                </a:lnTo>
                <a:lnTo>
                  <a:pt x="11583" y="9223"/>
                </a:lnTo>
                <a:lnTo>
                  <a:pt x="11583" y="9247"/>
                </a:lnTo>
                <a:lnTo>
                  <a:pt x="11583" y="9272"/>
                </a:lnTo>
                <a:lnTo>
                  <a:pt x="11924" y="9418"/>
                </a:lnTo>
                <a:lnTo>
                  <a:pt x="12240" y="9564"/>
                </a:lnTo>
                <a:lnTo>
                  <a:pt x="12532" y="9637"/>
                </a:lnTo>
                <a:lnTo>
                  <a:pt x="12337" y="9929"/>
                </a:lnTo>
                <a:lnTo>
                  <a:pt x="12337" y="9977"/>
                </a:lnTo>
                <a:lnTo>
                  <a:pt x="12167" y="9904"/>
                </a:lnTo>
                <a:lnTo>
                  <a:pt x="11997" y="9880"/>
                </a:lnTo>
                <a:lnTo>
                  <a:pt x="11802" y="9831"/>
                </a:lnTo>
                <a:lnTo>
                  <a:pt x="11242" y="9831"/>
                </a:lnTo>
                <a:lnTo>
                  <a:pt x="11218" y="9856"/>
                </a:lnTo>
                <a:lnTo>
                  <a:pt x="11218" y="9880"/>
                </a:lnTo>
                <a:lnTo>
                  <a:pt x="11242" y="9880"/>
                </a:lnTo>
                <a:lnTo>
                  <a:pt x="11534" y="10002"/>
                </a:lnTo>
                <a:lnTo>
                  <a:pt x="11851" y="10123"/>
                </a:lnTo>
                <a:lnTo>
                  <a:pt x="12167" y="10245"/>
                </a:lnTo>
                <a:lnTo>
                  <a:pt x="11972" y="10513"/>
                </a:lnTo>
                <a:lnTo>
                  <a:pt x="11826" y="10488"/>
                </a:lnTo>
                <a:lnTo>
                  <a:pt x="11413" y="10391"/>
                </a:lnTo>
                <a:lnTo>
                  <a:pt x="11023" y="10342"/>
                </a:lnTo>
                <a:lnTo>
                  <a:pt x="10975" y="10342"/>
                </a:lnTo>
                <a:lnTo>
                  <a:pt x="10975" y="10367"/>
                </a:lnTo>
                <a:lnTo>
                  <a:pt x="10975" y="10391"/>
                </a:lnTo>
                <a:lnTo>
                  <a:pt x="10999" y="10440"/>
                </a:lnTo>
                <a:lnTo>
                  <a:pt x="11145" y="10537"/>
                </a:lnTo>
                <a:lnTo>
                  <a:pt x="11315" y="10610"/>
                </a:lnTo>
                <a:lnTo>
                  <a:pt x="11632" y="10732"/>
                </a:lnTo>
                <a:lnTo>
                  <a:pt x="11802" y="10780"/>
                </a:lnTo>
                <a:lnTo>
                  <a:pt x="11656" y="10999"/>
                </a:lnTo>
                <a:lnTo>
                  <a:pt x="11510" y="10951"/>
                </a:lnTo>
                <a:lnTo>
                  <a:pt x="11364" y="10926"/>
                </a:lnTo>
                <a:lnTo>
                  <a:pt x="11072" y="10853"/>
                </a:lnTo>
                <a:lnTo>
                  <a:pt x="10950" y="10853"/>
                </a:lnTo>
                <a:lnTo>
                  <a:pt x="10804" y="10902"/>
                </a:lnTo>
                <a:lnTo>
                  <a:pt x="10780" y="10926"/>
                </a:lnTo>
                <a:lnTo>
                  <a:pt x="10756" y="10951"/>
                </a:lnTo>
                <a:lnTo>
                  <a:pt x="10756" y="10999"/>
                </a:lnTo>
                <a:lnTo>
                  <a:pt x="10780" y="11048"/>
                </a:lnTo>
                <a:lnTo>
                  <a:pt x="10902" y="11121"/>
                </a:lnTo>
                <a:lnTo>
                  <a:pt x="11023" y="11170"/>
                </a:lnTo>
                <a:lnTo>
                  <a:pt x="11267" y="11243"/>
                </a:lnTo>
                <a:lnTo>
                  <a:pt x="11461" y="11291"/>
                </a:lnTo>
                <a:lnTo>
                  <a:pt x="11242" y="11583"/>
                </a:lnTo>
                <a:lnTo>
                  <a:pt x="11072" y="11535"/>
                </a:lnTo>
                <a:lnTo>
                  <a:pt x="10877" y="11535"/>
                </a:lnTo>
                <a:lnTo>
                  <a:pt x="10683" y="11583"/>
                </a:lnTo>
                <a:lnTo>
                  <a:pt x="10658" y="11608"/>
                </a:lnTo>
                <a:lnTo>
                  <a:pt x="10683" y="11632"/>
                </a:lnTo>
                <a:lnTo>
                  <a:pt x="10829" y="11681"/>
                </a:lnTo>
                <a:lnTo>
                  <a:pt x="10975" y="11729"/>
                </a:lnTo>
                <a:lnTo>
                  <a:pt x="11096" y="11778"/>
                </a:lnTo>
                <a:lnTo>
                  <a:pt x="10877" y="12143"/>
                </a:lnTo>
                <a:lnTo>
                  <a:pt x="10829" y="12118"/>
                </a:lnTo>
                <a:lnTo>
                  <a:pt x="10658" y="12045"/>
                </a:lnTo>
                <a:lnTo>
                  <a:pt x="10561" y="11997"/>
                </a:lnTo>
                <a:lnTo>
                  <a:pt x="10464" y="11972"/>
                </a:lnTo>
                <a:lnTo>
                  <a:pt x="10439" y="11997"/>
                </a:lnTo>
                <a:lnTo>
                  <a:pt x="10439" y="12045"/>
                </a:lnTo>
                <a:lnTo>
                  <a:pt x="10488" y="12118"/>
                </a:lnTo>
                <a:lnTo>
                  <a:pt x="10585" y="12191"/>
                </a:lnTo>
                <a:lnTo>
                  <a:pt x="10756" y="12313"/>
                </a:lnTo>
                <a:lnTo>
                  <a:pt x="10561" y="12654"/>
                </a:lnTo>
                <a:lnTo>
                  <a:pt x="10415" y="12629"/>
                </a:lnTo>
                <a:lnTo>
                  <a:pt x="10172" y="12629"/>
                </a:lnTo>
                <a:lnTo>
                  <a:pt x="10026" y="12654"/>
                </a:lnTo>
                <a:lnTo>
                  <a:pt x="10026" y="12678"/>
                </a:lnTo>
                <a:lnTo>
                  <a:pt x="10026" y="12702"/>
                </a:lnTo>
                <a:lnTo>
                  <a:pt x="10245" y="12800"/>
                </a:lnTo>
                <a:lnTo>
                  <a:pt x="10439" y="12897"/>
                </a:lnTo>
                <a:lnTo>
                  <a:pt x="10196" y="13384"/>
                </a:lnTo>
                <a:lnTo>
                  <a:pt x="9880" y="13384"/>
                </a:lnTo>
                <a:lnTo>
                  <a:pt x="9904" y="13432"/>
                </a:lnTo>
                <a:lnTo>
                  <a:pt x="10147" y="13505"/>
                </a:lnTo>
                <a:lnTo>
                  <a:pt x="10074" y="13700"/>
                </a:lnTo>
                <a:lnTo>
                  <a:pt x="10026" y="13895"/>
                </a:lnTo>
                <a:lnTo>
                  <a:pt x="9953" y="14284"/>
                </a:lnTo>
                <a:lnTo>
                  <a:pt x="9880" y="14673"/>
                </a:lnTo>
                <a:lnTo>
                  <a:pt x="9807" y="15087"/>
                </a:lnTo>
                <a:lnTo>
                  <a:pt x="9101" y="15111"/>
                </a:lnTo>
                <a:lnTo>
                  <a:pt x="9247" y="14673"/>
                </a:lnTo>
                <a:lnTo>
                  <a:pt x="9344" y="14235"/>
                </a:lnTo>
                <a:lnTo>
                  <a:pt x="9539" y="13359"/>
                </a:lnTo>
                <a:lnTo>
                  <a:pt x="9734" y="12459"/>
                </a:lnTo>
                <a:lnTo>
                  <a:pt x="9855" y="12021"/>
                </a:lnTo>
                <a:lnTo>
                  <a:pt x="9977" y="11583"/>
                </a:lnTo>
                <a:lnTo>
                  <a:pt x="10269" y="10659"/>
                </a:lnTo>
                <a:lnTo>
                  <a:pt x="10537" y="9734"/>
                </a:lnTo>
                <a:lnTo>
                  <a:pt x="10658" y="9320"/>
                </a:lnTo>
                <a:lnTo>
                  <a:pt x="10756" y="8858"/>
                </a:lnTo>
                <a:lnTo>
                  <a:pt x="10780" y="8639"/>
                </a:lnTo>
                <a:lnTo>
                  <a:pt x="10780" y="8396"/>
                </a:lnTo>
                <a:lnTo>
                  <a:pt x="10756" y="8177"/>
                </a:lnTo>
                <a:lnTo>
                  <a:pt x="10707" y="7958"/>
                </a:lnTo>
                <a:lnTo>
                  <a:pt x="10683" y="7933"/>
                </a:lnTo>
                <a:lnTo>
                  <a:pt x="10634" y="7933"/>
                </a:lnTo>
                <a:lnTo>
                  <a:pt x="10610" y="7958"/>
                </a:lnTo>
                <a:lnTo>
                  <a:pt x="10537" y="8177"/>
                </a:lnTo>
                <a:lnTo>
                  <a:pt x="10464" y="8420"/>
                </a:lnTo>
                <a:lnTo>
                  <a:pt x="10366" y="8882"/>
                </a:lnTo>
                <a:lnTo>
                  <a:pt x="10293" y="9369"/>
                </a:lnTo>
                <a:lnTo>
                  <a:pt x="10172" y="9831"/>
                </a:lnTo>
                <a:lnTo>
                  <a:pt x="9904" y="10756"/>
                </a:lnTo>
                <a:lnTo>
                  <a:pt x="9588" y="11656"/>
                </a:lnTo>
                <a:lnTo>
                  <a:pt x="9466" y="12094"/>
                </a:lnTo>
                <a:lnTo>
                  <a:pt x="9369" y="12532"/>
                </a:lnTo>
                <a:lnTo>
                  <a:pt x="9174" y="13384"/>
                </a:lnTo>
                <a:lnTo>
                  <a:pt x="8979" y="14260"/>
                </a:lnTo>
                <a:lnTo>
                  <a:pt x="8858" y="14698"/>
                </a:lnTo>
                <a:lnTo>
                  <a:pt x="8736" y="15111"/>
                </a:lnTo>
                <a:lnTo>
                  <a:pt x="8128" y="15136"/>
                </a:lnTo>
                <a:lnTo>
                  <a:pt x="7519" y="15087"/>
                </a:lnTo>
                <a:lnTo>
                  <a:pt x="7179" y="15063"/>
                </a:lnTo>
                <a:lnTo>
                  <a:pt x="7154" y="15038"/>
                </a:lnTo>
                <a:lnTo>
                  <a:pt x="7081" y="14698"/>
                </a:lnTo>
                <a:lnTo>
                  <a:pt x="7033" y="14357"/>
                </a:lnTo>
                <a:lnTo>
                  <a:pt x="6935" y="13651"/>
                </a:lnTo>
                <a:lnTo>
                  <a:pt x="6765" y="12605"/>
                </a:lnTo>
                <a:lnTo>
                  <a:pt x="6570" y="11583"/>
                </a:lnTo>
                <a:lnTo>
                  <a:pt x="6230" y="9880"/>
                </a:lnTo>
                <a:lnTo>
                  <a:pt x="6060" y="9028"/>
                </a:lnTo>
                <a:lnTo>
                  <a:pt x="5841" y="8177"/>
                </a:lnTo>
                <a:lnTo>
                  <a:pt x="5816" y="8152"/>
                </a:lnTo>
                <a:lnTo>
                  <a:pt x="5768" y="8128"/>
                </a:lnTo>
                <a:lnTo>
                  <a:pt x="5743" y="8128"/>
                </a:lnTo>
                <a:lnTo>
                  <a:pt x="5695" y="8152"/>
                </a:lnTo>
                <a:lnTo>
                  <a:pt x="5646" y="8298"/>
                </a:lnTo>
                <a:lnTo>
                  <a:pt x="5646" y="8420"/>
                </a:lnTo>
                <a:lnTo>
                  <a:pt x="5646" y="8542"/>
                </a:lnTo>
                <a:lnTo>
                  <a:pt x="5646" y="8663"/>
                </a:lnTo>
                <a:lnTo>
                  <a:pt x="5719" y="8931"/>
                </a:lnTo>
                <a:lnTo>
                  <a:pt x="5768" y="9199"/>
                </a:lnTo>
                <a:lnTo>
                  <a:pt x="5865" y="9734"/>
                </a:lnTo>
                <a:lnTo>
                  <a:pt x="5962" y="10245"/>
                </a:lnTo>
                <a:lnTo>
                  <a:pt x="6035" y="10780"/>
                </a:lnTo>
                <a:lnTo>
                  <a:pt x="6133" y="11316"/>
                </a:lnTo>
                <a:lnTo>
                  <a:pt x="6327" y="12337"/>
                </a:lnTo>
                <a:lnTo>
                  <a:pt x="6522" y="13384"/>
                </a:lnTo>
                <a:lnTo>
                  <a:pt x="6570" y="13773"/>
                </a:lnTo>
                <a:lnTo>
                  <a:pt x="6619" y="14211"/>
                </a:lnTo>
                <a:lnTo>
                  <a:pt x="6668" y="14625"/>
                </a:lnTo>
                <a:lnTo>
                  <a:pt x="6716" y="14819"/>
                </a:lnTo>
                <a:lnTo>
                  <a:pt x="6765" y="15014"/>
                </a:lnTo>
                <a:lnTo>
                  <a:pt x="6497" y="15038"/>
                </a:lnTo>
                <a:lnTo>
                  <a:pt x="6473" y="14625"/>
                </a:lnTo>
                <a:lnTo>
                  <a:pt x="6400" y="14235"/>
                </a:lnTo>
                <a:lnTo>
                  <a:pt x="6279" y="13846"/>
                </a:lnTo>
                <a:lnTo>
                  <a:pt x="6133" y="13481"/>
                </a:lnTo>
                <a:lnTo>
                  <a:pt x="5938" y="13116"/>
                </a:lnTo>
                <a:lnTo>
                  <a:pt x="5743" y="12775"/>
                </a:lnTo>
                <a:lnTo>
                  <a:pt x="5281" y="12070"/>
                </a:lnTo>
                <a:lnTo>
                  <a:pt x="4746" y="11267"/>
                </a:lnTo>
                <a:lnTo>
                  <a:pt x="4210" y="10415"/>
                </a:lnTo>
                <a:lnTo>
                  <a:pt x="3967" y="9977"/>
                </a:lnTo>
                <a:lnTo>
                  <a:pt x="3724" y="9539"/>
                </a:lnTo>
                <a:lnTo>
                  <a:pt x="3529" y="9077"/>
                </a:lnTo>
                <a:lnTo>
                  <a:pt x="3359" y="8615"/>
                </a:lnTo>
                <a:lnTo>
                  <a:pt x="3286" y="8396"/>
                </a:lnTo>
                <a:lnTo>
                  <a:pt x="3261" y="8152"/>
                </a:lnTo>
                <a:lnTo>
                  <a:pt x="3237" y="7909"/>
                </a:lnTo>
                <a:lnTo>
                  <a:pt x="3237" y="7666"/>
                </a:lnTo>
                <a:lnTo>
                  <a:pt x="3261" y="7155"/>
                </a:lnTo>
                <a:lnTo>
                  <a:pt x="3310" y="6668"/>
                </a:lnTo>
                <a:lnTo>
                  <a:pt x="3334" y="6376"/>
                </a:lnTo>
                <a:lnTo>
                  <a:pt x="3407" y="6108"/>
                </a:lnTo>
                <a:lnTo>
                  <a:pt x="3480" y="5841"/>
                </a:lnTo>
                <a:lnTo>
                  <a:pt x="3578" y="5597"/>
                </a:lnTo>
                <a:lnTo>
                  <a:pt x="3699" y="5354"/>
                </a:lnTo>
                <a:lnTo>
                  <a:pt x="3845" y="5111"/>
                </a:lnTo>
                <a:lnTo>
                  <a:pt x="4016" y="4892"/>
                </a:lnTo>
                <a:lnTo>
                  <a:pt x="4186" y="4673"/>
                </a:lnTo>
                <a:lnTo>
                  <a:pt x="4648" y="4162"/>
                </a:lnTo>
                <a:lnTo>
                  <a:pt x="5062" y="3748"/>
                </a:lnTo>
                <a:lnTo>
                  <a:pt x="5403" y="3432"/>
                </a:lnTo>
                <a:lnTo>
                  <a:pt x="5743" y="3189"/>
                </a:lnTo>
                <a:lnTo>
                  <a:pt x="6060" y="3018"/>
                </a:lnTo>
                <a:lnTo>
                  <a:pt x="6352" y="2872"/>
                </a:lnTo>
                <a:lnTo>
                  <a:pt x="6668" y="2775"/>
                </a:lnTo>
                <a:lnTo>
                  <a:pt x="6984" y="2702"/>
                </a:lnTo>
                <a:lnTo>
                  <a:pt x="7276" y="2653"/>
                </a:lnTo>
                <a:lnTo>
                  <a:pt x="7568" y="2629"/>
                </a:lnTo>
                <a:lnTo>
                  <a:pt x="7860" y="2605"/>
                </a:lnTo>
                <a:close/>
                <a:moveTo>
                  <a:pt x="6716" y="15525"/>
                </a:moveTo>
                <a:lnTo>
                  <a:pt x="6619" y="15720"/>
                </a:lnTo>
                <a:lnTo>
                  <a:pt x="6352" y="16158"/>
                </a:lnTo>
                <a:lnTo>
                  <a:pt x="6279" y="16109"/>
                </a:lnTo>
                <a:lnTo>
                  <a:pt x="6230" y="16060"/>
                </a:lnTo>
                <a:lnTo>
                  <a:pt x="6206" y="15963"/>
                </a:lnTo>
                <a:lnTo>
                  <a:pt x="6206" y="15866"/>
                </a:lnTo>
                <a:lnTo>
                  <a:pt x="6206" y="15768"/>
                </a:lnTo>
                <a:lnTo>
                  <a:pt x="6230" y="15695"/>
                </a:lnTo>
                <a:lnTo>
                  <a:pt x="6279" y="15598"/>
                </a:lnTo>
                <a:lnTo>
                  <a:pt x="6327" y="15549"/>
                </a:lnTo>
                <a:lnTo>
                  <a:pt x="6595" y="15525"/>
                </a:lnTo>
                <a:close/>
                <a:moveTo>
                  <a:pt x="6887" y="15525"/>
                </a:moveTo>
                <a:lnTo>
                  <a:pt x="7276" y="15549"/>
                </a:lnTo>
                <a:lnTo>
                  <a:pt x="7641" y="15598"/>
                </a:lnTo>
                <a:lnTo>
                  <a:pt x="8225" y="15647"/>
                </a:lnTo>
                <a:lnTo>
                  <a:pt x="8809" y="15671"/>
                </a:lnTo>
                <a:lnTo>
                  <a:pt x="8541" y="15963"/>
                </a:lnTo>
                <a:lnTo>
                  <a:pt x="8298" y="16255"/>
                </a:lnTo>
                <a:lnTo>
                  <a:pt x="7909" y="16231"/>
                </a:lnTo>
                <a:lnTo>
                  <a:pt x="8249" y="15744"/>
                </a:lnTo>
                <a:lnTo>
                  <a:pt x="8249" y="15720"/>
                </a:lnTo>
                <a:lnTo>
                  <a:pt x="8225" y="15695"/>
                </a:lnTo>
                <a:lnTo>
                  <a:pt x="8201" y="15671"/>
                </a:lnTo>
                <a:lnTo>
                  <a:pt x="8176" y="15695"/>
                </a:lnTo>
                <a:lnTo>
                  <a:pt x="7690" y="16231"/>
                </a:lnTo>
                <a:lnTo>
                  <a:pt x="7179" y="16182"/>
                </a:lnTo>
                <a:lnTo>
                  <a:pt x="7325" y="15939"/>
                </a:lnTo>
                <a:lnTo>
                  <a:pt x="7471" y="15671"/>
                </a:lnTo>
                <a:lnTo>
                  <a:pt x="7471" y="15647"/>
                </a:lnTo>
                <a:lnTo>
                  <a:pt x="7446" y="15622"/>
                </a:lnTo>
                <a:lnTo>
                  <a:pt x="7422" y="15647"/>
                </a:lnTo>
                <a:lnTo>
                  <a:pt x="7203" y="15890"/>
                </a:lnTo>
                <a:lnTo>
                  <a:pt x="6935" y="16182"/>
                </a:lnTo>
                <a:lnTo>
                  <a:pt x="6741" y="16206"/>
                </a:lnTo>
                <a:lnTo>
                  <a:pt x="6570" y="16255"/>
                </a:lnTo>
                <a:lnTo>
                  <a:pt x="6668" y="16060"/>
                </a:lnTo>
                <a:lnTo>
                  <a:pt x="6814" y="15817"/>
                </a:lnTo>
                <a:lnTo>
                  <a:pt x="6862" y="15671"/>
                </a:lnTo>
                <a:lnTo>
                  <a:pt x="6887" y="15525"/>
                </a:lnTo>
                <a:close/>
                <a:moveTo>
                  <a:pt x="9661" y="15622"/>
                </a:moveTo>
                <a:lnTo>
                  <a:pt x="9734" y="15671"/>
                </a:lnTo>
                <a:lnTo>
                  <a:pt x="9807" y="15695"/>
                </a:lnTo>
                <a:lnTo>
                  <a:pt x="9953" y="15695"/>
                </a:lnTo>
                <a:lnTo>
                  <a:pt x="9782" y="15793"/>
                </a:lnTo>
                <a:lnTo>
                  <a:pt x="9661" y="15939"/>
                </a:lnTo>
                <a:lnTo>
                  <a:pt x="9539" y="16085"/>
                </a:lnTo>
                <a:lnTo>
                  <a:pt x="9417" y="16279"/>
                </a:lnTo>
                <a:lnTo>
                  <a:pt x="9271" y="16279"/>
                </a:lnTo>
                <a:lnTo>
                  <a:pt x="9612" y="15817"/>
                </a:lnTo>
                <a:lnTo>
                  <a:pt x="9612" y="15793"/>
                </a:lnTo>
                <a:lnTo>
                  <a:pt x="9612" y="15768"/>
                </a:lnTo>
                <a:lnTo>
                  <a:pt x="9563" y="15768"/>
                </a:lnTo>
                <a:lnTo>
                  <a:pt x="9320" y="16012"/>
                </a:lnTo>
                <a:lnTo>
                  <a:pt x="9077" y="16255"/>
                </a:lnTo>
                <a:lnTo>
                  <a:pt x="8517" y="16255"/>
                </a:lnTo>
                <a:lnTo>
                  <a:pt x="8882" y="15720"/>
                </a:lnTo>
                <a:lnTo>
                  <a:pt x="8906" y="15695"/>
                </a:lnTo>
                <a:lnTo>
                  <a:pt x="8882" y="15671"/>
                </a:lnTo>
                <a:lnTo>
                  <a:pt x="9271" y="15671"/>
                </a:lnTo>
                <a:lnTo>
                  <a:pt x="9661" y="15622"/>
                </a:lnTo>
                <a:close/>
                <a:moveTo>
                  <a:pt x="10074" y="15768"/>
                </a:moveTo>
                <a:lnTo>
                  <a:pt x="10074" y="15841"/>
                </a:lnTo>
                <a:lnTo>
                  <a:pt x="10099" y="15939"/>
                </a:lnTo>
                <a:lnTo>
                  <a:pt x="10074" y="16060"/>
                </a:lnTo>
                <a:lnTo>
                  <a:pt x="10050" y="16182"/>
                </a:lnTo>
                <a:lnTo>
                  <a:pt x="9977" y="16304"/>
                </a:lnTo>
                <a:lnTo>
                  <a:pt x="9758" y="16279"/>
                </a:lnTo>
                <a:lnTo>
                  <a:pt x="9880" y="16012"/>
                </a:lnTo>
                <a:lnTo>
                  <a:pt x="9977" y="15890"/>
                </a:lnTo>
                <a:lnTo>
                  <a:pt x="10074" y="15768"/>
                </a:lnTo>
                <a:close/>
                <a:moveTo>
                  <a:pt x="6522" y="16571"/>
                </a:moveTo>
                <a:lnTo>
                  <a:pt x="6595" y="16620"/>
                </a:lnTo>
                <a:lnTo>
                  <a:pt x="6424" y="16888"/>
                </a:lnTo>
                <a:lnTo>
                  <a:pt x="6376" y="17034"/>
                </a:lnTo>
                <a:lnTo>
                  <a:pt x="6327" y="17180"/>
                </a:lnTo>
                <a:lnTo>
                  <a:pt x="6254" y="17082"/>
                </a:lnTo>
                <a:lnTo>
                  <a:pt x="6230" y="16985"/>
                </a:lnTo>
                <a:lnTo>
                  <a:pt x="6206" y="16912"/>
                </a:lnTo>
                <a:lnTo>
                  <a:pt x="6230" y="16815"/>
                </a:lnTo>
                <a:lnTo>
                  <a:pt x="6254" y="16839"/>
                </a:lnTo>
                <a:lnTo>
                  <a:pt x="6303" y="16839"/>
                </a:lnTo>
                <a:lnTo>
                  <a:pt x="6352" y="16815"/>
                </a:lnTo>
                <a:lnTo>
                  <a:pt x="6376" y="16766"/>
                </a:lnTo>
                <a:lnTo>
                  <a:pt x="6424" y="16596"/>
                </a:lnTo>
                <a:lnTo>
                  <a:pt x="6449" y="16596"/>
                </a:lnTo>
                <a:lnTo>
                  <a:pt x="6522" y="16571"/>
                </a:lnTo>
                <a:close/>
                <a:moveTo>
                  <a:pt x="7884" y="16693"/>
                </a:moveTo>
                <a:lnTo>
                  <a:pt x="7957" y="16717"/>
                </a:lnTo>
                <a:lnTo>
                  <a:pt x="7787" y="16985"/>
                </a:lnTo>
                <a:lnTo>
                  <a:pt x="7617" y="17253"/>
                </a:lnTo>
                <a:lnTo>
                  <a:pt x="7592" y="17326"/>
                </a:lnTo>
                <a:lnTo>
                  <a:pt x="7300" y="17326"/>
                </a:lnTo>
                <a:lnTo>
                  <a:pt x="7398" y="17107"/>
                </a:lnTo>
                <a:lnTo>
                  <a:pt x="7519" y="16888"/>
                </a:lnTo>
                <a:lnTo>
                  <a:pt x="7617" y="16717"/>
                </a:lnTo>
                <a:lnTo>
                  <a:pt x="7884" y="16693"/>
                </a:lnTo>
                <a:close/>
                <a:moveTo>
                  <a:pt x="8225" y="16717"/>
                </a:moveTo>
                <a:lnTo>
                  <a:pt x="8736" y="16742"/>
                </a:lnTo>
                <a:lnTo>
                  <a:pt x="8541" y="17034"/>
                </a:lnTo>
                <a:lnTo>
                  <a:pt x="8371" y="17326"/>
                </a:lnTo>
                <a:lnTo>
                  <a:pt x="7909" y="17326"/>
                </a:lnTo>
                <a:lnTo>
                  <a:pt x="7933" y="17277"/>
                </a:lnTo>
                <a:lnTo>
                  <a:pt x="8225" y="16717"/>
                </a:lnTo>
                <a:close/>
                <a:moveTo>
                  <a:pt x="9223" y="16742"/>
                </a:moveTo>
                <a:lnTo>
                  <a:pt x="8979" y="17350"/>
                </a:lnTo>
                <a:lnTo>
                  <a:pt x="8663" y="17350"/>
                </a:lnTo>
                <a:lnTo>
                  <a:pt x="8979" y="16742"/>
                </a:lnTo>
                <a:close/>
                <a:moveTo>
                  <a:pt x="9928" y="16742"/>
                </a:moveTo>
                <a:lnTo>
                  <a:pt x="9661" y="17253"/>
                </a:lnTo>
                <a:lnTo>
                  <a:pt x="9612" y="17350"/>
                </a:lnTo>
                <a:lnTo>
                  <a:pt x="9320" y="17350"/>
                </a:lnTo>
                <a:lnTo>
                  <a:pt x="9563" y="16742"/>
                </a:lnTo>
                <a:close/>
                <a:moveTo>
                  <a:pt x="10147" y="16839"/>
                </a:moveTo>
                <a:lnTo>
                  <a:pt x="10220" y="16961"/>
                </a:lnTo>
                <a:lnTo>
                  <a:pt x="10245" y="17107"/>
                </a:lnTo>
                <a:lnTo>
                  <a:pt x="10220" y="17228"/>
                </a:lnTo>
                <a:lnTo>
                  <a:pt x="10147" y="17350"/>
                </a:lnTo>
                <a:lnTo>
                  <a:pt x="9928" y="17350"/>
                </a:lnTo>
                <a:lnTo>
                  <a:pt x="9953" y="17277"/>
                </a:lnTo>
                <a:lnTo>
                  <a:pt x="10050" y="17082"/>
                </a:lnTo>
                <a:lnTo>
                  <a:pt x="10147" y="16839"/>
                </a:lnTo>
                <a:close/>
                <a:moveTo>
                  <a:pt x="6862" y="16693"/>
                </a:moveTo>
                <a:lnTo>
                  <a:pt x="7081" y="16717"/>
                </a:lnTo>
                <a:lnTo>
                  <a:pt x="7300" y="16717"/>
                </a:lnTo>
                <a:lnTo>
                  <a:pt x="7106" y="17009"/>
                </a:lnTo>
                <a:lnTo>
                  <a:pt x="6935" y="17326"/>
                </a:lnTo>
                <a:lnTo>
                  <a:pt x="6741" y="17350"/>
                </a:lnTo>
                <a:lnTo>
                  <a:pt x="6570" y="17399"/>
                </a:lnTo>
                <a:lnTo>
                  <a:pt x="6619" y="17204"/>
                </a:lnTo>
                <a:lnTo>
                  <a:pt x="6692" y="17034"/>
                </a:lnTo>
                <a:lnTo>
                  <a:pt x="6862" y="16693"/>
                </a:lnTo>
                <a:close/>
                <a:moveTo>
                  <a:pt x="6473" y="17618"/>
                </a:moveTo>
                <a:lnTo>
                  <a:pt x="6643" y="17691"/>
                </a:lnTo>
                <a:lnTo>
                  <a:pt x="6814" y="17715"/>
                </a:lnTo>
                <a:lnTo>
                  <a:pt x="6789" y="17910"/>
                </a:lnTo>
                <a:lnTo>
                  <a:pt x="6765" y="18080"/>
                </a:lnTo>
                <a:lnTo>
                  <a:pt x="6643" y="17983"/>
                </a:lnTo>
                <a:lnTo>
                  <a:pt x="6546" y="17861"/>
                </a:lnTo>
                <a:lnTo>
                  <a:pt x="6352" y="17642"/>
                </a:lnTo>
                <a:lnTo>
                  <a:pt x="6376" y="17618"/>
                </a:lnTo>
                <a:lnTo>
                  <a:pt x="6424" y="17642"/>
                </a:lnTo>
                <a:lnTo>
                  <a:pt x="6473" y="17618"/>
                </a:lnTo>
                <a:close/>
                <a:moveTo>
                  <a:pt x="7398" y="17739"/>
                </a:moveTo>
                <a:lnTo>
                  <a:pt x="7300" y="18031"/>
                </a:lnTo>
                <a:lnTo>
                  <a:pt x="7252" y="18177"/>
                </a:lnTo>
                <a:lnTo>
                  <a:pt x="7252" y="18299"/>
                </a:lnTo>
                <a:lnTo>
                  <a:pt x="7008" y="18202"/>
                </a:lnTo>
                <a:lnTo>
                  <a:pt x="7154" y="17739"/>
                </a:lnTo>
                <a:close/>
                <a:moveTo>
                  <a:pt x="8833" y="17715"/>
                </a:moveTo>
                <a:lnTo>
                  <a:pt x="8785" y="17837"/>
                </a:lnTo>
                <a:lnTo>
                  <a:pt x="8736" y="17983"/>
                </a:lnTo>
                <a:lnTo>
                  <a:pt x="8712" y="18104"/>
                </a:lnTo>
                <a:lnTo>
                  <a:pt x="8736" y="18153"/>
                </a:lnTo>
                <a:lnTo>
                  <a:pt x="8736" y="18202"/>
                </a:lnTo>
                <a:lnTo>
                  <a:pt x="8809" y="18250"/>
                </a:lnTo>
                <a:lnTo>
                  <a:pt x="8882" y="18250"/>
                </a:lnTo>
                <a:lnTo>
                  <a:pt x="8931" y="18226"/>
                </a:lnTo>
                <a:lnTo>
                  <a:pt x="9004" y="18153"/>
                </a:lnTo>
                <a:lnTo>
                  <a:pt x="9125" y="17958"/>
                </a:lnTo>
                <a:lnTo>
                  <a:pt x="9198" y="17739"/>
                </a:lnTo>
                <a:lnTo>
                  <a:pt x="9393" y="17739"/>
                </a:lnTo>
                <a:lnTo>
                  <a:pt x="9369" y="17861"/>
                </a:lnTo>
                <a:lnTo>
                  <a:pt x="9369" y="18007"/>
                </a:lnTo>
                <a:lnTo>
                  <a:pt x="9125" y="18153"/>
                </a:lnTo>
                <a:lnTo>
                  <a:pt x="8833" y="18275"/>
                </a:lnTo>
                <a:lnTo>
                  <a:pt x="8566" y="18372"/>
                </a:lnTo>
                <a:lnTo>
                  <a:pt x="8249" y="18421"/>
                </a:lnTo>
                <a:lnTo>
                  <a:pt x="8274" y="18275"/>
                </a:lnTo>
                <a:lnTo>
                  <a:pt x="8371" y="17983"/>
                </a:lnTo>
                <a:lnTo>
                  <a:pt x="8468" y="17715"/>
                </a:lnTo>
                <a:close/>
                <a:moveTo>
                  <a:pt x="8176" y="17715"/>
                </a:moveTo>
                <a:lnTo>
                  <a:pt x="8030" y="18056"/>
                </a:lnTo>
                <a:lnTo>
                  <a:pt x="7957" y="18250"/>
                </a:lnTo>
                <a:lnTo>
                  <a:pt x="7933" y="18445"/>
                </a:lnTo>
                <a:lnTo>
                  <a:pt x="7738" y="18421"/>
                </a:lnTo>
                <a:lnTo>
                  <a:pt x="7568" y="18396"/>
                </a:lnTo>
                <a:lnTo>
                  <a:pt x="7568" y="18226"/>
                </a:lnTo>
                <a:lnTo>
                  <a:pt x="7641" y="17983"/>
                </a:lnTo>
                <a:lnTo>
                  <a:pt x="7738" y="17715"/>
                </a:lnTo>
                <a:close/>
                <a:moveTo>
                  <a:pt x="8128" y="2094"/>
                </a:moveTo>
                <a:lnTo>
                  <a:pt x="7714" y="2142"/>
                </a:lnTo>
                <a:lnTo>
                  <a:pt x="7325" y="2191"/>
                </a:lnTo>
                <a:lnTo>
                  <a:pt x="6935" y="2264"/>
                </a:lnTo>
                <a:lnTo>
                  <a:pt x="6546" y="2386"/>
                </a:lnTo>
                <a:lnTo>
                  <a:pt x="6181" y="2507"/>
                </a:lnTo>
                <a:lnTo>
                  <a:pt x="5841" y="2653"/>
                </a:lnTo>
                <a:lnTo>
                  <a:pt x="5500" y="2824"/>
                </a:lnTo>
                <a:lnTo>
                  <a:pt x="5184" y="3018"/>
                </a:lnTo>
                <a:lnTo>
                  <a:pt x="4892" y="3237"/>
                </a:lnTo>
                <a:lnTo>
                  <a:pt x="4551" y="3554"/>
                </a:lnTo>
                <a:lnTo>
                  <a:pt x="4210" y="3918"/>
                </a:lnTo>
                <a:lnTo>
                  <a:pt x="3918" y="4332"/>
                </a:lnTo>
                <a:lnTo>
                  <a:pt x="3626" y="4746"/>
                </a:lnTo>
                <a:lnTo>
                  <a:pt x="3383" y="5159"/>
                </a:lnTo>
                <a:lnTo>
                  <a:pt x="3164" y="5549"/>
                </a:lnTo>
                <a:lnTo>
                  <a:pt x="3018" y="5889"/>
                </a:lnTo>
                <a:lnTo>
                  <a:pt x="2921" y="6157"/>
                </a:lnTo>
                <a:lnTo>
                  <a:pt x="2823" y="6595"/>
                </a:lnTo>
                <a:lnTo>
                  <a:pt x="2775" y="7057"/>
                </a:lnTo>
                <a:lnTo>
                  <a:pt x="2750" y="7495"/>
                </a:lnTo>
                <a:lnTo>
                  <a:pt x="2775" y="7958"/>
                </a:lnTo>
                <a:lnTo>
                  <a:pt x="2823" y="8396"/>
                </a:lnTo>
                <a:lnTo>
                  <a:pt x="2921" y="8834"/>
                </a:lnTo>
                <a:lnTo>
                  <a:pt x="3067" y="9272"/>
                </a:lnTo>
                <a:lnTo>
                  <a:pt x="3237" y="9685"/>
                </a:lnTo>
                <a:lnTo>
                  <a:pt x="3602" y="10367"/>
                </a:lnTo>
                <a:lnTo>
                  <a:pt x="3991" y="11024"/>
                </a:lnTo>
                <a:lnTo>
                  <a:pt x="4843" y="12337"/>
                </a:lnTo>
                <a:lnTo>
                  <a:pt x="5281" y="13019"/>
                </a:lnTo>
                <a:lnTo>
                  <a:pt x="5476" y="13384"/>
                </a:lnTo>
                <a:lnTo>
                  <a:pt x="5646" y="13724"/>
                </a:lnTo>
                <a:lnTo>
                  <a:pt x="5792" y="14089"/>
                </a:lnTo>
                <a:lnTo>
                  <a:pt x="5914" y="14454"/>
                </a:lnTo>
                <a:lnTo>
                  <a:pt x="5987" y="14844"/>
                </a:lnTo>
                <a:lnTo>
                  <a:pt x="5987" y="15282"/>
                </a:lnTo>
                <a:lnTo>
                  <a:pt x="5962" y="15379"/>
                </a:lnTo>
                <a:lnTo>
                  <a:pt x="5962" y="15428"/>
                </a:lnTo>
                <a:lnTo>
                  <a:pt x="5889" y="15525"/>
                </a:lnTo>
                <a:lnTo>
                  <a:pt x="5841" y="15647"/>
                </a:lnTo>
                <a:lnTo>
                  <a:pt x="5816" y="15768"/>
                </a:lnTo>
                <a:lnTo>
                  <a:pt x="5792" y="15914"/>
                </a:lnTo>
                <a:lnTo>
                  <a:pt x="5816" y="16036"/>
                </a:lnTo>
                <a:lnTo>
                  <a:pt x="5841" y="16158"/>
                </a:lnTo>
                <a:lnTo>
                  <a:pt x="5889" y="16279"/>
                </a:lnTo>
                <a:lnTo>
                  <a:pt x="5962" y="16377"/>
                </a:lnTo>
                <a:lnTo>
                  <a:pt x="5865" y="16474"/>
                </a:lnTo>
                <a:lnTo>
                  <a:pt x="5792" y="16620"/>
                </a:lnTo>
                <a:lnTo>
                  <a:pt x="5768" y="16766"/>
                </a:lnTo>
                <a:lnTo>
                  <a:pt x="5768" y="16912"/>
                </a:lnTo>
                <a:lnTo>
                  <a:pt x="5768" y="17058"/>
                </a:lnTo>
                <a:lnTo>
                  <a:pt x="5816" y="17204"/>
                </a:lnTo>
                <a:lnTo>
                  <a:pt x="5889" y="17350"/>
                </a:lnTo>
                <a:lnTo>
                  <a:pt x="5987" y="17472"/>
                </a:lnTo>
                <a:lnTo>
                  <a:pt x="5962" y="17496"/>
                </a:lnTo>
                <a:lnTo>
                  <a:pt x="5914" y="17618"/>
                </a:lnTo>
                <a:lnTo>
                  <a:pt x="5914" y="17715"/>
                </a:lnTo>
                <a:lnTo>
                  <a:pt x="5938" y="17837"/>
                </a:lnTo>
                <a:lnTo>
                  <a:pt x="5987" y="17934"/>
                </a:lnTo>
                <a:lnTo>
                  <a:pt x="6133" y="18129"/>
                </a:lnTo>
                <a:lnTo>
                  <a:pt x="6303" y="18299"/>
                </a:lnTo>
                <a:lnTo>
                  <a:pt x="6424" y="18421"/>
                </a:lnTo>
                <a:lnTo>
                  <a:pt x="6570" y="18518"/>
                </a:lnTo>
                <a:lnTo>
                  <a:pt x="6862" y="18688"/>
                </a:lnTo>
                <a:lnTo>
                  <a:pt x="7179" y="18810"/>
                </a:lnTo>
                <a:lnTo>
                  <a:pt x="7495" y="18859"/>
                </a:lnTo>
                <a:lnTo>
                  <a:pt x="7738" y="18883"/>
                </a:lnTo>
                <a:lnTo>
                  <a:pt x="7982" y="18883"/>
                </a:lnTo>
                <a:lnTo>
                  <a:pt x="8030" y="18956"/>
                </a:lnTo>
                <a:lnTo>
                  <a:pt x="8079" y="18980"/>
                </a:lnTo>
                <a:lnTo>
                  <a:pt x="8128" y="18980"/>
                </a:lnTo>
                <a:lnTo>
                  <a:pt x="8176" y="18956"/>
                </a:lnTo>
                <a:lnTo>
                  <a:pt x="8201" y="18907"/>
                </a:lnTo>
                <a:lnTo>
                  <a:pt x="8201" y="18883"/>
                </a:lnTo>
                <a:lnTo>
                  <a:pt x="8493" y="18834"/>
                </a:lnTo>
                <a:lnTo>
                  <a:pt x="8785" y="18761"/>
                </a:lnTo>
                <a:lnTo>
                  <a:pt x="9052" y="18664"/>
                </a:lnTo>
                <a:lnTo>
                  <a:pt x="9320" y="18542"/>
                </a:lnTo>
                <a:lnTo>
                  <a:pt x="9563" y="18396"/>
                </a:lnTo>
                <a:lnTo>
                  <a:pt x="9807" y="18226"/>
                </a:lnTo>
                <a:lnTo>
                  <a:pt x="10050" y="18056"/>
                </a:lnTo>
                <a:lnTo>
                  <a:pt x="10269" y="17837"/>
                </a:lnTo>
                <a:lnTo>
                  <a:pt x="10318" y="17764"/>
                </a:lnTo>
                <a:lnTo>
                  <a:pt x="10342" y="17691"/>
                </a:lnTo>
                <a:lnTo>
                  <a:pt x="10464" y="17593"/>
                </a:lnTo>
                <a:lnTo>
                  <a:pt x="10537" y="17447"/>
                </a:lnTo>
                <a:lnTo>
                  <a:pt x="10585" y="17301"/>
                </a:lnTo>
                <a:lnTo>
                  <a:pt x="10634" y="17107"/>
                </a:lnTo>
                <a:lnTo>
                  <a:pt x="10634" y="16936"/>
                </a:lnTo>
                <a:lnTo>
                  <a:pt x="10585" y="16742"/>
                </a:lnTo>
                <a:lnTo>
                  <a:pt x="10512" y="16596"/>
                </a:lnTo>
                <a:lnTo>
                  <a:pt x="10391" y="16474"/>
                </a:lnTo>
                <a:lnTo>
                  <a:pt x="10488" y="16255"/>
                </a:lnTo>
                <a:lnTo>
                  <a:pt x="10537" y="16036"/>
                </a:lnTo>
                <a:lnTo>
                  <a:pt x="10537" y="15817"/>
                </a:lnTo>
                <a:lnTo>
                  <a:pt x="10488" y="15574"/>
                </a:lnTo>
                <a:lnTo>
                  <a:pt x="10415" y="15476"/>
                </a:lnTo>
                <a:lnTo>
                  <a:pt x="10342" y="15379"/>
                </a:lnTo>
                <a:lnTo>
                  <a:pt x="10342" y="15306"/>
                </a:lnTo>
                <a:lnTo>
                  <a:pt x="10415" y="14965"/>
                </a:lnTo>
                <a:lnTo>
                  <a:pt x="10464" y="14625"/>
                </a:lnTo>
                <a:lnTo>
                  <a:pt x="10512" y="14284"/>
                </a:lnTo>
                <a:lnTo>
                  <a:pt x="10585" y="13943"/>
                </a:lnTo>
                <a:lnTo>
                  <a:pt x="10658" y="13700"/>
                </a:lnTo>
                <a:lnTo>
                  <a:pt x="10756" y="13457"/>
                </a:lnTo>
                <a:lnTo>
                  <a:pt x="10999" y="12994"/>
                </a:lnTo>
                <a:lnTo>
                  <a:pt x="11023" y="12970"/>
                </a:lnTo>
                <a:lnTo>
                  <a:pt x="11023" y="12946"/>
                </a:lnTo>
                <a:lnTo>
                  <a:pt x="11340" y="12459"/>
                </a:lnTo>
                <a:lnTo>
                  <a:pt x="11632" y="11972"/>
                </a:lnTo>
                <a:lnTo>
                  <a:pt x="12191" y="11194"/>
                </a:lnTo>
                <a:lnTo>
                  <a:pt x="12483" y="10780"/>
                </a:lnTo>
                <a:lnTo>
                  <a:pt x="12751" y="10367"/>
                </a:lnTo>
                <a:lnTo>
                  <a:pt x="12994" y="9953"/>
                </a:lnTo>
                <a:lnTo>
                  <a:pt x="13213" y="9515"/>
                </a:lnTo>
                <a:lnTo>
                  <a:pt x="13384" y="9053"/>
                </a:lnTo>
                <a:lnTo>
                  <a:pt x="13457" y="8809"/>
                </a:lnTo>
                <a:lnTo>
                  <a:pt x="13505" y="8590"/>
                </a:lnTo>
                <a:lnTo>
                  <a:pt x="13554" y="8152"/>
                </a:lnTo>
                <a:lnTo>
                  <a:pt x="13554" y="7714"/>
                </a:lnTo>
                <a:lnTo>
                  <a:pt x="13505" y="7276"/>
                </a:lnTo>
                <a:lnTo>
                  <a:pt x="13432" y="6838"/>
                </a:lnTo>
                <a:lnTo>
                  <a:pt x="13335" y="6400"/>
                </a:lnTo>
                <a:lnTo>
                  <a:pt x="13213" y="5962"/>
                </a:lnTo>
                <a:lnTo>
                  <a:pt x="12946" y="5135"/>
                </a:lnTo>
                <a:lnTo>
                  <a:pt x="12800" y="4770"/>
                </a:lnTo>
                <a:lnTo>
                  <a:pt x="12605" y="4429"/>
                </a:lnTo>
                <a:lnTo>
                  <a:pt x="12386" y="4113"/>
                </a:lnTo>
                <a:lnTo>
                  <a:pt x="12143" y="3797"/>
                </a:lnTo>
                <a:lnTo>
                  <a:pt x="12143" y="3773"/>
                </a:lnTo>
                <a:lnTo>
                  <a:pt x="12094" y="3675"/>
                </a:lnTo>
                <a:lnTo>
                  <a:pt x="12021" y="3602"/>
                </a:lnTo>
                <a:lnTo>
                  <a:pt x="11948" y="3554"/>
                </a:lnTo>
                <a:lnTo>
                  <a:pt x="11851" y="3505"/>
                </a:lnTo>
                <a:lnTo>
                  <a:pt x="11607" y="3286"/>
                </a:lnTo>
                <a:lnTo>
                  <a:pt x="11340" y="3091"/>
                </a:lnTo>
                <a:lnTo>
                  <a:pt x="11072" y="2897"/>
                </a:lnTo>
                <a:lnTo>
                  <a:pt x="10804" y="2726"/>
                </a:lnTo>
                <a:lnTo>
                  <a:pt x="10464" y="2556"/>
                </a:lnTo>
                <a:lnTo>
                  <a:pt x="10099" y="2386"/>
                </a:lnTo>
                <a:lnTo>
                  <a:pt x="9709" y="2264"/>
                </a:lnTo>
                <a:lnTo>
                  <a:pt x="9320" y="2191"/>
                </a:lnTo>
                <a:lnTo>
                  <a:pt x="8931" y="2142"/>
                </a:lnTo>
                <a:lnTo>
                  <a:pt x="8517" y="2094"/>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 name="Graphic 14" descr="Open quotation mark with solid fill">
            <a:extLst>
              <a:ext uri="{FF2B5EF4-FFF2-40B4-BE49-F238E27FC236}">
                <a16:creationId xmlns:a16="http://schemas.microsoft.com/office/drawing/2014/main" id="{2C9C5252-D58E-95CA-DBDA-D702DA7B07B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14722" y="1442113"/>
            <a:ext cx="914400" cy="914400"/>
          </a:xfrm>
          <a:prstGeom prst="rect">
            <a:avLst/>
          </a:prstGeom>
        </p:spPr>
      </p:pic>
      <p:pic>
        <p:nvPicPr>
          <p:cNvPr id="19" name="Graphic 18" descr="Open quotation mark with solid fill">
            <a:extLst>
              <a:ext uri="{FF2B5EF4-FFF2-40B4-BE49-F238E27FC236}">
                <a16:creationId xmlns:a16="http://schemas.microsoft.com/office/drawing/2014/main" id="{51152087-95C5-0EE3-2071-B564516D110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39634" y="3542297"/>
            <a:ext cx="914400" cy="914400"/>
          </a:xfrm>
          <a:prstGeom prst="rect">
            <a:avLst/>
          </a:prstGeom>
        </p:spPr>
      </p:pic>
      <p:sp>
        <p:nvSpPr>
          <p:cNvPr id="20" name="TextBox 19">
            <a:extLst>
              <a:ext uri="{FF2B5EF4-FFF2-40B4-BE49-F238E27FC236}">
                <a16:creationId xmlns:a16="http://schemas.microsoft.com/office/drawing/2014/main" id="{616E56C6-3B1E-ED5E-2379-DC44CCB6A143}"/>
              </a:ext>
            </a:extLst>
          </p:cNvPr>
          <p:cNvSpPr txBox="1"/>
          <p:nvPr/>
        </p:nvSpPr>
        <p:spPr>
          <a:xfrm>
            <a:off x="8428257" y="4363884"/>
            <a:ext cx="2952816" cy="1138773"/>
          </a:xfrm>
          <a:prstGeom prst="rect">
            <a:avLst/>
          </a:prstGeom>
          <a:noFill/>
          <a:ln>
            <a:noFill/>
          </a:ln>
        </p:spPr>
        <p:txBody>
          <a:bodyPr wrap="square" lIns="0" tIns="0" rIns="0" bIns="0" rtlCol="0">
            <a:spAutoFit/>
          </a:bodyPr>
          <a:lstStyle/>
          <a:p>
            <a:r>
              <a:rPr lang="da-DK" sz="1400">
                <a:solidFill>
                  <a:schemeClr val="accent3"/>
                </a:solidFill>
                <a:latin typeface="Quicksand" panose="020B0604020202020204" charset="0"/>
              </a:rPr>
              <a:t>Vi er tæt på vores vejledere, så vi kan se, hvad de står i. Vi har lært, at vi er nødt til at se, hvad der foregår, for ellers har vi ikke hold i hanke med det.</a:t>
            </a:r>
            <a:endParaRPr lang="da-DK" sz="1400" i="1">
              <a:solidFill>
                <a:schemeClr val="accent3"/>
              </a:solidFill>
              <a:latin typeface="Quicksand" panose="020B0604020202020204" charset="0"/>
              <a:cs typeface="Quicksand" panose="020B0604020202020204" charset="0"/>
            </a:endParaRPr>
          </a:p>
          <a:p>
            <a:pPr algn="r"/>
            <a:r>
              <a:rPr lang="da-DK" sz="1000" i="1">
                <a:solidFill>
                  <a:schemeClr val="accent3"/>
                </a:solidFill>
                <a:latin typeface="Quicksand" panose="020B0604020202020204" charset="0"/>
                <a:cs typeface="Quicksand" panose="020B0604020202020204" charset="0"/>
              </a:rPr>
              <a:t>Leder</a:t>
            </a:r>
            <a:endParaRPr lang="da-DK" sz="800" i="1">
              <a:solidFill>
                <a:schemeClr val="accent3"/>
              </a:solidFill>
              <a:latin typeface="Quicksand" panose="020B0604020202020204" charset="0"/>
              <a:cs typeface="Quicksand" panose="020B0604020202020204" charset="0"/>
            </a:endParaRPr>
          </a:p>
          <a:p>
            <a:pPr algn="r"/>
            <a:endParaRPr lang="da-DK" sz="800">
              <a:latin typeface="Quicksand" panose="020B0604020202020204" charset="0"/>
              <a:cs typeface="Quicksand" panose="020B0604020202020204" charset="0"/>
            </a:endParaRPr>
          </a:p>
        </p:txBody>
      </p:sp>
    </p:spTree>
    <p:extLst>
      <p:ext uri="{BB962C8B-B14F-4D97-AF65-F5344CB8AC3E}">
        <p14:creationId xmlns:p14="http://schemas.microsoft.com/office/powerpoint/2010/main" val="42943988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37</a:t>
            </a:fld>
            <a:endParaRPr lang="da-DK"/>
          </a:p>
        </p:txBody>
      </p:sp>
      <p:sp>
        <p:nvSpPr>
          <p:cNvPr id="3" name="Slide Number Placeholder 3">
            <a:extLst>
              <a:ext uri="{FF2B5EF4-FFF2-40B4-BE49-F238E27FC236}">
                <a16:creationId xmlns:a16="http://schemas.microsoft.com/office/drawing/2014/main" id="{D649DCE5-69AD-C1B0-9815-C2BE39487E43}"/>
              </a:ext>
            </a:extLst>
          </p:cNvPr>
          <p:cNvSpPr txBox="1">
            <a:spLocks/>
          </p:cNvSpPr>
          <p:nvPr/>
        </p:nvSpPr>
        <p:spPr>
          <a:xfrm>
            <a:off x="11206827" y="5223962"/>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6" name="Rectangle 15">
            <a:extLst>
              <a:ext uri="{FF2B5EF4-FFF2-40B4-BE49-F238E27FC236}">
                <a16:creationId xmlns:a16="http://schemas.microsoft.com/office/drawing/2014/main" id="{69E8CE64-0533-7299-077A-F5CBD4B386AF}"/>
              </a:ext>
            </a:extLst>
          </p:cNvPr>
          <p:cNvSpPr/>
          <p:nvPr/>
        </p:nvSpPr>
        <p:spPr>
          <a:xfrm>
            <a:off x="770411" y="1865190"/>
            <a:ext cx="6653049" cy="3546846"/>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2" name="Google Shape;846;p29">
            <a:extLst>
              <a:ext uri="{FF2B5EF4-FFF2-40B4-BE49-F238E27FC236}">
                <a16:creationId xmlns:a16="http://schemas.microsoft.com/office/drawing/2014/main" id="{15E4C8ED-7C1D-F41F-CFD3-DC21D4DDC86D}"/>
              </a:ext>
            </a:extLst>
          </p:cNvPr>
          <p:cNvSpPr/>
          <p:nvPr/>
        </p:nvSpPr>
        <p:spPr>
          <a:xfrm>
            <a:off x="0" y="346507"/>
            <a:ext cx="12192001" cy="854281"/>
          </a:xfrm>
          <a:prstGeom prst="rect">
            <a:avLst/>
          </a:prstGeom>
          <a:solidFill>
            <a:schemeClr val="accent3"/>
          </a:solidFill>
          <a:ln>
            <a:noFill/>
          </a:ln>
        </p:spPr>
        <p:txBody>
          <a:bodyPr spcFirstLastPara="1" wrap="square" lIns="396000" tIns="91425" rIns="91425" bIns="91425" anchor="ctr" anchorCtr="0">
            <a:noAutofit/>
          </a:bodyPr>
          <a:lstStyle/>
          <a:p>
            <a:pPr algn="ctr"/>
            <a:r>
              <a:rPr lang="da-DK" sz="3200" b="1">
                <a:solidFill>
                  <a:schemeClr val="bg1"/>
                </a:solidFill>
                <a:latin typeface="Amatic SC"/>
                <a:ea typeface="Amatic SC"/>
                <a:cs typeface="Amatic SC"/>
                <a:sym typeface="Amatic SC"/>
              </a:rPr>
              <a:t>ledelsen udmønter rolle forskelligt, men bør være tæt på udviklingsproces </a:t>
            </a:r>
            <a:endParaRPr lang="da-DK" sz="3200" b="1">
              <a:solidFill>
                <a:schemeClr val="bg1"/>
              </a:solidFill>
              <a:latin typeface="Amatic SC" panose="00000500000000000000" pitchFamily="2" charset="-79"/>
              <a:cs typeface="Amatic SC" panose="00000500000000000000" pitchFamily="2" charset="-79"/>
            </a:endParaRPr>
          </a:p>
        </p:txBody>
      </p:sp>
      <p:sp>
        <p:nvSpPr>
          <p:cNvPr id="6" name="TextBox 5">
            <a:extLst>
              <a:ext uri="{FF2B5EF4-FFF2-40B4-BE49-F238E27FC236}">
                <a16:creationId xmlns:a16="http://schemas.microsoft.com/office/drawing/2014/main" id="{479CD88A-6E58-621F-7006-85774279DF87}"/>
              </a:ext>
            </a:extLst>
          </p:cNvPr>
          <p:cNvSpPr txBox="1"/>
          <p:nvPr/>
        </p:nvSpPr>
        <p:spPr>
          <a:xfrm>
            <a:off x="770411" y="1583215"/>
            <a:ext cx="6653049" cy="666246"/>
          </a:xfrm>
          <a:prstGeom prst="rect">
            <a:avLst/>
          </a:prstGeom>
          <a:solidFill>
            <a:schemeClr val="accent3"/>
          </a:solidFill>
          <a:ln w="28575">
            <a:solidFill>
              <a:schemeClr val="accent3"/>
            </a:solidFill>
          </a:ln>
        </p:spPr>
        <p:txBody>
          <a:bodyPr wrap="square" lIns="0" tIns="0" rIns="0" bIns="0" rtlCol="0" anchor="ctr">
            <a:noAutofit/>
          </a:bodyPr>
          <a:lstStyle/>
          <a:p>
            <a:pPr algn="ctr"/>
            <a:r>
              <a:rPr lang="da-DK" sz="2400" b="1">
                <a:latin typeface="Amatic SC" panose="00000500000000000000" pitchFamily="2" charset="-79"/>
                <a:cs typeface="Amatic SC" panose="00000500000000000000" pitchFamily="2" charset="-79"/>
              </a:rPr>
              <a:t>Pædagogisk ledelse kan udfordre, når…</a:t>
            </a:r>
          </a:p>
        </p:txBody>
      </p:sp>
      <p:sp>
        <p:nvSpPr>
          <p:cNvPr id="7" name="TextBox 6">
            <a:extLst>
              <a:ext uri="{FF2B5EF4-FFF2-40B4-BE49-F238E27FC236}">
                <a16:creationId xmlns:a16="http://schemas.microsoft.com/office/drawing/2014/main" id="{BD2606AB-11AB-17EB-93C7-331917089B99}"/>
              </a:ext>
            </a:extLst>
          </p:cNvPr>
          <p:cNvSpPr txBox="1"/>
          <p:nvPr/>
        </p:nvSpPr>
        <p:spPr>
          <a:xfrm>
            <a:off x="879231" y="2518936"/>
            <a:ext cx="6447399" cy="2893100"/>
          </a:xfrm>
          <a:prstGeom prst="rect">
            <a:avLst/>
          </a:prstGeom>
          <a:noFill/>
        </p:spPr>
        <p:txBody>
          <a:bodyPr wrap="square">
            <a:spAutoFit/>
          </a:bodyPr>
          <a:lstStyle/>
          <a:p>
            <a:pPr marL="360000" lvl="1"/>
            <a:r>
              <a:rPr lang="da-DK" sz="1400">
                <a:latin typeface="Quicksand" panose="020B0604020202020204" charset="0"/>
              </a:rPr>
              <a:t>… lederne er i </a:t>
            </a:r>
            <a:r>
              <a:rPr lang="da-DK" sz="1400" b="1">
                <a:latin typeface="Quicksand" panose="020B0604020202020204" charset="0"/>
              </a:rPr>
              <a:t>tvivl om, hvor tæt de skal gå på praksis</a:t>
            </a:r>
            <a:r>
              <a:rPr lang="da-DK" sz="1400">
                <a:latin typeface="Quicksand" panose="020B0604020202020204" charset="0"/>
              </a:rPr>
              <a:t>. </a:t>
            </a:r>
          </a:p>
          <a:p>
            <a:pPr marL="360000" lvl="1"/>
            <a:endParaRPr lang="da-DK" sz="1400">
              <a:latin typeface="Quicksand" panose="020B0604020202020204" charset="0"/>
            </a:endParaRPr>
          </a:p>
          <a:p>
            <a:pPr marL="360000" lvl="1"/>
            <a:r>
              <a:rPr lang="da-DK" sz="1400">
                <a:latin typeface="Quicksand" panose="020B0604020202020204" charset="0"/>
              </a:rPr>
              <a:t>… det pædagogiske personale </a:t>
            </a:r>
            <a:r>
              <a:rPr lang="da-DK" sz="1400" b="1">
                <a:latin typeface="Quicksand" panose="020B0604020202020204" charset="0"/>
              </a:rPr>
              <a:t>forventer, at ledelsen har svarene</a:t>
            </a:r>
            <a:r>
              <a:rPr lang="da-DK" sz="1400">
                <a:latin typeface="Quicksand" panose="020B0604020202020204" charset="0"/>
              </a:rPr>
              <a:t>, frem for at indgå ligeværdigt i dialog om løsninger.</a:t>
            </a:r>
            <a:endParaRPr lang="da-DK" sz="1400" b="1">
              <a:latin typeface="Quicksand" panose="020B0604020202020204" charset="0"/>
            </a:endParaRPr>
          </a:p>
          <a:p>
            <a:pPr marL="360000" lvl="1"/>
            <a:endParaRPr lang="da-DK" sz="1400">
              <a:latin typeface="Quicksand" panose="020B0604020202020204" charset="0"/>
            </a:endParaRPr>
          </a:p>
          <a:p>
            <a:pPr marL="360000" lvl="1"/>
            <a:r>
              <a:rPr lang="da-DK" sz="1400">
                <a:latin typeface="Quicksand" panose="020B0604020202020204" charset="0"/>
              </a:rPr>
              <a:t>…ledelsen</a:t>
            </a:r>
            <a:r>
              <a:rPr lang="da-DK" sz="1400" b="1">
                <a:latin typeface="Quicksand" panose="020B0604020202020204" charset="0"/>
              </a:rPr>
              <a:t> ikke har tid nok til at gå tæt på praksis</a:t>
            </a:r>
            <a:r>
              <a:rPr lang="da-DK" sz="1400">
                <a:latin typeface="Quicksand" panose="020B0604020202020204" charset="0"/>
              </a:rPr>
              <a:t> i alle teamene.</a:t>
            </a:r>
            <a:endParaRPr lang="da-DK" sz="1400" b="1">
              <a:latin typeface="Quicksand" panose="020B0604020202020204" charset="0"/>
            </a:endParaRPr>
          </a:p>
          <a:p>
            <a:pPr marL="360000" lvl="1"/>
            <a:endParaRPr lang="da-DK" sz="1400">
              <a:latin typeface="Quicksand" panose="020B0604020202020204" charset="0"/>
            </a:endParaRPr>
          </a:p>
          <a:p>
            <a:pPr marL="360000" lvl="1"/>
            <a:r>
              <a:rPr lang="da-DK" sz="1400">
                <a:latin typeface="Quicksand" panose="020B0604020202020204" charset="0"/>
              </a:rPr>
              <a:t>… det pædagogiske personale </a:t>
            </a:r>
            <a:r>
              <a:rPr lang="da-DK" sz="1400" b="1">
                <a:latin typeface="Quicksand" panose="020B0604020202020204" charset="0"/>
              </a:rPr>
              <a:t>ikke ønsker, at lederne observerer eller deltager i teammøder.</a:t>
            </a:r>
            <a:r>
              <a:rPr lang="da-DK" sz="1400">
                <a:latin typeface="Quicksand" panose="020B0604020202020204" charset="0"/>
              </a:rPr>
              <a:t> </a:t>
            </a:r>
          </a:p>
          <a:p>
            <a:pPr marL="360000" lvl="1"/>
            <a:endParaRPr lang="da-DK" sz="1400">
              <a:latin typeface="Quicksand" panose="020B0604020202020204" charset="0"/>
            </a:endParaRPr>
          </a:p>
          <a:p>
            <a:pPr marL="360000" lvl="1"/>
            <a:r>
              <a:rPr lang="da-DK" sz="1400">
                <a:latin typeface="Quicksand" panose="020B0604020202020204" charset="0"/>
              </a:rPr>
              <a:t>… </a:t>
            </a:r>
            <a:r>
              <a:rPr lang="da-DK" sz="1400" b="1">
                <a:latin typeface="Quicksand" panose="020B0604020202020204" charset="0"/>
              </a:rPr>
              <a:t>lederne savner viden om</a:t>
            </a:r>
            <a:r>
              <a:rPr lang="da-DK" sz="1400">
                <a:latin typeface="Quicksand" panose="020B0604020202020204" charset="0"/>
              </a:rPr>
              <a:t>, hvordan man skaber deltagelsesmuligheder for alle elever.</a:t>
            </a:r>
          </a:p>
          <a:p>
            <a:pPr marL="360000"/>
            <a:endParaRPr lang="da-DK" sz="1400" b="1">
              <a:latin typeface="Quicksand" panose="020B0604020202020204" charset="0"/>
            </a:endParaRPr>
          </a:p>
        </p:txBody>
      </p:sp>
      <p:sp>
        <p:nvSpPr>
          <p:cNvPr id="11" name="TextBox 10">
            <a:extLst>
              <a:ext uri="{FF2B5EF4-FFF2-40B4-BE49-F238E27FC236}">
                <a16:creationId xmlns:a16="http://schemas.microsoft.com/office/drawing/2014/main" id="{6522811D-D684-D540-607B-3B8A9E427BF6}"/>
              </a:ext>
            </a:extLst>
          </p:cNvPr>
          <p:cNvSpPr txBox="1"/>
          <p:nvPr/>
        </p:nvSpPr>
        <p:spPr>
          <a:xfrm>
            <a:off x="8428258" y="2356513"/>
            <a:ext cx="2993331" cy="1231106"/>
          </a:xfrm>
          <a:prstGeom prst="rect">
            <a:avLst/>
          </a:prstGeom>
          <a:noFill/>
          <a:ln>
            <a:noFill/>
          </a:ln>
        </p:spPr>
        <p:txBody>
          <a:bodyPr wrap="square" lIns="0" tIns="0" rIns="0" bIns="0" rtlCol="0">
            <a:spAutoFit/>
          </a:bodyPr>
          <a:lstStyle/>
          <a:p>
            <a:r>
              <a:rPr lang="da-DK" sz="1400">
                <a:solidFill>
                  <a:schemeClr val="accent3"/>
                </a:solidFill>
                <a:latin typeface="Quicksand" panose="020B0604020202020204"/>
                <a:cs typeface="Quicksand" panose="020B0604020202020204" charset="0"/>
              </a:rPr>
              <a:t>Det er ikke, fordi jeg ikke synes, det er væsentligt, men hvis jeg pludselig bliver kaldt til et andet møde, vil jeg deltage i det frem for at tage til teammøde, som jeg ellers havde planlagt. </a:t>
            </a:r>
          </a:p>
          <a:p>
            <a:pPr algn="r"/>
            <a:r>
              <a:rPr lang="da-DK" sz="1000" i="1">
                <a:solidFill>
                  <a:schemeClr val="accent3"/>
                </a:solidFill>
                <a:latin typeface="Quicksand" panose="020B0604020202020204" charset="0"/>
                <a:cs typeface="Quicksand" panose="020B0604020202020204" charset="0"/>
              </a:rPr>
              <a:t>Leder</a:t>
            </a:r>
          </a:p>
        </p:txBody>
      </p:sp>
      <p:sp>
        <p:nvSpPr>
          <p:cNvPr id="8" name="Google Shape;1276;p48">
            <a:extLst>
              <a:ext uri="{FF2B5EF4-FFF2-40B4-BE49-F238E27FC236}">
                <a16:creationId xmlns:a16="http://schemas.microsoft.com/office/drawing/2014/main" id="{22D80D7B-9482-4459-0BFF-9C3C1CB34069}"/>
              </a:ext>
            </a:extLst>
          </p:cNvPr>
          <p:cNvSpPr/>
          <p:nvPr/>
        </p:nvSpPr>
        <p:spPr>
          <a:xfrm>
            <a:off x="1799148" y="1758927"/>
            <a:ext cx="362159" cy="314821"/>
          </a:xfrm>
          <a:custGeom>
            <a:avLst/>
            <a:gdLst/>
            <a:ahLst/>
            <a:cxnLst/>
            <a:rect l="l" t="t" r="r" b="b"/>
            <a:pathLst>
              <a:path w="16571" h="14405" extrusionOk="0">
                <a:moveTo>
                  <a:pt x="8103" y="4623"/>
                </a:moveTo>
                <a:lnTo>
                  <a:pt x="7811" y="4818"/>
                </a:lnTo>
                <a:lnTo>
                  <a:pt x="7665" y="4915"/>
                </a:lnTo>
                <a:lnTo>
                  <a:pt x="7519" y="5013"/>
                </a:lnTo>
                <a:lnTo>
                  <a:pt x="7470" y="4623"/>
                </a:lnTo>
                <a:close/>
                <a:moveTo>
                  <a:pt x="8516" y="4599"/>
                </a:moveTo>
                <a:lnTo>
                  <a:pt x="8760" y="4623"/>
                </a:lnTo>
                <a:lnTo>
                  <a:pt x="9003" y="4648"/>
                </a:lnTo>
                <a:lnTo>
                  <a:pt x="9027" y="4648"/>
                </a:lnTo>
                <a:lnTo>
                  <a:pt x="8979" y="4672"/>
                </a:lnTo>
                <a:lnTo>
                  <a:pt x="8930" y="4721"/>
                </a:lnTo>
                <a:lnTo>
                  <a:pt x="8930" y="4696"/>
                </a:lnTo>
                <a:lnTo>
                  <a:pt x="8857" y="4769"/>
                </a:lnTo>
                <a:lnTo>
                  <a:pt x="8735" y="4818"/>
                </a:lnTo>
                <a:lnTo>
                  <a:pt x="8541" y="4940"/>
                </a:lnTo>
                <a:lnTo>
                  <a:pt x="8273" y="5134"/>
                </a:lnTo>
                <a:lnTo>
                  <a:pt x="8030" y="5329"/>
                </a:lnTo>
                <a:lnTo>
                  <a:pt x="7811" y="5475"/>
                </a:lnTo>
                <a:lnTo>
                  <a:pt x="7567" y="5621"/>
                </a:lnTo>
                <a:lnTo>
                  <a:pt x="7543" y="5256"/>
                </a:lnTo>
                <a:lnTo>
                  <a:pt x="7665" y="5232"/>
                </a:lnTo>
                <a:lnTo>
                  <a:pt x="7786" y="5159"/>
                </a:lnTo>
                <a:lnTo>
                  <a:pt x="8005" y="5037"/>
                </a:lnTo>
                <a:lnTo>
                  <a:pt x="8297" y="4842"/>
                </a:lnTo>
                <a:lnTo>
                  <a:pt x="8443" y="4745"/>
                </a:lnTo>
                <a:lnTo>
                  <a:pt x="8516" y="4599"/>
                </a:lnTo>
                <a:close/>
                <a:moveTo>
                  <a:pt x="9003" y="5086"/>
                </a:moveTo>
                <a:lnTo>
                  <a:pt x="8930" y="5572"/>
                </a:lnTo>
                <a:lnTo>
                  <a:pt x="8881" y="5572"/>
                </a:lnTo>
                <a:lnTo>
                  <a:pt x="8833" y="5597"/>
                </a:lnTo>
                <a:lnTo>
                  <a:pt x="8419" y="5864"/>
                </a:lnTo>
                <a:lnTo>
                  <a:pt x="8005" y="6108"/>
                </a:lnTo>
                <a:lnTo>
                  <a:pt x="7835" y="6181"/>
                </a:lnTo>
                <a:lnTo>
                  <a:pt x="7640" y="6278"/>
                </a:lnTo>
                <a:lnTo>
                  <a:pt x="7616" y="5889"/>
                </a:lnTo>
                <a:lnTo>
                  <a:pt x="7738" y="5840"/>
                </a:lnTo>
                <a:lnTo>
                  <a:pt x="7859" y="5791"/>
                </a:lnTo>
                <a:lnTo>
                  <a:pt x="8103" y="5645"/>
                </a:lnTo>
                <a:lnTo>
                  <a:pt x="9003" y="5086"/>
                </a:lnTo>
                <a:close/>
                <a:moveTo>
                  <a:pt x="8881" y="6010"/>
                </a:moveTo>
                <a:lnTo>
                  <a:pt x="8857" y="6181"/>
                </a:lnTo>
                <a:lnTo>
                  <a:pt x="8857" y="6254"/>
                </a:lnTo>
                <a:lnTo>
                  <a:pt x="8784" y="6254"/>
                </a:lnTo>
                <a:lnTo>
                  <a:pt x="8735" y="6278"/>
                </a:lnTo>
                <a:lnTo>
                  <a:pt x="8200" y="6570"/>
                </a:lnTo>
                <a:lnTo>
                  <a:pt x="7689" y="6862"/>
                </a:lnTo>
                <a:lnTo>
                  <a:pt x="7665" y="6594"/>
                </a:lnTo>
                <a:lnTo>
                  <a:pt x="7811" y="6570"/>
                </a:lnTo>
                <a:lnTo>
                  <a:pt x="7932" y="6521"/>
                </a:lnTo>
                <a:lnTo>
                  <a:pt x="8176" y="6400"/>
                </a:lnTo>
                <a:lnTo>
                  <a:pt x="8541" y="6229"/>
                </a:lnTo>
                <a:lnTo>
                  <a:pt x="8711" y="6132"/>
                </a:lnTo>
                <a:lnTo>
                  <a:pt x="8881" y="6010"/>
                </a:lnTo>
                <a:close/>
                <a:moveTo>
                  <a:pt x="8833" y="6594"/>
                </a:moveTo>
                <a:lnTo>
                  <a:pt x="8808" y="6765"/>
                </a:lnTo>
                <a:lnTo>
                  <a:pt x="8760" y="6789"/>
                </a:lnTo>
                <a:lnTo>
                  <a:pt x="8565" y="6862"/>
                </a:lnTo>
                <a:lnTo>
                  <a:pt x="8395" y="6959"/>
                </a:lnTo>
                <a:lnTo>
                  <a:pt x="8054" y="7178"/>
                </a:lnTo>
                <a:lnTo>
                  <a:pt x="7859" y="7300"/>
                </a:lnTo>
                <a:lnTo>
                  <a:pt x="7689" y="7446"/>
                </a:lnTo>
                <a:lnTo>
                  <a:pt x="7689" y="7105"/>
                </a:lnTo>
                <a:lnTo>
                  <a:pt x="8273" y="6862"/>
                </a:lnTo>
                <a:lnTo>
                  <a:pt x="8833" y="6594"/>
                </a:lnTo>
                <a:close/>
                <a:moveTo>
                  <a:pt x="8784" y="7154"/>
                </a:moveTo>
                <a:lnTo>
                  <a:pt x="8760" y="7470"/>
                </a:lnTo>
                <a:lnTo>
                  <a:pt x="8687" y="7495"/>
                </a:lnTo>
                <a:lnTo>
                  <a:pt x="8516" y="7568"/>
                </a:lnTo>
                <a:lnTo>
                  <a:pt x="8370" y="7665"/>
                </a:lnTo>
                <a:lnTo>
                  <a:pt x="8103" y="7884"/>
                </a:lnTo>
                <a:lnTo>
                  <a:pt x="7908" y="8030"/>
                </a:lnTo>
                <a:lnTo>
                  <a:pt x="7713" y="8200"/>
                </a:lnTo>
                <a:lnTo>
                  <a:pt x="7689" y="7787"/>
                </a:lnTo>
                <a:lnTo>
                  <a:pt x="7835" y="7714"/>
                </a:lnTo>
                <a:lnTo>
                  <a:pt x="7981" y="7641"/>
                </a:lnTo>
                <a:lnTo>
                  <a:pt x="8249" y="7470"/>
                </a:lnTo>
                <a:lnTo>
                  <a:pt x="8516" y="7300"/>
                </a:lnTo>
                <a:lnTo>
                  <a:pt x="8784" y="7154"/>
                </a:lnTo>
                <a:close/>
                <a:moveTo>
                  <a:pt x="8735" y="7835"/>
                </a:moveTo>
                <a:lnTo>
                  <a:pt x="8711" y="8103"/>
                </a:lnTo>
                <a:lnTo>
                  <a:pt x="8638" y="8127"/>
                </a:lnTo>
                <a:lnTo>
                  <a:pt x="8468" y="8249"/>
                </a:lnTo>
                <a:lnTo>
                  <a:pt x="8322" y="8371"/>
                </a:lnTo>
                <a:lnTo>
                  <a:pt x="8030" y="8662"/>
                </a:lnTo>
                <a:lnTo>
                  <a:pt x="7811" y="8857"/>
                </a:lnTo>
                <a:lnTo>
                  <a:pt x="7738" y="8444"/>
                </a:lnTo>
                <a:lnTo>
                  <a:pt x="7859" y="8395"/>
                </a:lnTo>
                <a:lnTo>
                  <a:pt x="8005" y="8322"/>
                </a:lnTo>
                <a:lnTo>
                  <a:pt x="8249" y="8176"/>
                </a:lnTo>
                <a:lnTo>
                  <a:pt x="8492" y="8006"/>
                </a:lnTo>
                <a:lnTo>
                  <a:pt x="8735" y="7835"/>
                </a:lnTo>
                <a:close/>
                <a:moveTo>
                  <a:pt x="8662" y="8687"/>
                </a:moveTo>
                <a:lnTo>
                  <a:pt x="8589" y="9198"/>
                </a:lnTo>
                <a:lnTo>
                  <a:pt x="8346" y="9125"/>
                </a:lnTo>
                <a:lnTo>
                  <a:pt x="8103" y="9100"/>
                </a:lnTo>
                <a:lnTo>
                  <a:pt x="8273" y="8979"/>
                </a:lnTo>
                <a:lnTo>
                  <a:pt x="8468" y="8833"/>
                </a:lnTo>
                <a:lnTo>
                  <a:pt x="8662" y="8687"/>
                </a:lnTo>
                <a:close/>
                <a:moveTo>
                  <a:pt x="7981" y="4088"/>
                </a:moveTo>
                <a:lnTo>
                  <a:pt x="7713" y="4112"/>
                </a:lnTo>
                <a:lnTo>
                  <a:pt x="7421" y="4137"/>
                </a:lnTo>
                <a:lnTo>
                  <a:pt x="7324" y="4137"/>
                </a:lnTo>
                <a:lnTo>
                  <a:pt x="7300" y="4161"/>
                </a:lnTo>
                <a:lnTo>
                  <a:pt x="7348" y="4210"/>
                </a:lnTo>
                <a:lnTo>
                  <a:pt x="7348" y="4210"/>
                </a:lnTo>
                <a:lnTo>
                  <a:pt x="7275" y="4185"/>
                </a:lnTo>
                <a:lnTo>
                  <a:pt x="7178" y="4185"/>
                </a:lnTo>
                <a:lnTo>
                  <a:pt x="7081" y="4234"/>
                </a:lnTo>
                <a:lnTo>
                  <a:pt x="7056" y="4283"/>
                </a:lnTo>
                <a:lnTo>
                  <a:pt x="7032" y="4331"/>
                </a:lnTo>
                <a:lnTo>
                  <a:pt x="7008" y="4502"/>
                </a:lnTo>
                <a:lnTo>
                  <a:pt x="6983" y="4672"/>
                </a:lnTo>
                <a:lnTo>
                  <a:pt x="6983" y="5037"/>
                </a:lnTo>
                <a:lnTo>
                  <a:pt x="7056" y="5743"/>
                </a:lnTo>
                <a:lnTo>
                  <a:pt x="7105" y="6448"/>
                </a:lnTo>
                <a:lnTo>
                  <a:pt x="7105" y="7154"/>
                </a:lnTo>
                <a:lnTo>
                  <a:pt x="7105" y="7738"/>
                </a:lnTo>
                <a:lnTo>
                  <a:pt x="7129" y="8322"/>
                </a:lnTo>
                <a:lnTo>
                  <a:pt x="7154" y="8638"/>
                </a:lnTo>
                <a:lnTo>
                  <a:pt x="7202" y="8930"/>
                </a:lnTo>
                <a:lnTo>
                  <a:pt x="7275" y="9198"/>
                </a:lnTo>
                <a:lnTo>
                  <a:pt x="7397" y="9465"/>
                </a:lnTo>
                <a:lnTo>
                  <a:pt x="7446" y="9538"/>
                </a:lnTo>
                <a:lnTo>
                  <a:pt x="7519" y="9587"/>
                </a:lnTo>
                <a:lnTo>
                  <a:pt x="7567" y="9636"/>
                </a:lnTo>
                <a:lnTo>
                  <a:pt x="7592" y="9660"/>
                </a:lnTo>
                <a:lnTo>
                  <a:pt x="7713" y="9660"/>
                </a:lnTo>
                <a:lnTo>
                  <a:pt x="7932" y="9563"/>
                </a:lnTo>
                <a:lnTo>
                  <a:pt x="8054" y="9538"/>
                </a:lnTo>
                <a:lnTo>
                  <a:pt x="8176" y="9538"/>
                </a:lnTo>
                <a:lnTo>
                  <a:pt x="8297" y="9587"/>
                </a:lnTo>
                <a:lnTo>
                  <a:pt x="8419" y="9636"/>
                </a:lnTo>
                <a:lnTo>
                  <a:pt x="8541" y="9684"/>
                </a:lnTo>
                <a:lnTo>
                  <a:pt x="8687" y="9709"/>
                </a:lnTo>
                <a:lnTo>
                  <a:pt x="8760" y="9709"/>
                </a:lnTo>
                <a:lnTo>
                  <a:pt x="8833" y="9684"/>
                </a:lnTo>
                <a:lnTo>
                  <a:pt x="8906" y="9636"/>
                </a:lnTo>
                <a:lnTo>
                  <a:pt x="8930" y="9563"/>
                </a:lnTo>
                <a:lnTo>
                  <a:pt x="9027" y="9490"/>
                </a:lnTo>
                <a:lnTo>
                  <a:pt x="9052" y="9441"/>
                </a:lnTo>
                <a:lnTo>
                  <a:pt x="9076" y="9392"/>
                </a:lnTo>
                <a:lnTo>
                  <a:pt x="9198" y="8760"/>
                </a:lnTo>
                <a:lnTo>
                  <a:pt x="9246" y="8127"/>
                </a:lnTo>
                <a:lnTo>
                  <a:pt x="9295" y="7495"/>
                </a:lnTo>
                <a:lnTo>
                  <a:pt x="9319" y="6886"/>
                </a:lnTo>
                <a:lnTo>
                  <a:pt x="9368" y="6278"/>
                </a:lnTo>
                <a:lnTo>
                  <a:pt x="9417" y="5694"/>
                </a:lnTo>
                <a:lnTo>
                  <a:pt x="9490" y="5110"/>
                </a:lnTo>
                <a:lnTo>
                  <a:pt x="9514" y="4526"/>
                </a:lnTo>
                <a:lnTo>
                  <a:pt x="9514" y="4453"/>
                </a:lnTo>
                <a:lnTo>
                  <a:pt x="9490" y="4404"/>
                </a:lnTo>
                <a:lnTo>
                  <a:pt x="9465" y="4356"/>
                </a:lnTo>
                <a:lnTo>
                  <a:pt x="9417" y="4331"/>
                </a:lnTo>
                <a:lnTo>
                  <a:pt x="9319" y="4307"/>
                </a:lnTo>
                <a:lnTo>
                  <a:pt x="9246" y="4210"/>
                </a:lnTo>
                <a:lnTo>
                  <a:pt x="9198" y="4185"/>
                </a:lnTo>
                <a:lnTo>
                  <a:pt x="9149" y="4161"/>
                </a:lnTo>
                <a:lnTo>
                  <a:pt x="8857" y="4112"/>
                </a:lnTo>
                <a:lnTo>
                  <a:pt x="8565" y="4088"/>
                </a:lnTo>
                <a:close/>
                <a:moveTo>
                  <a:pt x="8176" y="10585"/>
                </a:moveTo>
                <a:lnTo>
                  <a:pt x="7932" y="10804"/>
                </a:lnTo>
                <a:lnTo>
                  <a:pt x="7689" y="10974"/>
                </a:lnTo>
                <a:lnTo>
                  <a:pt x="7738" y="10877"/>
                </a:lnTo>
                <a:lnTo>
                  <a:pt x="7786" y="10755"/>
                </a:lnTo>
                <a:lnTo>
                  <a:pt x="7859" y="10658"/>
                </a:lnTo>
                <a:lnTo>
                  <a:pt x="7957" y="10585"/>
                </a:lnTo>
                <a:lnTo>
                  <a:pt x="8030" y="10609"/>
                </a:lnTo>
                <a:lnTo>
                  <a:pt x="8103" y="10585"/>
                </a:lnTo>
                <a:close/>
                <a:moveTo>
                  <a:pt x="8614" y="10682"/>
                </a:moveTo>
                <a:lnTo>
                  <a:pt x="8687" y="10779"/>
                </a:lnTo>
                <a:lnTo>
                  <a:pt x="8760" y="10877"/>
                </a:lnTo>
                <a:lnTo>
                  <a:pt x="8565" y="10998"/>
                </a:lnTo>
                <a:lnTo>
                  <a:pt x="8395" y="11144"/>
                </a:lnTo>
                <a:lnTo>
                  <a:pt x="8078" y="11436"/>
                </a:lnTo>
                <a:lnTo>
                  <a:pt x="7957" y="11582"/>
                </a:lnTo>
                <a:lnTo>
                  <a:pt x="7859" y="11704"/>
                </a:lnTo>
                <a:lnTo>
                  <a:pt x="7786" y="11826"/>
                </a:lnTo>
                <a:lnTo>
                  <a:pt x="7713" y="11728"/>
                </a:lnTo>
                <a:lnTo>
                  <a:pt x="7665" y="11607"/>
                </a:lnTo>
                <a:lnTo>
                  <a:pt x="7640" y="11485"/>
                </a:lnTo>
                <a:lnTo>
                  <a:pt x="7640" y="11363"/>
                </a:lnTo>
                <a:lnTo>
                  <a:pt x="7786" y="11315"/>
                </a:lnTo>
                <a:lnTo>
                  <a:pt x="7908" y="11242"/>
                </a:lnTo>
                <a:lnTo>
                  <a:pt x="8176" y="11071"/>
                </a:lnTo>
                <a:lnTo>
                  <a:pt x="8395" y="10901"/>
                </a:lnTo>
                <a:lnTo>
                  <a:pt x="8614" y="10682"/>
                </a:lnTo>
                <a:close/>
                <a:moveTo>
                  <a:pt x="8857" y="11266"/>
                </a:moveTo>
                <a:lnTo>
                  <a:pt x="8833" y="11412"/>
                </a:lnTo>
                <a:lnTo>
                  <a:pt x="8784" y="11558"/>
                </a:lnTo>
                <a:lnTo>
                  <a:pt x="8711" y="11655"/>
                </a:lnTo>
                <a:lnTo>
                  <a:pt x="8614" y="11753"/>
                </a:lnTo>
                <a:lnTo>
                  <a:pt x="8492" y="11826"/>
                </a:lnTo>
                <a:lnTo>
                  <a:pt x="8370" y="11899"/>
                </a:lnTo>
                <a:lnTo>
                  <a:pt x="8200" y="11923"/>
                </a:lnTo>
                <a:lnTo>
                  <a:pt x="8030" y="11923"/>
                </a:lnTo>
                <a:lnTo>
                  <a:pt x="8176" y="11801"/>
                </a:lnTo>
                <a:lnTo>
                  <a:pt x="8273" y="11728"/>
                </a:lnTo>
                <a:lnTo>
                  <a:pt x="8565" y="11485"/>
                </a:lnTo>
                <a:lnTo>
                  <a:pt x="8857" y="11266"/>
                </a:lnTo>
                <a:close/>
                <a:moveTo>
                  <a:pt x="8176" y="10049"/>
                </a:moveTo>
                <a:lnTo>
                  <a:pt x="8054" y="10074"/>
                </a:lnTo>
                <a:lnTo>
                  <a:pt x="7957" y="10122"/>
                </a:lnTo>
                <a:lnTo>
                  <a:pt x="7811" y="10171"/>
                </a:lnTo>
                <a:lnTo>
                  <a:pt x="7689" y="10220"/>
                </a:lnTo>
                <a:lnTo>
                  <a:pt x="7592" y="10268"/>
                </a:lnTo>
                <a:lnTo>
                  <a:pt x="7519" y="10366"/>
                </a:lnTo>
                <a:lnTo>
                  <a:pt x="7373" y="10536"/>
                </a:lnTo>
                <a:lnTo>
                  <a:pt x="7275" y="10755"/>
                </a:lnTo>
                <a:lnTo>
                  <a:pt x="7202" y="10974"/>
                </a:lnTo>
                <a:lnTo>
                  <a:pt x="7154" y="11242"/>
                </a:lnTo>
                <a:lnTo>
                  <a:pt x="7154" y="11509"/>
                </a:lnTo>
                <a:lnTo>
                  <a:pt x="7202" y="11753"/>
                </a:lnTo>
                <a:lnTo>
                  <a:pt x="7324" y="11972"/>
                </a:lnTo>
                <a:lnTo>
                  <a:pt x="7397" y="12069"/>
                </a:lnTo>
                <a:lnTo>
                  <a:pt x="7470" y="12142"/>
                </a:lnTo>
                <a:lnTo>
                  <a:pt x="7567" y="12215"/>
                </a:lnTo>
                <a:lnTo>
                  <a:pt x="7689" y="12288"/>
                </a:lnTo>
                <a:lnTo>
                  <a:pt x="7786" y="12337"/>
                </a:lnTo>
                <a:lnTo>
                  <a:pt x="7932" y="12385"/>
                </a:lnTo>
                <a:lnTo>
                  <a:pt x="8054" y="12410"/>
                </a:lnTo>
                <a:lnTo>
                  <a:pt x="8346" y="12410"/>
                </a:lnTo>
                <a:lnTo>
                  <a:pt x="8492" y="12385"/>
                </a:lnTo>
                <a:lnTo>
                  <a:pt x="8614" y="12337"/>
                </a:lnTo>
                <a:lnTo>
                  <a:pt x="8711" y="12288"/>
                </a:lnTo>
                <a:lnTo>
                  <a:pt x="8833" y="12215"/>
                </a:lnTo>
                <a:lnTo>
                  <a:pt x="8930" y="12142"/>
                </a:lnTo>
                <a:lnTo>
                  <a:pt x="9076" y="11972"/>
                </a:lnTo>
                <a:lnTo>
                  <a:pt x="9198" y="11753"/>
                </a:lnTo>
                <a:lnTo>
                  <a:pt x="9295" y="11534"/>
                </a:lnTo>
                <a:lnTo>
                  <a:pt x="9319" y="11266"/>
                </a:lnTo>
                <a:lnTo>
                  <a:pt x="9319" y="10998"/>
                </a:lnTo>
                <a:lnTo>
                  <a:pt x="9246" y="10779"/>
                </a:lnTo>
                <a:lnTo>
                  <a:pt x="9149" y="10560"/>
                </a:lnTo>
                <a:lnTo>
                  <a:pt x="9003" y="10366"/>
                </a:lnTo>
                <a:lnTo>
                  <a:pt x="8833" y="10220"/>
                </a:lnTo>
                <a:lnTo>
                  <a:pt x="8735" y="10171"/>
                </a:lnTo>
                <a:lnTo>
                  <a:pt x="8638" y="10122"/>
                </a:lnTo>
                <a:lnTo>
                  <a:pt x="8395" y="10049"/>
                </a:lnTo>
                <a:close/>
                <a:moveTo>
                  <a:pt x="8322" y="535"/>
                </a:moveTo>
                <a:lnTo>
                  <a:pt x="8443" y="560"/>
                </a:lnTo>
                <a:lnTo>
                  <a:pt x="8638" y="657"/>
                </a:lnTo>
                <a:lnTo>
                  <a:pt x="8833" y="803"/>
                </a:lnTo>
                <a:lnTo>
                  <a:pt x="9003" y="973"/>
                </a:lnTo>
                <a:lnTo>
                  <a:pt x="9344" y="1338"/>
                </a:lnTo>
                <a:lnTo>
                  <a:pt x="9757" y="1971"/>
                </a:lnTo>
                <a:lnTo>
                  <a:pt x="10147" y="2652"/>
                </a:lnTo>
                <a:lnTo>
                  <a:pt x="10901" y="4015"/>
                </a:lnTo>
                <a:lnTo>
                  <a:pt x="11655" y="5402"/>
                </a:lnTo>
                <a:lnTo>
                  <a:pt x="12045" y="6083"/>
                </a:lnTo>
                <a:lnTo>
                  <a:pt x="12434" y="6740"/>
                </a:lnTo>
                <a:lnTo>
                  <a:pt x="13164" y="7957"/>
                </a:lnTo>
                <a:lnTo>
                  <a:pt x="13918" y="9173"/>
                </a:lnTo>
                <a:lnTo>
                  <a:pt x="14672" y="10366"/>
                </a:lnTo>
                <a:lnTo>
                  <a:pt x="15427" y="11582"/>
                </a:lnTo>
                <a:lnTo>
                  <a:pt x="15402" y="11655"/>
                </a:lnTo>
                <a:lnTo>
                  <a:pt x="15402" y="11704"/>
                </a:lnTo>
                <a:lnTo>
                  <a:pt x="15427" y="11777"/>
                </a:lnTo>
                <a:lnTo>
                  <a:pt x="15475" y="11826"/>
                </a:lnTo>
                <a:lnTo>
                  <a:pt x="15646" y="11972"/>
                </a:lnTo>
                <a:lnTo>
                  <a:pt x="15792" y="12191"/>
                </a:lnTo>
                <a:lnTo>
                  <a:pt x="15913" y="12434"/>
                </a:lnTo>
                <a:lnTo>
                  <a:pt x="16011" y="12677"/>
                </a:lnTo>
                <a:lnTo>
                  <a:pt x="16059" y="12945"/>
                </a:lnTo>
                <a:lnTo>
                  <a:pt x="16035" y="13067"/>
                </a:lnTo>
                <a:lnTo>
                  <a:pt x="16035" y="13188"/>
                </a:lnTo>
                <a:lnTo>
                  <a:pt x="15986" y="13286"/>
                </a:lnTo>
                <a:lnTo>
                  <a:pt x="15938" y="13407"/>
                </a:lnTo>
                <a:lnTo>
                  <a:pt x="15865" y="13505"/>
                </a:lnTo>
                <a:lnTo>
                  <a:pt x="15792" y="13578"/>
                </a:lnTo>
                <a:lnTo>
                  <a:pt x="15597" y="13699"/>
                </a:lnTo>
                <a:lnTo>
                  <a:pt x="15402" y="13772"/>
                </a:lnTo>
                <a:lnTo>
                  <a:pt x="15159" y="13821"/>
                </a:lnTo>
                <a:lnTo>
                  <a:pt x="14940" y="13845"/>
                </a:lnTo>
                <a:lnTo>
                  <a:pt x="14040" y="13845"/>
                </a:lnTo>
                <a:lnTo>
                  <a:pt x="11023" y="13821"/>
                </a:lnTo>
                <a:lnTo>
                  <a:pt x="9514" y="13797"/>
                </a:lnTo>
                <a:lnTo>
                  <a:pt x="8005" y="13797"/>
                </a:lnTo>
                <a:lnTo>
                  <a:pt x="5159" y="13821"/>
                </a:lnTo>
                <a:lnTo>
                  <a:pt x="3723" y="13870"/>
                </a:lnTo>
                <a:lnTo>
                  <a:pt x="2312" y="13918"/>
                </a:lnTo>
                <a:lnTo>
                  <a:pt x="1630" y="13918"/>
                </a:lnTo>
                <a:lnTo>
                  <a:pt x="1411" y="13894"/>
                </a:lnTo>
                <a:lnTo>
                  <a:pt x="1192" y="13845"/>
                </a:lnTo>
                <a:lnTo>
                  <a:pt x="998" y="13772"/>
                </a:lnTo>
                <a:lnTo>
                  <a:pt x="803" y="13675"/>
                </a:lnTo>
                <a:lnTo>
                  <a:pt x="633" y="13529"/>
                </a:lnTo>
                <a:lnTo>
                  <a:pt x="535" y="13432"/>
                </a:lnTo>
                <a:lnTo>
                  <a:pt x="487" y="13334"/>
                </a:lnTo>
                <a:lnTo>
                  <a:pt x="462" y="13261"/>
                </a:lnTo>
                <a:lnTo>
                  <a:pt x="438" y="13164"/>
                </a:lnTo>
                <a:lnTo>
                  <a:pt x="438" y="12969"/>
                </a:lnTo>
                <a:lnTo>
                  <a:pt x="511" y="12799"/>
                </a:lnTo>
                <a:lnTo>
                  <a:pt x="657" y="12434"/>
                </a:lnTo>
                <a:lnTo>
                  <a:pt x="730" y="12239"/>
                </a:lnTo>
                <a:lnTo>
                  <a:pt x="779" y="12045"/>
                </a:lnTo>
                <a:lnTo>
                  <a:pt x="998" y="11680"/>
                </a:lnTo>
                <a:lnTo>
                  <a:pt x="1217" y="11290"/>
                </a:lnTo>
                <a:lnTo>
                  <a:pt x="1630" y="10512"/>
                </a:lnTo>
                <a:lnTo>
                  <a:pt x="2141" y="9684"/>
                </a:lnTo>
                <a:lnTo>
                  <a:pt x="2652" y="8833"/>
                </a:lnTo>
                <a:lnTo>
                  <a:pt x="3674" y="7081"/>
                </a:lnTo>
                <a:lnTo>
                  <a:pt x="4696" y="5329"/>
                </a:lnTo>
                <a:lnTo>
                  <a:pt x="5207" y="4477"/>
                </a:lnTo>
                <a:lnTo>
                  <a:pt x="5742" y="3650"/>
                </a:lnTo>
                <a:lnTo>
                  <a:pt x="6813" y="2020"/>
                </a:lnTo>
                <a:lnTo>
                  <a:pt x="7251" y="1338"/>
                </a:lnTo>
                <a:lnTo>
                  <a:pt x="7494" y="1022"/>
                </a:lnTo>
                <a:lnTo>
                  <a:pt x="7640" y="876"/>
                </a:lnTo>
                <a:lnTo>
                  <a:pt x="7786" y="730"/>
                </a:lnTo>
                <a:lnTo>
                  <a:pt x="7884" y="633"/>
                </a:lnTo>
                <a:lnTo>
                  <a:pt x="8005" y="584"/>
                </a:lnTo>
                <a:lnTo>
                  <a:pt x="8103" y="535"/>
                </a:lnTo>
                <a:close/>
                <a:moveTo>
                  <a:pt x="8346" y="0"/>
                </a:moveTo>
                <a:lnTo>
                  <a:pt x="8176" y="25"/>
                </a:lnTo>
                <a:lnTo>
                  <a:pt x="8005" y="73"/>
                </a:lnTo>
                <a:lnTo>
                  <a:pt x="7835" y="146"/>
                </a:lnTo>
                <a:lnTo>
                  <a:pt x="7665" y="219"/>
                </a:lnTo>
                <a:lnTo>
                  <a:pt x="7519" y="341"/>
                </a:lnTo>
                <a:lnTo>
                  <a:pt x="7251" y="584"/>
                </a:lnTo>
                <a:lnTo>
                  <a:pt x="7105" y="730"/>
                </a:lnTo>
                <a:lnTo>
                  <a:pt x="6983" y="900"/>
                </a:lnTo>
                <a:lnTo>
                  <a:pt x="6740" y="1265"/>
                </a:lnTo>
                <a:lnTo>
                  <a:pt x="6497" y="1630"/>
                </a:lnTo>
                <a:lnTo>
                  <a:pt x="6278" y="1995"/>
                </a:lnTo>
                <a:lnTo>
                  <a:pt x="5596" y="2969"/>
                </a:lnTo>
                <a:lnTo>
                  <a:pt x="4964" y="3966"/>
                </a:lnTo>
                <a:lnTo>
                  <a:pt x="4331" y="4988"/>
                </a:lnTo>
                <a:lnTo>
                  <a:pt x="3723" y="6035"/>
                </a:lnTo>
                <a:lnTo>
                  <a:pt x="2506" y="8127"/>
                </a:lnTo>
                <a:lnTo>
                  <a:pt x="1363" y="10147"/>
                </a:lnTo>
                <a:lnTo>
                  <a:pt x="900" y="10925"/>
                </a:lnTo>
                <a:lnTo>
                  <a:pt x="706" y="11339"/>
                </a:lnTo>
                <a:lnTo>
                  <a:pt x="535" y="11753"/>
                </a:lnTo>
                <a:lnTo>
                  <a:pt x="487" y="11801"/>
                </a:lnTo>
                <a:lnTo>
                  <a:pt x="462" y="11850"/>
                </a:lnTo>
                <a:lnTo>
                  <a:pt x="389" y="12069"/>
                </a:lnTo>
                <a:lnTo>
                  <a:pt x="268" y="12288"/>
                </a:lnTo>
                <a:lnTo>
                  <a:pt x="170" y="12507"/>
                </a:lnTo>
                <a:lnTo>
                  <a:pt x="49" y="12726"/>
                </a:lnTo>
                <a:lnTo>
                  <a:pt x="24" y="12823"/>
                </a:lnTo>
                <a:lnTo>
                  <a:pt x="0" y="12945"/>
                </a:lnTo>
                <a:lnTo>
                  <a:pt x="0" y="13067"/>
                </a:lnTo>
                <a:lnTo>
                  <a:pt x="0" y="13188"/>
                </a:lnTo>
                <a:lnTo>
                  <a:pt x="73" y="13407"/>
                </a:lnTo>
                <a:lnTo>
                  <a:pt x="146" y="13651"/>
                </a:lnTo>
                <a:lnTo>
                  <a:pt x="292" y="13845"/>
                </a:lnTo>
                <a:lnTo>
                  <a:pt x="438" y="13991"/>
                </a:lnTo>
                <a:lnTo>
                  <a:pt x="633" y="14113"/>
                </a:lnTo>
                <a:lnTo>
                  <a:pt x="852" y="14210"/>
                </a:lnTo>
                <a:lnTo>
                  <a:pt x="1095" y="14283"/>
                </a:lnTo>
                <a:lnTo>
                  <a:pt x="1314" y="14332"/>
                </a:lnTo>
                <a:lnTo>
                  <a:pt x="1776" y="14381"/>
                </a:lnTo>
                <a:lnTo>
                  <a:pt x="2141" y="14405"/>
                </a:lnTo>
                <a:lnTo>
                  <a:pt x="3309" y="14405"/>
                </a:lnTo>
                <a:lnTo>
                  <a:pt x="4064" y="14356"/>
                </a:lnTo>
                <a:lnTo>
                  <a:pt x="4842" y="14332"/>
                </a:lnTo>
                <a:lnTo>
                  <a:pt x="6691" y="14308"/>
                </a:lnTo>
                <a:lnTo>
                  <a:pt x="8565" y="14283"/>
                </a:lnTo>
                <a:lnTo>
                  <a:pt x="10439" y="14283"/>
                </a:lnTo>
                <a:lnTo>
                  <a:pt x="12337" y="14308"/>
                </a:lnTo>
                <a:lnTo>
                  <a:pt x="13748" y="14356"/>
                </a:lnTo>
                <a:lnTo>
                  <a:pt x="14478" y="14356"/>
                </a:lnTo>
                <a:lnTo>
                  <a:pt x="14818" y="14332"/>
                </a:lnTo>
                <a:lnTo>
                  <a:pt x="15159" y="14308"/>
                </a:lnTo>
                <a:lnTo>
                  <a:pt x="15402" y="14259"/>
                </a:lnTo>
                <a:lnTo>
                  <a:pt x="15621" y="14210"/>
                </a:lnTo>
                <a:lnTo>
                  <a:pt x="15840" y="14113"/>
                </a:lnTo>
                <a:lnTo>
                  <a:pt x="16059" y="13991"/>
                </a:lnTo>
                <a:lnTo>
                  <a:pt x="16230" y="13845"/>
                </a:lnTo>
                <a:lnTo>
                  <a:pt x="16400" y="13675"/>
                </a:lnTo>
                <a:lnTo>
                  <a:pt x="16497" y="13480"/>
                </a:lnTo>
                <a:lnTo>
                  <a:pt x="16522" y="13359"/>
                </a:lnTo>
                <a:lnTo>
                  <a:pt x="16546" y="13237"/>
                </a:lnTo>
                <a:lnTo>
                  <a:pt x="16570" y="13042"/>
                </a:lnTo>
                <a:lnTo>
                  <a:pt x="16546" y="12848"/>
                </a:lnTo>
                <a:lnTo>
                  <a:pt x="16522" y="12653"/>
                </a:lnTo>
                <a:lnTo>
                  <a:pt x="16473" y="12458"/>
                </a:lnTo>
                <a:lnTo>
                  <a:pt x="16400" y="12264"/>
                </a:lnTo>
                <a:lnTo>
                  <a:pt x="16303" y="12069"/>
                </a:lnTo>
                <a:lnTo>
                  <a:pt x="16205" y="11899"/>
                </a:lnTo>
                <a:lnTo>
                  <a:pt x="16084" y="11728"/>
                </a:lnTo>
                <a:lnTo>
                  <a:pt x="15281" y="10414"/>
                </a:lnTo>
                <a:lnTo>
                  <a:pt x="14478" y="9100"/>
                </a:lnTo>
                <a:lnTo>
                  <a:pt x="12848" y="6497"/>
                </a:lnTo>
                <a:lnTo>
                  <a:pt x="12458" y="5840"/>
                </a:lnTo>
                <a:lnTo>
                  <a:pt x="12069" y="5159"/>
                </a:lnTo>
                <a:lnTo>
                  <a:pt x="11315" y="3747"/>
                </a:lnTo>
                <a:lnTo>
                  <a:pt x="10536" y="2336"/>
                </a:lnTo>
                <a:lnTo>
                  <a:pt x="10147" y="1655"/>
                </a:lnTo>
                <a:lnTo>
                  <a:pt x="9757" y="998"/>
                </a:lnTo>
                <a:lnTo>
                  <a:pt x="9709" y="925"/>
                </a:lnTo>
                <a:lnTo>
                  <a:pt x="9636" y="876"/>
                </a:lnTo>
                <a:lnTo>
                  <a:pt x="9417" y="608"/>
                </a:lnTo>
                <a:lnTo>
                  <a:pt x="9149" y="341"/>
                </a:lnTo>
                <a:lnTo>
                  <a:pt x="9003" y="219"/>
                </a:lnTo>
                <a:lnTo>
                  <a:pt x="8857" y="98"/>
                </a:lnTo>
                <a:lnTo>
                  <a:pt x="8687" y="25"/>
                </a:lnTo>
                <a:lnTo>
                  <a:pt x="854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2" name="Graphic 11" descr="Open quotation mark with solid fill">
            <a:extLst>
              <a:ext uri="{FF2B5EF4-FFF2-40B4-BE49-F238E27FC236}">
                <a16:creationId xmlns:a16="http://schemas.microsoft.com/office/drawing/2014/main" id="{9F569E93-25F1-D307-2113-0E678BFE6C3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14722" y="1442113"/>
            <a:ext cx="914400" cy="914400"/>
          </a:xfrm>
          <a:prstGeom prst="rect">
            <a:avLst/>
          </a:prstGeom>
        </p:spPr>
      </p:pic>
      <p:sp>
        <p:nvSpPr>
          <p:cNvPr id="13" name="TextBox 12">
            <a:extLst>
              <a:ext uri="{FF2B5EF4-FFF2-40B4-BE49-F238E27FC236}">
                <a16:creationId xmlns:a16="http://schemas.microsoft.com/office/drawing/2014/main" id="{EDD36D07-53E9-657A-FA49-472CAB6FDD1A}"/>
              </a:ext>
            </a:extLst>
          </p:cNvPr>
          <p:cNvSpPr txBox="1"/>
          <p:nvPr/>
        </p:nvSpPr>
        <p:spPr>
          <a:xfrm>
            <a:off x="8428258" y="4363884"/>
            <a:ext cx="2993331" cy="1446550"/>
          </a:xfrm>
          <a:prstGeom prst="rect">
            <a:avLst/>
          </a:prstGeom>
          <a:noFill/>
          <a:ln>
            <a:noFill/>
          </a:ln>
        </p:spPr>
        <p:txBody>
          <a:bodyPr wrap="square" lIns="0" tIns="0" rIns="0" bIns="0" rtlCol="0">
            <a:spAutoFit/>
          </a:bodyPr>
          <a:lstStyle/>
          <a:p>
            <a:r>
              <a:rPr lang="da-DK" sz="1400">
                <a:solidFill>
                  <a:schemeClr val="accent3"/>
                </a:solidFill>
                <a:latin typeface="Quicksand" panose="020B0604020202020204" charset="0"/>
                <a:cs typeface="Quicksand" panose="020B0604020202020204" charset="0"/>
              </a:rPr>
              <a:t>Jeg involverer mig, men jeg er ikke i tvivl om, at vi jo kan blive bedre. Hvor vi har muligheden, deltager vi, hvis teamet vil have os med. Nogle gange vil de, nogle gange vil de ikke. Der er ingen tvivl om, at vi har udfordring og udvikling der.</a:t>
            </a:r>
          </a:p>
          <a:p>
            <a:pPr algn="r"/>
            <a:r>
              <a:rPr lang="da-DK" sz="1000" i="1">
                <a:solidFill>
                  <a:schemeClr val="accent3"/>
                </a:solidFill>
                <a:latin typeface="Quicksand" panose="020B0604020202020204" charset="0"/>
                <a:cs typeface="Quicksand" panose="020B0604020202020204" charset="0"/>
              </a:rPr>
              <a:t>Leder</a:t>
            </a:r>
            <a:endParaRPr lang="da-DK" sz="800">
              <a:latin typeface="Quicksand" panose="020B0604020202020204" charset="0"/>
              <a:cs typeface="Quicksand" panose="020B0604020202020204" charset="0"/>
            </a:endParaRPr>
          </a:p>
        </p:txBody>
      </p:sp>
      <p:pic>
        <p:nvPicPr>
          <p:cNvPr id="15" name="Graphic 14" descr="Open quotation mark with solid fill">
            <a:extLst>
              <a:ext uri="{FF2B5EF4-FFF2-40B4-BE49-F238E27FC236}">
                <a16:creationId xmlns:a16="http://schemas.microsoft.com/office/drawing/2014/main" id="{8E3B849E-6872-92C0-E5BF-D2D9DB10440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39634" y="3542297"/>
            <a:ext cx="914400" cy="914400"/>
          </a:xfrm>
          <a:prstGeom prst="rect">
            <a:avLst/>
          </a:prstGeom>
        </p:spPr>
      </p:pic>
    </p:spTree>
    <p:extLst>
      <p:ext uri="{BB962C8B-B14F-4D97-AF65-F5344CB8AC3E}">
        <p14:creationId xmlns:p14="http://schemas.microsoft.com/office/powerpoint/2010/main" val="17584661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38</a:t>
            </a:fld>
            <a:endParaRPr lang="da-DK"/>
          </a:p>
        </p:txBody>
      </p:sp>
      <p:sp>
        <p:nvSpPr>
          <p:cNvPr id="3" name="Slide Number Placeholder 3">
            <a:extLst>
              <a:ext uri="{FF2B5EF4-FFF2-40B4-BE49-F238E27FC236}">
                <a16:creationId xmlns:a16="http://schemas.microsoft.com/office/drawing/2014/main" id="{D649DCE5-69AD-C1B0-9815-C2BE39487E43}"/>
              </a:ext>
            </a:extLst>
          </p:cNvPr>
          <p:cNvSpPr txBox="1">
            <a:spLocks/>
          </p:cNvSpPr>
          <p:nvPr/>
        </p:nvSpPr>
        <p:spPr>
          <a:xfrm>
            <a:off x="11206827" y="5223962"/>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6" name="Rectangle 15">
            <a:extLst>
              <a:ext uri="{FF2B5EF4-FFF2-40B4-BE49-F238E27FC236}">
                <a16:creationId xmlns:a16="http://schemas.microsoft.com/office/drawing/2014/main" id="{69E8CE64-0533-7299-077A-F5CBD4B386AF}"/>
              </a:ext>
            </a:extLst>
          </p:cNvPr>
          <p:cNvSpPr/>
          <p:nvPr/>
        </p:nvSpPr>
        <p:spPr>
          <a:xfrm>
            <a:off x="770411" y="1865190"/>
            <a:ext cx="6653049" cy="3466772"/>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1600" noProof="0">
              <a:solidFill>
                <a:schemeClr val="tx1"/>
              </a:solidFill>
              <a:latin typeface="Quicksand" panose="020B0604020202020204" charset="0"/>
            </a:endParaRPr>
          </a:p>
        </p:txBody>
      </p:sp>
      <p:sp>
        <p:nvSpPr>
          <p:cNvPr id="2" name="Google Shape;846;p29">
            <a:extLst>
              <a:ext uri="{FF2B5EF4-FFF2-40B4-BE49-F238E27FC236}">
                <a16:creationId xmlns:a16="http://schemas.microsoft.com/office/drawing/2014/main" id="{15E4C8ED-7C1D-F41F-CFD3-DC21D4DDC86D}"/>
              </a:ext>
            </a:extLst>
          </p:cNvPr>
          <p:cNvSpPr/>
          <p:nvPr/>
        </p:nvSpPr>
        <p:spPr>
          <a:xfrm>
            <a:off x="0" y="346507"/>
            <a:ext cx="12192001" cy="854281"/>
          </a:xfrm>
          <a:prstGeom prst="rect">
            <a:avLst/>
          </a:prstGeom>
          <a:solidFill>
            <a:schemeClr val="accent3"/>
          </a:solidFill>
          <a:ln>
            <a:noFill/>
          </a:ln>
        </p:spPr>
        <p:txBody>
          <a:bodyPr spcFirstLastPara="1" wrap="square" lIns="396000" tIns="91425" rIns="91425" bIns="91425" anchor="ctr" anchorCtr="0">
            <a:noAutofit/>
          </a:bodyPr>
          <a:lstStyle/>
          <a:p>
            <a:pPr algn="ctr"/>
            <a:r>
              <a:rPr lang="da-DK" sz="3200" b="1">
                <a:solidFill>
                  <a:schemeClr val="bg1"/>
                </a:solidFill>
                <a:latin typeface="Amatic SC"/>
                <a:ea typeface="Amatic SC"/>
                <a:cs typeface="Amatic SC"/>
                <a:sym typeface="Amatic SC"/>
              </a:rPr>
              <a:t>ledelsen udmønter rolle forskelligt, men bør være tæt på udviklingsproces </a:t>
            </a:r>
            <a:endParaRPr lang="da-DK" sz="3200" b="1">
              <a:solidFill>
                <a:schemeClr val="bg1"/>
              </a:solidFill>
              <a:latin typeface="Amatic SC" panose="00000500000000000000" pitchFamily="2" charset="-79"/>
              <a:cs typeface="Amatic SC" panose="00000500000000000000" pitchFamily="2" charset="-79"/>
            </a:endParaRPr>
          </a:p>
        </p:txBody>
      </p:sp>
      <p:sp>
        <p:nvSpPr>
          <p:cNvPr id="6" name="TextBox 5">
            <a:extLst>
              <a:ext uri="{FF2B5EF4-FFF2-40B4-BE49-F238E27FC236}">
                <a16:creationId xmlns:a16="http://schemas.microsoft.com/office/drawing/2014/main" id="{479CD88A-6E58-621F-7006-85774279DF87}"/>
              </a:ext>
            </a:extLst>
          </p:cNvPr>
          <p:cNvSpPr txBox="1"/>
          <p:nvPr/>
        </p:nvSpPr>
        <p:spPr>
          <a:xfrm>
            <a:off x="770411" y="1583215"/>
            <a:ext cx="6653049" cy="666246"/>
          </a:xfrm>
          <a:prstGeom prst="rect">
            <a:avLst/>
          </a:prstGeom>
          <a:solidFill>
            <a:schemeClr val="accent3"/>
          </a:solidFill>
          <a:ln w="28575">
            <a:solidFill>
              <a:schemeClr val="accent3"/>
            </a:solidFill>
          </a:ln>
        </p:spPr>
        <p:txBody>
          <a:bodyPr wrap="square" lIns="0" tIns="0" rIns="0" bIns="0" rtlCol="0" anchor="ctr">
            <a:noAutofit/>
          </a:bodyPr>
          <a:lstStyle/>
          <a:p>
            <a:pPr algn="ctr"/>
            <a:r>
              <a:rPr lang="da-DK" sz="2400" b="1">
                <a:latin typeface="Amatic SC" panose="00000500000000000000" pitchFamily="2" charset="-79"/>
                <a:cs typeface="Amatic SC" panose="00000500000000000000" pitchFamily="2" charset="-79"/>
              </a:rPr>
              <a:t>fremadrettet kan det styrke ledelsesarbejdet, når ledelsen…</a:t>
            </a:r>
          </a:p>
        </p:txBody>
      </p:sp>
      <p:sp>
        <p:nvSpPr>
          <p:cNvPr id="7" name="TextBox 6">
            <a:extLst>
              <a:ext uri="{FF2B5EF4-FFF2-40B4-BE49-F238E27FC236}">
                <a16:creationId xmlns:a16="http://schemas.microsoft.com/office/drawing/2014/main" id="{BD2606AB-11AB-17EB-93C7-331917089B99}"/>
              </a:ext>
            </a:extLst>
          </p:cNvPr>
          <p:cNvSpPr txBox="1"/>
          <p:nvPr/>
        </p:nvSpPr>
        <p:spPr>
          <a:xfrm>
            <a:off x="873235" y="2518818"/>
            <a:ext cx="6447399" cy="2677656"/>
          </a:xfrm>
          <a:prstGeom prst="rect">
            <a:avLst/>
          </a:prstGeom>
          <a:noFill/>
        </p:spPr>
        <p:txBody>
          <a:bodyPr wrap="square">
            <a:spAutoFit/>
          </a:bodyPr>
          <a:lstStyle/>
          <a:p>
            <a:pPr marL="360000" lvl="1"/>
            <a:r>
              <a:rPr lang="da-DK" sz="1400">
                <a:latin typeface="Quicksand" panose="020B0604020202020204" charset="0"/>
              </a:rPr>
              <a:t>… prioriterer tid til </a:t>
            </a:r>
            <a:r>
              <a:rPr lang="da-DK" sz="1400" b="1">
                <a:latin typeface="Quicksand" panose="020B0604020202020204" charset="0"/>
              </a:rPr>
              <a:t>kontinuerligt at deltage i praksisudvikling </a:t>
            </a:r>
            <a:r>
              <a:rPr lang="da-DK" sz="1400">
                <a:latin typeface="Quicksand" panose="020B0604020202020204" charset="0"/>
              </a:rPr>
              <a:t>sammen med det pædagogiske personale.</a:t>
            </a:r>
          </a:p>
          <a:p>
            <a:pPr marL="360000" lvl="1"/>
            <a:endParaRPr lang="da-DK" sz="1400">
              <a:latin typeface="Quicksand" panose="020B0604020202020204" charset="0"/>
            </a:endParaRPr>
          </a:p>
          <a:p>
            <a:pPr marL="360000" lvl="1"/>
            <a:r>
              <a:rPr lang="da-DK" sz="1400">
                <a:latin typeface="Quicksand" panose="020B0604020202020204" charset="0"/>
              </a:rPr>
              <a:t>… skaber en organisering, </a:t>
            </a:r>
            <a:r>
              <a:rPr lang="da-DK" sz="1400" b="1">
                <a:latin typeface="Quicksand" panose="020B0604020202020204" charset="0"/>
              </a:rPr>
              <a:t>der fremmer teamsamarbejde</a:t>
            </a:r>
            <a:r>
              <a:rPr lang="da-DK" sz="1400">
                <a:latin typeface="Quicksand" panose="020B0604020202020204" charset="0"/>
              </a:rPr>
              <a:t> med fokus på deltagelsesmuligheder for alle.</a:t>
            </a:r>
          </a:p>
          <a:p>
            <a:pPr marL="360000" lvl="1"/>
            <a:endParaRPr lang="da-DK" sz="1400" b="1">
              <a:latin typeface="Quicksand" panose="020B0604020202020204" charset="0"/>
            </a:endParaRPr>
          </a:p>
          <a:p>
            <a:pPr marL="360000" lvl="1"/>
            <a:r>
              <a:rPr lang="da-DK" sz="1400">
                <a:latin typeface="Quicksand" panose="020B0604020202020204" charset="0"/>
              </a:rPr>
              <a:t>… tilrettelægger </a:t>
            </a:r>
            <a:r>
              <a:rPr lang="da-DK" sz="1400" b="1">
                <a:latin typeface="Quicksand" panose="020B0604020202020204" charset="0"/>
              </a:rPr>
              <a:t>systematisk sparring og feedback </a:t>
            </a:r>
            <a:r>
              <a:rPr lang="da-DK" sz="1400">
                <a:latin typeface="Quicksand" panose="020B0604020202020204" charset="0"/>
              </a:rPr>
              <a:t>i forbindelse med aktionslæring. </a:t>
            </a:r>
          </a:p>
          <a:p>
            <a:pPr marL="360000" lvl="1"/>
            <a:endParaRPr lang="da-DK" sz="1400">
              <a:latin typeface="Quicksand" panose="020B0604020202020204" charset="0"/>
            </a:endParaRPr>
          </a:p>
          <a:p>
            <a:pPr marL="360000" lvl="1"/>
            <a:r>
              <a:rPr lang="da-DK" sz="1400">
                <a:latin typeface="Quicksand" panose="020B0604020202020204" charset="0"/>
              </a:rPr>
              <a:t>… styrker </a:t>
            </a:r>
            <a:r>
              <a:rPr lang="da-DK" sz="1400" b="1">
                <a:latin typeface="Quicksand" panose="020B0604020202020204" charset="0"/>
              </a:rPr>
              <a:t>distribueret ledelse til vejledere/nøglepersoner </a:t>
            </a:r>
            <a:r>
              <a:rPr lang="da-DK" sz="1400">
                <a:latin typeface="Quicksand" panose="020B0604020202020204" charset="0"/>
              </a:rPr>
              <a:t>ved at:</a:t>
            </a:r>
          </a:p>
          <a:p>
            <a:pPr marL="576000" lvl="2" indent="-144000">
              <a:buFont typeface="Arial" panose="020B0604020202020204" pitchFamily="34" charset="0"/>
              <a:buChar char="•"/>
            </a:pPr>
            <a:r>
              <a:rPr lang="da-DK" sz="1400">
                <a:latin typeface="Quicksand" panose="020B0604020202020204" charset="0"/>
              </a:rPr>
              <a:t>d</a:t>
            </a:r>
            <a:r>
              <a:rPr lang="da-DK" sz="1400" noProof="0" err="1">
                <a:latin typeface="Quicksand" panose="020B0604020202020204" charset="0"/>
              </a:rPr>
              <a:t>røfte</a:t>
            </a:r>
            <a:r>
              <a:rPr lang="da-DK" sz="1400" noProof="0">
                <a:latin typeface="Quicksand" panose="020B0604020202020204" charset="0"/>
              </a:rPr>
              <a:t> med vejlederne, hvordan de bedst kan bringes i spil</a:t>
            </a:r>
          </a:p>
          <a:p>
            <a:pPr marL="576000" lvl="2" indent="-144000">
              <a:buFont typeface="Arial" panose="020B0604020202020204" pitchFamily="34" charset="0"/>
              <a:buChar char="•"/>
            </a:pPr>
            <a:r>
              <a:rPr lang="da-DK" sz="1400">
                <a:latin typeface="Quicksand" panose="020B0604020202020204" charset="0"/>
              </a:rPr>
              <a:t>kommunikerer vejledernes rolle til det pædagogiske personale.</a:t>
            </a:r>
            <a:endParaRPr lang="da-DK" sz="1400" b="1">
              <a:latin typeface="Quicksand" panose="020B0604020202020204" charset="0"/>
            </a:endParaRPr>
          </a:p>
        </p:txBody>
      </p:sp>
      <p:sp>
        <p:nvSpPr>
          <p:cNvPr id="11" name="TextBox 10">
            <a:extLst>
              <a:ext uri="{FF2B5EF4-FFF2-40B4-BE49-F238E27FC236}">
                <a16:creationId xmlns:a16="http://schemas.microsoft.com/office/drawing/2014/main" id="{6522811D-D684-D540-607B-3B8A9E427BF6}"/>
              </a:ext>
            </a:extLst>
          </p:cNvPr>
          <p:cNvSpPr txBox="1"/>
          <p:nvPr/>
        </p:nvSpPr>
        <p:spPr>
          <a:xfrm>
            <a:off x="8428257" y="2359062"/>
            <a:ext cx="2993331" cy="1600438"/>
          </a:xfrm>
          <a:prstGeom prst="rect">
            <a:avLst/>
          </a:prstGeom>
          <a:noFill/>
          <a:ln>
            <a:noFill/>
          </a:ln>
        </p:spPr>
        <p:txBody>
          <a:bodyPr wrap="square" lIns="0" tIns="0" rIns="0" bIns="0" rtlCol="0">
            <a:spAutoFit/>
          </a:bodyPr>
          <a:lstStyle/>
          <a:p>
            <a:r>
              <a:rPr lang="da-DK" sz="1400" dirty="0">
                <a:solidFill>
                  <a:schemeClr val="accent3"/>
                </a:solidFill>
                <a:latin typeface="Quicksand" panose="020B0604020202020204"/>
                <a:cs typeface="Quicksand" panose="020B0604020202020204" charset="0"/>
              </a:rPr>
              <a:t>Jeg kunne måske godt savne en smule mere, at ledelsen gik ind i den her sparring. De ser alting, men vi kunne godt blive bedre til at bruge de observationer til noget konkret efterfølgende og få sparring omkring det.</a:t>
            </a:r>
          </a:p>
          <a:p>
            <a:pPr algn="r"/>
            <a:r>
              <a:rPr lang="da-DK" sz="1000" i="1" dirty="0">
                <a:solidFill>
                  <a:schemeClr val="accent3"/>
                </a:solidFill>
                <a:latin typeface="Quicksand" panose="020B0604020202020204" charset="0"/>
                <a:cs typeface="Quicksand" panose="020B0604020202020204" charset="0"/>
              </a:rPr>
              <a:t>Pædagogisk personale</a:t>
            </a:r>
          </a:p>
          <a:p>
            <a:pPr algn="r"/>
            <a:endParaRPr lang="da-DK" sz="1000" i="1" dirty="0">
              <a:solidFill>
                <a:schemeClr val="accent3"/>
              </a:solidFill>
              <a:latin typeface="Quicksand" panose="020B0604020202020204"/>
              <a:cs typeface="Quicksand" panose="020B0604020202020204" charset="0"/>
            </a:endParaRPr>
          </a:p>
        </p:txBody>
      </p:sp>
      <p:sp>
        <p:nvSpPr>
          <p:cNvPr id="9" name="Google Shape;1217;p48">
            <a:extLst>
              <a:ext uri="{FF2B5EF4-FFF2-40B4-BE49-F238E27FC236}">
                <a16:creationId xmlns:a16="http://schemas.microsoft.com/office/drawing/2014/main" id="{D5204988-1D54-BC7F-713E-542450C07459}"/>
              </a:ext>
            </a:extLst>
          </p:cNvPr>
          <p:cNvSpPr/>
          <p:nvPr/>
        </p:nvSpPr>
        <p:spPr>
          <a:xfrm>
            <a:off x="929783" y="1721132"/>
            <a:ext cx="414830" cy="366421"/>
          </a:xfrm>
          <a:custGeom>
            <a:avLst/>
            <a:gdLst/>
            <a:ahLst/>
            <a:cxnLst/>
            <a:rect l="l" t="t" r="r" b="b"/>
            <a:pathLst>
              <a:path w="18981" h="16766" extrusionOk="0">
                <a:moveTo>
                  <a:pt x="5451" y="5475"/>
                </a:moveTo>
                <a:lnTo>
                  <a:pt x="5257" y="5548"/>
                </a:lnTo>
                <a:lnTo>
                  <a:pt x="5159" y="5597"/>
                </a:lnTo>
                <a:lnTo>
                  <a:pt x="5062" y="5670"/>
                </a:lnTo>
                <a:lnTo>
                  <a:pt x="5013" y="5743"/>
                </a:lnTo>
                <a:lnTo>
                  <a:pt x="4965" y="5816"/>
                </a:lnTo>
                <a:lnTo>
                  <a:pt x="4940" y="5889"/>
                </a:lnTo>
                <a:lnTo>
                  <a:pt x="4965" y="5962"/>
                </a:lnTo>
                <a:lnTo>
                  <a:pt x="5013" y="6011"/>
                </a:lnTo>
                <a:lnTo>
                  <a:pt x="5086" y="6059"/>
                </a:lnTo>
                <a:lnTo>
                  <a:pt x="5208" y="6059"/>
                </a:lnTo>
                <a:lnTo>
                  <a:pt x="5354" y="6035"/>
                </a:lnTo>
                <a:lnTo>
                  <a:pt x="5476" y="6011"/>
                </a:lnTo>
                <a:lnTo>
                  <a:pt x="5695" y="6011"/>
                </a:lnTo>
                <a:lnTo>
                  <a:pt x="5792" y="5986"/>
                </a:lnTo>
                <a:lnTo>
                  <a:pt x="5865" y="5913"/>
                </a:lnTo>
                <a:lnTo>
                  <a:pt x="5914" y="5816"/>
                </a:lnTo>
                <a:lnTo>
                  <a:pt x="5938" y="5743"/>
                </a:lnTo>
                <a:lnTo>
                  <a:pt x="5938" y="5694"/>
                </a:lnTo>
                <a:lnTo>
                  <a:pt x="5889" y="5573"/>
                </a:lnTo>
                <a:lnTo>
                  <a:pt x="5792" y="5500"/>
                </a:lnTo>
                <a:lnTo>
                  <a:pt x="5670" y="5475"/>
                </a:lnTo>
                <a:close/>
                <a:moveTo>
                  <a:pt x="4575" y="5986"/>
                </a:moveTo>
                <a:lnTo>
                  <a:pt x="4454" y="6011"/>
                </a:lnTo>
                <a:lnTo>
                  <a:pt x="4356" y="6035"/>
                </a:lnTo>
                <a:lnTo>
                  <a:pt x="4259" y="6084"/>
                </a:lnTo>
                <a:lnTo>
                  <a:pt x="4113" y="6205"/>
                </a:lnTo>
                <a:lnTo>
                  <a:pt x="4040" y="6254"/>
                </a:lnTo>
                <a:lnTo>
                  <a:pt x="3991" y="6351"/>
                </a:lnTo>
                <a:lnTo>
                  <a:pt x="3967" y="6424"/>
                </a:lnTo>
                <a:lnTo>
                  <a:pt x="3991" y="6522"/>
                </a:lnTo>
                <a:lnTo>
                  <a:pt x="4064" y="6570"/>
                </a:lnTo>
                <a:lnTo>
                  <a:pt x="4162" y="6619"/>
                </a:lnTo>
                <a:lnTo>
                  <a:pt x="4283" y="6595"/>
                </a:lnTo>
                <a:lnTo>
                  <a:pt x="4429" y="6546"/>
                </a:lnTo>
                <a:lnTo>
                  <a:pt x="4527" y="6522"/>
                </a:lnTo>
                <a:lnTo>
                  <a:pt x="4551" y="6497"/>
                </a:lnTo>
                <a:lnTo>
                  <a:pt x="4648" y="6473"/>
                </a:lnTo>
                <a:lnTo>
                  <a:pt x="4721" y="6424"/>
                </a:lnTo>
                <a:lnTo>
                  <a:pt x="4794" y="6327"/>
                </a:lnTo>
                <a:lnTo>
                  <a:pt x="4794" y="6205"/>
                </a:lnTo>
                <a:lnTo>
                  <a:pt x="4770" y="6108"/>
                </a:lnTo>
                <a:lnTo>
                  <a:pt x="4673" y="6035"/>
                </a:lnTo>
                <a:lnTo>
                  <a:pt x="4575" y="5986"/>
                </a:lnTo>
                <a:close/>
                <a:moveTo>
                  <a:pt x="7593" y="5962"/>
                </a:moveTo>
                <a:lnTo>
                  <a:pt x="7495" y="6011"/>
                </a:lnTo>
                <a:lnTo>
                  <a:pt x="7447" y="6059"/>
                </a:lnTo>
                <a:lnTo>
                  <a:pt x="7398" y="6132"/>
                </a:lnTo>
                <a:lnTo>
                  <a:pt x="7398" y="6181"/>
                </a:lnTo>
                <a:lnTo>
                  <a:pt x="7422" y="6254"/>
                </a:lnTo>
                <a:lnTo>
                  <a:pt x="7520" y="6351"/>
                </a:lnTo>
                <a:lnTo>
                  <a:pt x="7593" y="6424"/>
                </a:lnTo>
                <a:lnTo>
                  <a:pt x="7641" y="6449"/>
                </a:lnTo>
                <a:lnTo>
                  <a:pt x="7666" y="6473"/>
                </a:lnTo>
                <a:lnTo>
                  <a:pt x="7690" y="6497"/>
                </a:lnTo>
                <a:lnTo>
                  <a:pt x="7714" y="6546"/>
                </a:lnTo>
                <a:lnTo>
                  <a:pt x="7763" y="6619"/>
                </a:lnTo>
                <a:lnTo>
                  <a:pt x="7787" y="6668"/>
                </a:lnTo>
                <a:lnTo>
                  <a:pt x="7812" y="6692"/>
                </a:lnTo>
                <a:lnTo>
                  <a:pt x="7909" y="6741"/>
                </a:lnTo>
                <a:lnTo>
                  <a:pt x="8031" y="6741"/>
                </a:lnTo>
                <a:lnTo>
                  <a:pt x="8128" y="6716"/>
                </a:lnTo>
                <a:lnTo>
                  <a:pt x="8201" y="6643"/>
                </a:lnTo>
                <a:lnTo>
                  <a:pt x="8250" y="6546"/>
                </a:lnTo>
                <a:lnTo>
                  <a:pt x="8250" y="6449"/>
                </a:lnTo>
                <a:lnTo>
                  <a:pt x="8225" y="6351"/>
                </a:lnTo>
                <a:lnTo>
                  <a:pt x="8177" y="6254"/>
                </a:lnTo>
                <a:lnTo>
                  <a:pt x="8104" y="6181"/>
                </a:lnTo>
                <a:lnTo>
                  <a:pt x="8006" y="6108"/>
                </a:lnTo>
                <a:lnTo>
                  <a:pt x="7909" y="6035"/>
                </a:lnTo>
                <a:lnTo>
                  <a:pt x="7812" y="5986"/>
                </a:lnTo>
                <a:lnTo>
                  <a:pt x="7690" y="5962"/>
                </a:lnTo>
                <a:close/>
                <a:moveTo>
                  <a:pt x="3578" y="6741"/>
                </a:moveTo>
                <a:lnTo>
                  <a:pt x="3456" y="6765"/>
                </a:lnTo>
                <a:lnTo>
                  <a:pt x="3359" y="6814"/>
                </a:lnTo>
                <a:lnTo>
                  <a:pt x="3286" y="6887"/>
                </a:lnTo>
                <a:lnTo>
                  <a:pt x="3189" y="6960"/>
                </a:lnTo>
                <a:lnTo>
                  <a:pt x="3140" y="7081"/>
                </a:lnTo>
                <a:lnTo>
                  <a:pt x="3091" y="7179"/>
                </a:lnTo>
                <a:lnTo>
                  <a:pt x="3067" y="7300"/>
                </a:lnTo>
                <a:lnTo>
                  <a:pt x="3067" y="7398"/>
                </a:lnTo>
                <a:lnTo>
                  <a:pt x="3091" y="7446"/>
                </a:lnTo>
                <a:lnTo>
                  <a:pt x="3116" y="7471"/>
                </a:lnTo>
                <a:lnTo>
                  <a:pt x="3189" y="7519"/>
                </a:lnTo>
                <a:lnTo>
                  <a:pt x="3286" y="7544"/>
                </a:lnTo>
                <a:lnTo>
                  <a:pt x="3359" y="7519"/>
                </a:lnTo>
                <a:lnTo>
                  <a:pt x="3481" y="7446"/>
                </a:lnTo>
                <a:lnTo>
                  <a:pt x="3554" y="7325"/>
                </a:lnTo>
                <a:lnTo>
                  <a:pt x="3627" y="7276"/>
                </a:lnTo>
                <a:lnTo>
                  <a:pt x="3651" y="7252"/>
                </a:lnTo>
                <a:lnTo>
                  <a:pt x="3700" y="7227"/>
                </a:lnTo>
                <a:lnTo>
                  <a:pt x="3773" y="7179"/>
                </a:lnTo>
                <a:lnTo>
                  <a:pt x="3821" y="7106"/>
                </a:lnTo>
                <a:lnTo>
                  <a:pt x="3821" y="7033"/>
                </a:lnTo>
                <a:lnTo>
                  <a:pt x="3821" y="6935"/>
                </a:lnTo>
                <a:lnTo>
                  <a:pt x="3797" y="6862"/>
                </a:lnTo>
                <a:lnTo>
                  <a:pt x="3724" y="6789"/>
                </a:lnTo>
                <a:lnTo>
                  <a:pt x="3651" y="6765"/>
                </a:lnTo>
                <a:lnTo>
                  <a:pt x="3578" y="6741"/>
                </a:lnTo>
                <a:close/>
                <a:moveTo>
                  <a:pt x="16863" y="4526"/>
                </a:moveTo>
                <a:lnTo>
                  <a:pt x="16766" y="4575"/>
                </a:lnTo>
                <a:lnTo>
                  <a:pt x="16693" y="4624"/>
                </a:lnTo>
                <a:lnTo>
                  <a:pt x="16620" y="4697"/>
                </a:lnTo>
                <a:lnTo>
                  <a:pt x="16498" y="4843"/>
                </a:lnTo>
                <a:lnTo>
                  <a:pt x="16401" y="5037"/>
                </a:lnTo>
                <a:lnTo>
                  <a:pt x="16158" y="5500"/>
                </a:lnTo>
                <a:lnTo>
                  <a:pt x="15914" y="5962"/>
                </a:lnTo>
                <a:lnTo>
                  <a:pt x="15647" y="5816"/>
                </a:lnTo>
                <a:lnTo>
                  <a:pt x="15501" y="5719"/>
                </a:lnTo>
                <a:lnTo>
                  <a:pt x="15355" y="5670"/>
                </a:lnTo>
                <a:lnTo>
                  <a:pt x="15233" y="5646"/>
                </a:lnTo>
                <a:lnTo>
                  <a:pt x="15087" y="5597"/>
                </a:lnTo>
                <a:lnTo>
                  <a:pt x="15038" y="5573"/>
                </a:lnTo>
                <a:lnTo>
                  <a:pt x="15014" y="5573"/>
                </a:lnTo>
                <a:lnTo>
                  <a:pt x="14917" y="5621"/>
                </a:lnTo>
                <a:lnTo>
                  <a:pt x="14892" y="5646"/>
                </a:lnTo>
                <a:lnTo>
                  <a:pt x="14844" y="5694"/>
                </a:lnTo>
                <a:lnTo>
                  <a:pt x="14844" y="5767"/>
                </a:lnTo>
                <a:lnTo>
                  <a:pt x="14868" y="5840"/>
                </a:lnTo>
                <a:lnTo>
                  <a:pt x="14892" y="5913"/>
                </a:lnTo>
                <a:lnTo>
                  <a:pt x="15087" y="6059"/>
                </a:lnTo>
                <a:lnTo>
                  <a:pt x="15282" y="6181"/>
                </a:lnTo>
                <a:lnTo>
                  <a:pt x="15671" y="6424"/>
                </a:lnTo>
                <a:lnTo>
                  <a:pt x="15355" y="6984"/>
                </a:lnTo>
                <a:lnTo>
                  <a:pt x="15160" y="7252"/>
                </a:lnTo>
                <a:lnTo>
                  <a:pt x="14965" y="7519"/>
                </a:lnTo>
                <a:lnTo>
                  <a:pt x="14941" y="7592"/>
                </a:lnTo>
                <a:lnTo>
                  <a:pt x="14941" y="7641"/>
                </a:lnTo>
                <a:lnTo>
                  <a:pt x="14941" y="7714"/>
                </a:lnTo>
                <a:lnTo>
                  <a:pt x="14965" y="7763"/>
                </a:lnTo>
                <a:lnTo>
                  <a:pt x="15014" y="7836"/>
                </a:lnTo>
                <a:lnTo>
                  <a:pt x="15063" y="7860"/>
                </a:lnTo>
                <a:lnTo>
                  <a:pt x="15111" y="7884"/>
                </a:lnTo>
                <a:lnTo>
                  <a:pt x="15184" y="7909"/>
                </a:lnTo>
                <a:lnTo>
                  <a:pt x="15257" y="7884"/>
                </a:lnTo>
                <a:lnTo>
                  <a:pt x="15355" y="7860"/>
                </a:lnTo>
                <a:lnTo>
                  <a:pt x="15501" y="7763"/>
                </a:lnTo>
                <a:lnTo>
                  <a:pt x="15622" y="7641"/>
                </a:lnTo>
                <a:lnTo>
                  <a:pt x="15744" y="7471"/>
                </a:lnTo>
                <a:lnTo>
                  <a:pt x="15866" y="7276"/>
                </a:lnTo>
                <a:lnTo>
                  <a:pt x="15963" y="7081"/>
                </a:lnTo>
                <a:lnTo>
                  <a:pt x="16133" y="6716"/>
                </a:lnTo>
                <a:lnTo>
                  <a:pt x="16328" y="6862"/>
                </a:lnTo>
                <a:lnTo>
                  <a:pt x="16523" y="7008"/>
                </a:lnTo>
                <a:lnTo>
                  <a:pt x="16742" y="7106"/>
                </a:lnTo>
                <a:lnTo>
                  <a:pt x="16839" y="7130"/>
                </a:lnTo>
                <a:lnTo>
                  <a:pt x="16961" y="7154"/>
                </a:lnTo>
                <a:lnTo>
                  <a:pt x="17034" y="7130"/>
                </a:lnTo>
                <a:lnTo>
                  <a:pt x="17082" y="7106"/>
                </a:lnTo>
                <a:lnTo>
                  <a:pt x="17131" y="7057"/>
                </a:lnTo>
                <a:lnTo>
                  <a:pt x="17155" y="7008"/>
                </a:lnTo>
                <a:lnTo>
                  <a:pt x="17180" y="6960"/>
                </a:lnTo>
                <a:lnTo>
                  <a:pt x="17180" y="6887"/>
                </a:lnTo>
                <a:lnTo>
                  <a:pt x="17155" y="6814"/>
                </a:lnTo>
                <a:lnTo>
                  <a:pt x="17131" y="6765"/>
                </a:lnTo>
                <a:lnTo>
                  <a:pt x="16961" y="6619"/>
                </a:lnTo>
                <a:lnTo>
                  <a:pt x="16766" y="6497"/>
                </a:lnTo>
                <a:lnTo>
                  <a:pt x="16377" y="6254"/>
                </a:lnTo>
                <a:lnTo>
                  <a:pt x="16644" y="5670"/>
                </a:lnTo>
                <a:lnTo>
                  <a:pt x="16766" y="5427"/>
                </a:lnTo>
                <a:lnTo>
                  <a:pt x="16912" y="5183"/>
                </a:lnTo>
                <a:lnTo>
                  <a:pt x="17034" y="4916"/>
                </a:lnTo>
                <a:lnTo>
                  <a:pt x="17082" y="4770"/>
                </a:lnTo>
                <a:lnTo>
                  <a:pt x="17082" y="4648"/>
                </a:lnTo>
                <a:lnTo>
                  <a:pt x="17082" y="4599"/>
                </a:lnTo>
                <a:lnTo>
                  <a:pt x="17058" y="4551"/>
                </a:lnTo>
                <a:lnTo>
                  <a:pt x="17009" y="4526"/>
                </a:lnTo>
                <a:close/>
                <a:moveTo>
                  <a:pt x="8420" y="6838"/>
                </a:moveTo>
                <a:lnTo>
                  <a:pt x="8371" y="6862"/>
                </a:lnTo>
                <a:lnTo>
                  <a:pt x="8298" y="6911"/>
                </a:lnTo>
                <a:lnTo>
                  <a:pt x="8274" y="6984"/>
                </a:lnTo>
                <a:lnTo>
                  <a:pt x="8250" y="7081"/>
                </a:lnTo>
                <a:lnTo>
                  <a:pt x="8274" y="7179"/>
                </a:lnTo>
                <a:lnTo>
                  <a:pt x="8298" y="7276"/>
                </a:lnTo>
                <a:lnTo>
                  <a:pt x="8347" y="7373"/>
                </a:lnTo>
                <a:lnTo>
                  <a:pt x="8420" y="7519"/>
                </a:lnTo>
                <a:lnTo>
                  <a:pt x="8444" y="7665"/>
                </a:lnTo>
                <a:lnTo>
                  <a:pt x="8444" y="7763"/>
                </a:lnTo>
                <a:lnTo>
                  <a:pt x="8493" y="7836"/>
                </a:lnTo>
                <a:lnTo>
                  <a:pt x="8566" y="7909"/>
                </a:lnTo>
                <a:lnTo>
                  <a:pt x="8663" y="7933"/>
                </a:lnTo>
                <a:lnTo>
                  <a:pt x="8761" y="7957"/>
                </a:lnTo>
                <a:lnTo>
                  <a:pt x="8882" y="7909"/>
                </a:lnTo>
                <a:lnTo>
                  <a:pt x="8980" y="7836"/>
                </a:lnTo>
                <a:lnTo>
                  <a:pt x="9004" y="7787"/>
                </a:lnTo>
                <a:lnTo>
                  <a:pt x="9028" y="7738"/>
                </a:lnTo>
                <a:lnTo>
                  <a:pt x="9028" y="7592"/>
                </a:lnTo>
                <a:lnTo>
                  <a:pt x="9004" y="7446"/>
                </a:lnTo>
                <a:lnTo>
                  <a:pt x="8955" y="7325"/>
                </a:lnTo>
                <a:lnTo>
                  <a:pt x="8882" y="7179"/>
                </a:lnTo>
                <a:lnTo>
                  <a:pt x="8809" y="7057"/>
                </a:lnTo>
                <a:lnTo>
                  <a:pt x="8712" y="6960"/>
                </a:lnTo>
                <a:lnTo>
                  <a:pt x="8663" y="6911"/>
                </a:lnTo>
                <a:lnTo>
                  <a:pt x="8615" y="6862"/>
                </a:lnTo>
                <a:lnTo>
                  <a:pt x="8542" y="6838"/>
                </a:lnTo>
                <a:close/>
                <a:moveTo>
                  <a:pt x="16255" y="7495"/>
                </a:moveTo>
                <a:lnTo>
                  <a:pt x="16206" y="7544"/>
                </a:lnTo>
                <a:lnTo>
                  <a:pt x="16158" y="7592"/>
                </a:lnTo>
                <a:lnTo>
                  <a:pt x="16158" y="7714"/>
                </a:lnTo>
                <a:lnTo>
                  <a:pt x="16158" y="7836"/>
                </a:lnTo>
                <a:lnTo>
                  <a:pt x="16206" y="7982"/>
                </a:lnTo>
                <a:lnTo>
                  <a:pt x="16231" y="8030"/>
                </a:lnTo>
                <a:lnTo>
                  <a:pt x="16279" y="8079"/>
                </a:lnTo>
                <a:lnTo>
                  <a:pt x="16304" y="8103"/>
                </a:lnTo>
                <a:lnTo>
                  <a:pt x="16377" y="8128"/>
                </a:lnTo>
                <a:lnTo>
                  <a:pt x="16474" y="8128"/>
                </a:lnTo>
                <a:lnTo>
                  <a:pt x="16523" y="8103"/>
                </a:lnTo>
                <a:lnTo>
                  <a:pt x="16547" y="8055"/>
                </a:lnTo>
                <a:lnTo>
                  <a:pt x="16571" y="8006"/>
                </a:lnTo>
                <a:lnTo>
                  <a:pt x="16571" y="7957"/>
                </a:lnTo>
                <a:lnTo>
                  <a:pt x="16547" y="7836"/>
                </a:lnTo>
                <a:lnTo>
                  <a:pt x="16523" y="7738"/>
                </a:lnTo>
                <a:lnTo>
                  <a:pt x="16474" y="7641"/>
                </a:lnTo>
                <a:lnTo>
                  <a:pt x="16401" y="7544"/>
                </a:lnTo>
                <a:lnTo>
                  <a:pt x="16328" y="7495"/>
                </a:lnTo>
                <a:close/>
                <a:moveTo>
                  <a:pt x="2897" y="7836"/>
                </a:moveTo>
                <a:lnTo>
                  <a:pt x="2799" y="7860"/>
                </a:lnTo>
                <a:lnTo>
                  <a:pt x="2702" y="7909"/>
                </a:lnTo>
                <a:lnTo>
                  <a:pt x="2629" y="7982"/>
                </a:lnTo>
                <a:lnTo>
                  <a:pt x="2556" y="8079"/>
                </a:lnTo>
                <a:lnTo>
                  <a:pt x="2507" y="8201"/>
                </a:lnTo>
                <a:lnTo>
                  <a:pt x="2507" y="8347"/>
                </a:lnTo>
                <a:lnTo>
                  <a:pt x="2507" y="8468"/>
                </a:lnTo>
                <a:lnTo>
                  <a:pt x="2556" y="8517"/>
                </a:lnTo>
                <a:lnTo>
                  <a:pt x="2580" y="8566"/>
                </a:lnTo>
                <a:lnTo>
                  <a:pt x="2678" y="8614"/>
                </a:lnTo>
                <a:lnTo>
                  <a:pt x="2799" y="8614"/>
                </a:lnTo>
                <a:lnTo>
                  <a:pt x="2848" y="8590"/>
                </a:lnTo>
                <a:lnTo>
                  <a:pt x="2897" y="8566"/>
                </a:lnTo>
                <a:lnTo>
                  <a:pt x="2970" y="8493"/>
                </a:lnTo>
                <a:lnTo>
                  <a:pt x="3018" y="8420"/>
                </a:lnTo>
                <a:lnTo>
                  <a:pt x="3116" y="8274"/>
                </a:lnTo>
                <a:lnTo>
                  <a:pt x="3140" y="8152"/>
                </a:lnTo>
                <a:lnTo>
                  <a:pt x="3140" y="8055"/>
                </a:lnTo>
                <a:lnTo>
                  <a:pt x="3091" y="7957"/>
                </a:lnTo>
                <a:lnTo>
                  <a:pt x="3018" y="7884"/>
                </a:lnTo>
                <a:lnTo>
                  <a:pt x="2897" y="7836"/>
                </a:lnTo>
                <a:close/>
                <a:moveTo>
                  <a:pt x="8955" y="8152"/>
                </a:moveTo>
                <a:lnTo>
                  <a:pt x="8882" y="8201"/>
                </a:lnTo>
                <a:lnTo>
                  <a:pt x="8858" y="8274"/>
                </a:lnTo>
                <a:lnTo>
                  <a:pt x="8858" y="8371"/>
                </a:lnTo>
                <a:lnTo>
                  <a:pt x="8858" y="8468"/>
                </a:lnTo>
                <a:lnTo>
                  <a:pt x="8907" y="8639"/>
                </a:lnTo>
                <a:lnTo>
                  <a:pt x="8955" y="8760"/>
                </a:lnTo>
                <a:lnTo>
                  <a:pt x="8980" y="8858"/>
                </a:lnTo>
                <a:lnTo>
                  <a:pt x="9053" y="8955"/>
                </a:lnTo>
                <a:lnTo>
                  <a:pt x="9101" y="9004"/>
                </a:lnTo>
                <a:lnTo>
                  <a:pt x="9150" y="9028"/>
                </a:lnTo>
                <a:lnTo>
                  <a:pt x="9296" y="9028"/>
                </a:lnTo>
                <a:lnTo>
                  <a:pt x="9369" y="8979"/>
                </a:lnTo>
                <a:lnTo>
                  <a:pt x="9393" y="8931"/>
                </a:lnTo>
                <a:lnTo>
                  <a:pt x="9418" y="8858"/>
                </a:lnTo>
                <a:lnTo>
                  <a:pt x="9418" y="8785"/>
                </a:lnTo>
                <a:lnTo>
                  <a:pt x="9393" y="8639"/>
                </a:lnTo>
                <a:lnTo>
                  <a:pt x="9369" y="8614"/>
                </a:lnTo>
                <a:lnTo>
                  <a:pt x="9345" y="8517"/>
                </a:lnTo>
                <a:lnTo>
                  <a:pt x="9247" y="8322"/>
                </a:lnTo>
                <a:lnTo>
                  <a:pt x="9199" y="8225"/>
                </a:lnTo>
                <a:lnTo>
                  <a:pt x="9101" y="8176"/>
                </a:lnTo>
                <a:lnTo>
                  <a:pt x="9028" y="8152"/>
                </a:lnTo>
                <a:close/>
                <a:moveTo>
                  <a:pt x="16352" y="8541"/>
                </a:moveTo>
                <a:lnTo>
                  <a:pt x="16279" y="8566"/>
                </a:lnTo>
                <a:lnTo>
                  <a:pt x="16231" y="8614"/>
                </a:lnTo>
                <a:lnTo>
                  <a:pt x="16206" y="8663"/>
                </a:lnTo>
                <a:lnTo>
                  <a:pt x="16182" y="8736"/>
                </a:lnTo>
                <a:lnTo>
                  <a:pt x="16182" y="8858"/>
                </a:lnTo>
                <a:lnTo>
                  <a:pt x="16206" y="8979"/>
                </a:lnTo>
                <a:lnTo>
                  <a:pt x="16231" y="9174"/>
                </a:lnTo>
                <a:lnTo>
                  <a:pt x="16255" y="9296"/>
                </a:lnTo>
                <a:lnTo>
                  <a:pt x="16304" y="9369"/>
                </a:lnTo>
                <a:lnTo>
                  <a:pt x="16401" y="9417"/>
                </a:lnTo>
                <a:lnTo>
                  <a:pt x="16498" y="9417"/>
                </a:lnTo>
                <a:lnTo>
                  <a:pt x="16596" y="9393"/>
                </a:lnTo>
                <a:lnTo>
                  <a:pt x="16669" y="9320"/>
                </a:lnTo>
                <a:lnTo>
                  <a:pt x="16693" y="9223"/>
                </a:lnTo>
                <a:lnTo>
                  <a:pt x="16693" y="9101"/>
                </a:lnTo>
                <a:lnTo>
                  <a:pt x="16644" y="8882"/>
                </a:lnTo>
                <a:lnTo>
                  <a:pt x="16596" y="8760"/>
                </a:lnTo>
                <a:lnTo>
                  <a:pt x="16547" y="8639"/>
                </a:lnTo>
                <a:lnTo>
                  <a:pt x="16523" y="8590"/>
                </a:lnTo>
                <a:lnTo>
                  <a:pt x="16474" y="8541"/>
                </a:lnTo>
                <a:close/>
                <a:moveTo>
                  <a:pt x="2434" y="9077"/>
                </a:moveTo>
                <a:lnTo>
                  <a:pt x="2337" y="9101"/>
                </a:lnTo>
                <a:lnTo>
                  <a:pt x="2264" y="9125"/>
                </a:lnTo>
                <a:lnTo>
                  <a:pt x="2191" y="9198"/>
                </a:lnTo>
                <a:lnTo>
                  <a:pt x="2142" y="9271"/>
                </a:lnTo>
                <a:lnTo>
                  <a:pt x="2118" y="9369"/>
                </a:lnTo>
                <a:lnTo>
                  <a:pt x="2094" y="9515"/>
                </a:lnTo>
                <a:lnTo>
                  <a:pt x="2094" y="9612"/>
                </a:lnTo>
                <a:lnTo>
                  <a:pt x="2094" y="9685"/>
                </a:lnTo>
                <a:lnTo>
                  <a:pt x="2118" y="9782"/>
                </a:lnTo>
                <a:lnTo>
                  <a:pt x="2191" y="9831"/>
                </a:lnTo>
                <a:lnTo>
                  <a:pt x="2240" y="9879"/>
                </a:lnTo>
                <a:lnTo>
                  <a:pt x="2337" y="9904"/>
                </a:lnTo>
                <a:lnTo>
                  <a:pt x="2410" y="9879"/>
                </a:lnTo>
                <a:lnTo>
                  <a:pt x="2483" y="9831"/>
                </a:lnTo>
                <a:lnTo>
                  <a:pt x="2556" y="9733"/>
                </a:lnTo>
                <a:lnTo>
                  <a:pt x="2580" y="9612"/>
                </a:lnTo>
                <a:lnTo>
                  <a:pt x="2653" y="9417"/>
                </a:lnTo>
                <a:lnTo>
                  <a:pt x="2653" y="9320"/>
                </a:lnTo>
                <a:lnTo>
                  <a:pt x="2653" y="9247"/>
                </a:lnTo>
                <a:lnTo>
                  <a:pt x="2605" y="9174"/>
                </a:lnTo>
                <a:lnTo>
                  <a:pt x="2532" y="9125"/>
                </a:lnTo>
                <a:lnTo>
                  <a:pt x="2434" y="9077"/>
                </a:lnTo>
                <a:close/>
                <a:moveTo>
                  <a:pt x="9272" y="9296"/>
                </a:moveTo>
                <a:lnTo>
                  <a:pt x="9199" y="9344"/>
                </a:lnTo>
                <a:lnTo>
                  <a:pt x="9101" y="9417"/>
                </a:lnTo>
                <a:lnTo>
                  <a:pt x="9077" y="9539"/>
                </a:lnTo>
                <a:lnTo>
                  <a:pt x="9053" y="9661"/>
                </a:lnTo>
                <a:lnTo>
                  <a:pt x="9077" y="9782"/>
                </a:lnTo>
                <a:lnTo>
                  <a:pt x="9126" y="9904"/>
                </a:lnTo>
                <a:lnTo>
                  <a:pt x="9174" y="10001"/>
                </a:lnTo>
                <a:lnTo>
                  <a:pt x="9247" y="10123"/>
                </a:lnTo>
                <a:lnTo>
                  <a:pt x="9320" y="10196"/>
                </a:lnTo>
                <a:lnTo>
                  <a:pt x="9393" y="10220"/>
                </a:lnTo>
                <a:lnTo>
                  <a:pt x="9442" y="10220"/>
                </a:lnTo>
                <a:lnTo>
                  <a:pt x="9564" y="10196"/>
                </a:lnTo>
                <a:lnTo>
                  <a:pt x="9612" y="10147"/>
                </a:lnTo>
                <a:lnTo>
                  <a:pt x="9661" y="10123"/>
                </a:lnTo>
                <a:lnTo>
                  <a:pt x="9685" y="10050"/>
                </a:lnTo>
                <a:lnTo>
                  <a:pt x="9685" y="10001"/>
                </a:lnTo>
                <a:lnTo>
                  <a:pt x="9685" y="9904"/>
                </a:lnTo>
                <a:lnTo>
                  <a:pt x="9637" y="9806"/>
                </a:lnTo>
                <a:lnTo>
                  <a:pt x="9539" y="9636"/>
                </a:lnTo>
                <a:lnTo>
                  <a:pt x="9515" y="9515"/>
                </a:lnTo>
                <a:lnTo>
                  <a:pt x="9442" y="9393"/>
                </a:lnTo>
                <a:lnTo>
                  <a:pt x="9393" y="9344"/>
                </a:lnTo>
                <a:lnTo>
                  <a:pt x="9345" y="9320"/>
                </a:lnTo>
                <a:lnTo>
                  <a:pt x="9272" y="9296"/>
                </a:lnTo>
                <a:close/>
                <a:moveTo>
                  <a:pt x="16231" y="9855"/>
                </a:moveTo>
                <a:lnTo>
                  <a:pt x="16231" y="9879"/>
                </a:lnTo>
                <a:lnTo>
                  <a:pt x="16182" y="9904"/>
                </a:lnTo>
                <a:lnTo>
                  <a:pt x="16133" y="9952"/>
                </a:lnTo>
                <a:lnTo>
                  <a:pt x="16060" y="10098"/>
                </a:lnTo>
                <a:lnTo>
                  <a:pt x="16012" y="10293"/>
                </a:lnTo>
                <a:lnTo>
                  <a:pt x="16012" y="10390"/>
                </a:lnTo>
                <a:lnTo>
                  <a:pt x="16012" y="10463"/>
                </a:lnTo>
                <a:lnTo>
                  <a:pt x="16085" y="10561"/>
                </a:lnTo>
                <a:lnTo>
                  <a:pt x="16182" y="10634"/>
                </a:lnTo>
                <a:lnTo>
                  <a:pt x="16304" y="10634"/>
                </a:lnTo>
                <a:lnTo>
                  <a:pt x="16352" y="10609"/>
                </a:lnTo>
                <a:lnTo>
                  <a:pt x="16401" y="10561"/>
                </a:lnTo>
                <a:lnTo>
                  <a:pt x="16450" y="10488"/>
                </a:lnTo>
                <a:lnTo>
                  <a:pt x="16474" y="10415"/>
                </a:lnTo>
                <a:lnTo>
                  <a:pt x="16498" y="10244"/>
                </a:lnTo>
                <a:lnTo>
                  <a:pt x="16498" y="10147"/>
                </a:lnTo>
                <a:lnTo>
                  <a:pt x="16498" y="10050"/>
                </a:lnTo>
                <a:lnTo>
                  <a:pt x="16474" y="9952"/>
                </a:lnTo>
                <a:lnTo>
                  <a:pt x="16425" y="9879"/>
                </a:lnTo>
                <a:lnTo>
                  <a:pt x="16328" y="9855"/>
                </a:lnTo>
                <a:close/>
                <a:moveTo>
                  <a:pt x="2167" y="10244"/>
                </a:moveTo>
                <a:lnTo>
                  <a:pt x="2045" y="10269"/>
                </a:lnTo>
                <a:lnTo>
                  <a:pt x="1972" y="10317"/>
                </a:lnTo>
                <a:lnTo>
                  <a:pt x="1875" y="10463"/>
                </a:lnTo>
                <a:lnTo>
                  <a:pt x="1826" y="10634"/>
                </a:lnTo>
                <a:lnTo>
                  <a:pt x="1802" y="10804"/>
                </a:lnTo>
                <a:lnTo>
                  <a:pt x="1850" y="10926"/>
                </a:lnTo>
                <a:lnTo>
                  <a:pt x="1923" y="11023"/>
                </a:lnTo>
                <a:lnTo>
                  <a:pt x="1948" y="11072"/>
                </a:lnTo>
                <a:lnTo>
                  <a:pt x="2021" y="11096"/>
                </a:lnTo>
                <a:lnTo>
                  <a:pt x="2118" y="11096"/>
                </a:lnTo>
                <a:lnTo>
                  <a:pt x="2191" y="11072"/>
                </a:lnTo>
                <a:lnTo>
                  <a:pt x="2215" y="11023"/>
                </a:lnTo>
                <a:lnTo>
                  <a:pt x="2288" y="10950"/>
                </a:lnTo>
                <a:lnTo>
                  <a:pt x="2313" y="10877"/>
                </a:lnTo>
                <a:lnTo>
                  <a:pt x="2337" y="10780"/>
                </a:lnTo>
                <a:lnTo>
                  <a:pt x="2337" y="10755"/>
                </a:lnTo>
                <a:lnTo>
                  <a:pt x="2337" y="10731"/>
                </a:lnTo>
                <a:lnTo>
                  <a:pt x="2386" y="10658"/>
                </a:lnTo>
                <a:lnTo>
                  <a:pt x="2410" y="10561"/>
                </a:lnTo>
                <a:lnTo>
                  <a:pt x="2434" y="10488"/>
                </a:lnTo>
                <a:lnTo>
                  <a:pt x="2410" y="10390"/>
                </a:lnTo>
                <a:lnTo>
                  <a:pt x="2337" y="10317"/>
                </a:lnTo>
                <a:lnTo>
                  <a:pt x="2264" y="10269"/>
                </a:lnTo>
                <a:lnTo>
                  <a:pt x="2167" y="10244"/>
                </a:lnTo>
                <a:close/>
                <a:moveTo>
                  <a:pt x="9661" y="10512"/>
                </a:moveTo>
                <a:lnTo>
                  <a:pt x="9612" y="10536"/>
                </a:lnTo>
                <a:lnTo>
                  <a:pt x="9539" y="10609"/>
                </a:lnTo>
                <a:lnTo>
                  <a:pt x="9491" y="10658"/>
                </a:lnTo>
                <a:lnTo>
                  <a:pt x="9491" y="10731"/>
                </a:lnTo>
                <a:lnTo>
                  <a:pt x="9491" y="10877"/>
                </a:lnTo>
                <a:lnTo>
                  <a:pt x="9539" y="11023"/>
                </a:lnTo>
                <a:lnTo>
                  <a:pt x="9588" y="11169"/>
                </a:lnTo>
                <a:lnTo>
                  <a:pt x="9637" y="11242"/>
                </a:lnTo>
                <a:lnTo>
                  <a:pt x="9710" y="11315"/>
                </a:lnTo>
                <a:lnTo>
                  <a:pt x="9783" y="11339"/>
                </a:lnTo>
                <a:lnTo>
                  <a:pt x="9880" y="11339"/>
                </a:lnTo>
                <a:lnTo>
                  <a:pt x="9977" y="11291"/>
                </a:lnTo>
                <a:lnTo>
                  <a:pt x="10026" y="11218"/>
                </a:lnTo>
                <a:lnTo>
                  <a:pt x="10075" y="11120"/>
                </a:lnTo>
                <a:lnTo>
                  <a:pt x="10050" y="11023"/>
                </a:lnTo>
                <a:lnTo>
                  <a:pt x="10002" y="10877"/>
                </a:lnTo>
                <a:lnTo>
                  <a:pt x="9929" y="10731"/>
                </a:lnTo>
                <a:lnTo>
                  <a:pt x="9831" y="10609"/>
                </a:lnTo>
                <a:lnTo>
                  <a:pt x="9783" y="10561"/>
                </a:lnTo>
                <a:lnTo>
                  <a:pt x="9710" y="10536"/>
                </a:lnTo>
                <a:lnTo>
                  <a:pt x="9661" y="10512"/>
                </a:lnTo>
                <a:close/>
                <a:moveTo>
                  <a:pt x="15987" y="10999"/>
                </a:moveTo>
                <a:lnTo>
                  <a:pt x="15890" y="11047"/>
                </a:lnTo>
                <a:lnTo>
                  <a:pt x="15817" y="11120"/>
                </a:lnTo>
                <a:lnTo>
                  <a:pt x="15720" y="11291"/>
                </a:lnTo>
                <a:lnTo>
                  <a:pt x="15598" y="11461"/>
                </a:lnTo>
                <a:lnTo>
                  <a:pt x="15525" y="11631"/>
                </a:lnTo>
                <a:lnTo>
                  <a:pt x="15525" y="11729"/>
                </a:lnTo>
                <a:lnTo>
                  <a:pt x="15549" y="11802"/>
                </a:lnTo>
                <a:lnTo>
                  <a:pt x="15598" y="11850"/>
                </a:lnTo>
                <a:lnTo>
                  <a:pt x="15647" y="11899"/>
                </a:lnTo>
                <a:lnTo>
                  <a:pt x="15720" y="11948"/>
                </a:lnTo>
                <a:lnTo>
                  <a:pt x="15793" y="11948"/>
                </a:lnTo>
                <a:lnTo>
                  <a:pt x="15866" y="11923"/>
                </a:lnTo>
                <a:lnTo>
                  <a:pt x="15939" y="11875"/>
                </a:lnTo>
                <a:lnTo>
                  <a:pt x="16036" y="11704"/>
                </a:lnTo>
                <a:lnTo>
                  <a:pt x="16109" y="11510"/>
                </a:lnTo>
                <a:lnTo>
                  <a:pt x="16182" y="11315"/>
                </a:lnTo>
                <a:lnTo>
                  <a:pt x="16206" y="11218"/>
                </a:lnTo>
                <a:lnTo>
                  <a:pt x="16206" y="11120"/>
                </a:lnTo>
                <a:lnTo>
                  <a:pt x="16182" y="11047"/>
                </a:lnTo>
                <a:lnTo>
                  <a:pt x="16133" y="11023"/>
                </a:lnTo>
                <a:lnTo>
                  <a:pt x="16060" y="10999"/>
                </a:lnTo>
                <a:close/>
                <a:moveTo>
                  <a:pt x="1996" y="11437"/>
                </a:moveTo>
                <a:lnTo>
                  <a:pt x="1948" y="11461"/>
                </a:lnTo>
                <a:lnTo>
                  <a:pt x="1875" y="11485"/>
                </a:lnTo>
                <a:lnTo>
                  <a:pt x="1826" y="11558"/>
                </a:lnTo>
                <a:lnTo>
                  <a:pt x="1802" y="11607"/>
                </a:lnTo>
                <a:lnTo>
                  <a:pt x="1777" y="11680"/>
                </a:lnTo>
                <a:lnTo>
                  <a:pt x="1777" y="11826"/>
                </a:lnTo>
                <a:lnTo>
                  <a:pt x="1777" y="11899"/>
                </a:lnTo>
                <a:lnTo>
                  <a:pt x="1802" y="12021"/>
                </a:lnTo>
                <a:lnTo>
                  <a:pt x="1850" y="12094"/>
                </a:lnTo>
                <a:lnTo>
                  <a:pt x="1899" y="12142"/>
                </a:lnTo>
                <a:lnTo>
                  <a:pt x="1972" y="12167"/>
                </a:lnTo>
                <a:lnTo>
                  <a:pt x="2069" y="12167"/>
                </a:lnTo>
                <a:lnTo>
                  <a:pt x="2118" y="12142"/>
                </a:lnTo>
                <a:lnTo>
                  <a:pt x="2191" y="12094"/>
                </a:lnTo>
                <a:lnTo>
                  <a:pt x="2215" y="12021"/>
                </a:lnTo>
                <a:lnTo>
                  <a:pt x="2264" y="11875"/>
                </a:lnTo>
                <a:lnTo>
                  <a:pt x="2288" y="11753"/>
                </a:lnTo>
                <a:lnTo>
                  <a:pt x="2288" y="11680"/>
                </a:lnTo>
                <a:lnTo>
                  <a:pt x="2288" y="11607"/>
                </a:lnTo>
                <a:lnTo>
                  <a:pt x="2264" y="11534"/>
                </a:lnTo>
                <a:lnTo>
                  <a:pt x="2215" y="11485"/>
                </a:lnTo>
                <a:lnTo>
                  <a:pt x="2142" y="11437"/>
                </a:lnTo>
                <a:close/>
                <a:moveTo>
                  <a:pt x="10221" y="11753"/>
                </a:moveTo>
                <a:lnTo>
                  <a:pt x="10123" y="11802"/>
                </a:lnTo>
                <a:lnTo>
                  <a:pt x="10075" y="11875"/>
                </a:lnTo>
                <a:lnTo>
                  <a:pt x="10075" y="11996"/>
                </a:lnTo>
                <a:lnTo>
                  <a:pt x="10123" y="12094"/>
                </a:lnTo>
                <a:lnTo>
                  <a:pt x="10172" y="12191"/>
                </a:lnTo>
                <a:lnTo>
                  <a:pt x="10342" y="12337"/>
                </a:lnTo>
                <a:lnTo>
                  <a:pt x="10440" y="12410"/>
                </a:lnTo>
                <a:lnTo>
                  <a:pt x="10561" y="12483"/>
                </a:lnTo>
                <a:lnTo>
                  <a:pt x="10683" y="12532"/>
                </a:lnTo>
                <a:lnTo>
                  <a:pt x="10829" y="12532"/>
                </a:lnTo>
                <a:lnTo>
                  <a:pt x="10926" y="12507"/>
                </a:lnTo>
                <a:lnTo>
                  <a:pt x="10999" y="12459"/>
                </a:lnTo>
                <a:lnTo>
                  <a:pt x="11048" y="12386"/>
                </a:lnTo>
                <a:lnTo>
                  <a:pt x="11072" y="12313"/>
                </a:lnTo>
                <a:lnTo>
                  <a:pt x="11072" y="12240"/>
                </a:lnTo>
                <a:lnTo>
                  <a:pt x="11048" y="12167"/>
                </a:lnTo>
                <a:lnTo>
                  <a:pt x="10975" y="12094"/>
                </a:lnTo>
                <a:lnTo>
                  <a:pt x="10902" y="12045"/>
                </a:lnTo>
                <a:lnTo>
                  <a:pt x="10756" y="12021"/>
                </a:lnTo>
                <a:lnTo>
                  <a:pt x="10634" y="11948"/>
                </a:lnTo>
                <a:lnTo>
                  <a:pt x="10488" y="11826"/>
                </a:lnTo>
                <a:lnTo>
                  <a:pt x="10415" y="11777"/>
                </a:lnTo>
                <a:lnTo>
                  <a:pt x="10318" y="11753"/>
                </a:lnTo>
                <a:close/>
                <a:moveTo>
                  <a:pt x="15306" y="11996"/>
                </a:moveTo>
                <a:lnTo>
                  <a:pt x="15257" y="12045"/>
                </a:lnTo>
                <a:lnTo>
                  <a:pt x="15136" y="12167"/>
                </a:lnTo>
                <a:lnTo>
                  <a:pt x="15014" y="12288"/>
                </a:lnTo>
                <a:lnTo>
                  <a:pt x="14868" y="12386"/>
                </a:lnTo>
                <a:lnTo>
                  <a:pt x="14795" y="12434"/>
                </a:lnTo>
                <a:lnTo>
                  <a:pt x="14722" y="12483"/>
                </a:lnTo>
                <a:lnTo>
                  <a:pt x="14698" y="12532"/>
                </a:lnTo>
                <a:lnTo>
                  <a:pt x="14698" y="12605"/>
                </a:lnTo>
                <a:lnTo>
                  <a:pt x="14722" y="12653"/>
                </a:lnTo>
                <a:lnTo>
                  <a:pt x="14746" y="12678"/>
                </a:lnTo>
                <a:lnTo>
                  <a:pt x="14868" y="12726"/>
                </a:lnTo>
                <a:lnTo>
                  <a:pt x="14990" y="12726"/>
                </a:lnTo>
                <a:lnTo>
                  <a:pt x="15111" y="12702"/>
                </a:lnTo>
                <a:lnTo>
                  <a:pt x="15209" y="12629"/>
                </a:lnTo>
                <a:lnTo>
                  <a:pt x="15330" y="12556"/>
                </a:lnTo>
                <a:lnTo>
                  <a:pt x="15428" y="12483"/>
                </a:lnTo>
                <a:lnTo>
                  <a:pt x="15501" y="12386"/>
                </a:lnTo>
                <a:lnTo>
                  <a:pt x="15574" y="12288"/>
                </a:lnTo>
                <a:lnTo>
                  <a:pt x="15598" y="12215"/>
                </a:lnTo>
                <a:lnTo>
                  <a:pt x="15598" y="12142"/>
                </a:lnTo>
                <a:lnTo>
                  <a:pt x="15574" y="12094"/>
                </a:lnTo>
                <a:lnTo>
                  <a:pt x="15525" y="12045"/>
                </a:lnTo>
                <a:lnTo>
                  <a:pt x="15452" y="11996"/>
                </a:lnTo>
                <a:close/>
                <a:moveTo>
                  <a:pt x="14114" y="12605"/>
                </a:moveTo>
                <a:lnTo>
                  <a:pt x="14041" y="12629"/>
                </a:lnTo>
                <a:lnTo>
                  <a:pt x="13968" y="12678"/>
                </a:lnTo>
                <a:lnTo>
                  <a:pt x="13895" y="12726"/>
                </a:lnTo>
                <a:lnTo>
                  <a:pt x="13797" y="12751"/>
                </a:lnTo>
                <a:lnTo>
                  <a:pt x="13700" y="12751"/>
                </a:lnTo>
                <a:lnTo>
                  <a:pt x="13578" y="12775"/>
                </a:lnTo>
                <a:lnTo>
                  <a:pt x="13481" y="12848"/>
                </a:lnTo>
                <a:lnTo>
                  <a:pt x="13432" y="12872"/>
                </a:lnTo>
                <a:lnTo>
                  <a:pt x="13408" y="12921"/>
                </a:lnTo>
                <a:lnTo>
                  <a:pt x="13408" y="12970"/>
                </a:lnTo>
                <a:lnTo>
                  <a:pt x="13432" y="13018"/>
                </a:lnTo>
                <a:lnTo>
                  <a:pt x="13457" y="13091"/>
                </a:lnTo>
                <a:lnTo>
                  <a:pt x="13505" y="13116"/>
                </a:lnTo>
                <a:lnTo>
                  <a:pt x="13603" y="13164"/>
                </a:lnTo>
                <a:lnTo>
                  <a:pt x="13724" y="13189"/>
                </a:lnTo>
                <a:lnTo>
                  <a:pt x="13870" y="13189"/>
                </a:lnTo>
                <a:lnTo>
                  <a:pt x="14016" y="13164"/>
                </a:lnTo>
                <a:lnTo>
                  <a:pt x="14162" y="13091"/>
                </a:lnTo>
                <a:lnTo>
                  <a:pt x="14284" y="12994"/>
                </a:lnTo>
                <a:lnTo>
                  <a:pt x="14333" y="12945"/>
                </a:lnTo>
                <a:lnTo>
                  <a:pt x="14357" y="12872"/>
                </a:lnTo>
                <a:lnTo>
                  <a:pt x="14357" y="12799"/>
                </a:lnTo>
                <a:lnTo>
                  <a:pt x="14357" y="12726"/>
                </a:lnTo>
                <a:lnTo>
                  <a:pt x="14333" y="12678"/>
                </a:lnTo>
                <a:lnTo>
                  <a:pt x="14284" y="12653"/>
                </a:lnTo>
                <a:lnTo>
                  <a:pt x="14235" y="12605"/>
                </a:lnTo>
                <a:close/>
                <a:moveTo>
                  <a:pt x="6668" y="512"/>
                </a:moveTo>
                <a:lnTo>
                  <a:pt x="6887" y="755"/>
                </a:lnTo>
                <a:lnTo>
                  <a:pt x="7130" y="950"/>
                </a:lnTo>
                <a:lnTo>
                  <a:pt x="7398" y="1120"/>
                </a:lnTo>
                <a:lnTo>
                  <a:pt x="7666" y="1290"/>
                </a:lnTo>
                <a:lnTo>
                  <a:pt x="8250" y="1558"/>
                </a:lnTo>
                <a:lnTo>
                  <a:pt x="8834" y="1801"/>
                </a:lnTo>
                <a:lnTo>
                  <a:pt x="9320" y="2020"/>
                </a:lnTo>
                <a:lnTo>
                  <a:pt x="9807" y="2215"/>
                </a:lnTo>
                <a:lnTo>
                  <a:pt x="10780" y="2604"/>
                </a:lnTo>
                <a:lnTo>
                  <a:pt x="11194" y="2799"/>
                </a:lnTo>
                <a:lnTo>
                  <a:pt x="11559" y="3018"/>
                </a:lnTo>
                <a:lnTo>
                  <a:pt x="11729" y="3115"/>
                </a:lnTo>
                <a:lnTo>
                  <a:pt x="11924" y="3188"/>
                </a:lnTo>
                <a:lnTo>
                  <a:pt x="12094" y="3261"/>
                </a:lnTo>
                <a:lnTo>
                  <a:pt x="12240" y="3358"/>
                </a:lnTo>
                <a:lnTo>
                  <a:pt x="12264" y="3407"/>
                </a:lnTo>
                <a:lnTo>
                  <a:pt x="12313" y="3456"/>
                </a:lnTo>
                <a:lnTo>
                  <a:pt x="12410" y="3480"/>
                </a:lnTo>
                <a:lnTo>
                  <a:pt x="12435" y="3942"/>
                </a:lnTo>
                <a:lnTo>
                  <a:pt x="11851" y="3650"/>
                </a:lnTo>
                <a:lnTo>
                  <a:pt x="11389" y="3407"/>
                </a:lnTo>
                <a:lnTo>
                  <a:pt x="11170" y="3310"/>
                </a:lnTo>
                <a:lnTo>
                  <a:pt x="10926" y="3237"/>
                </a:lnTo>
                <a:lnTo>
                  <a:pt x="10878" y="3237"/>
                </a:lnTo>
                <a:lnTo>
                  <a:pt x="10853" y="3261"/>
                </a:lnTo>
                <a:lnTo>
                  <a:pt x="10853" y="3285"/>
                </a:lnTo>
                <a:lnTo>
                  <a:pt x="10853" y="3310"/>
                </a:lnTo>
                <a:lnTo>
                  <a:pt x="11024" y="3480"/>
                </a:lnTo>
                <a:lnTo>
                  <a:pt x="11218" y="3626"/>
                </a:lnTo>
                <a:lnTo>
                  <a:pt x="11608" y="3869"/>
                </a:lnTo>
                <a:lnTo>
                  <a:pt x="12045" y="4113"/>
                </a:lnTo>
                <a:lnTo>
                  <a:pt x="12459" y="4307"/>
                </a:lnTo>
                <a:lnTo>
                  <a:pt x="12483" y="4818"/>
                </a:lnTo>
                <a:lnTo>
                  <a:pt x="12337" y="4770"/>
                </a:lnTo>
                <a:lnTo>
                  <a:pt x="12216" y="4721"/>
                </a:lnTo>
                <a:lnTo>
                  <a:pt x="12021" y="4672"/>
                </a:lnTo>
                <a:lnTo>
                  <a:pt x="11729" y="4526"/>
                </a:lnTo>
                <a:lnTo>
                  <a:pt x="11413" y="4380"/>
                </a:lnTo>
                <a:lnTo>
                  <a:pt x="11218" y="4259"/>
                </a:lnTo>
                <a:lnTo>
                  <a:pt x="11121" y="4234"/>
                </a:lnTo>
                <a:lnTo>
                  <a:pt x="11024" y="4210"/>
                </a:lnTo>
                <a:lnTo>
                  <a:pt x="10975" y="4210"/>
                </a:lnTo>
                <a:lnTo>
                  <a:pt x="10951" y="4259"/>
                </a:lnTo>
                <a:lnTo>
                  <a:pt x="10951" y="4283"/>
                </a:lnTo>
                <a:lnTo>
                  <a:pt x="10951" y="4332"/>
                </a:lnTo>
                <a:lnTo>
                  <a:pt x="11024" y="4429"/>
                </a:lnTo>
                <a:lnTo>
                  <a:pt x="11121" y="4526"/>
                </a:lnTo>
                <a:lnTo>
                  <a:pt x="11218" y="4599"/>
                </a:lnTo>
                <a:lnTo>
                  <a:pt x="11340" y="4672"/>
                </a:lnTo>
                <a:lnTo>
                  <a:pt x="11608" y="4818"/>
                </a:lnTo>
                <a:lnTo>
                  <a:pt x="11826" y="4916"/>
                </a:lnTo>
                <a:lnTo>
                  <a:pt x="12143" y="5037"/>
                </a:lnTo>
                <a:lnTo>
                  <a:pt x="12313" y="5086"/>
                </a:lnTo>
                <a:lnTo>
                  <a:pt x="12410" y="5086"/>
                </a:lnTo>
                <a:lnTo>
                  <a:pt x="12483" y="5062"/>
                </a:lnTo>
                <a:lnTo>
                  <a:pt x="12483" y="5743"/>
                </a:lnTo>
                <a:lnTo>
                  <a:pt x="12289" y="5621"/>
                </a:lnTo>
                <a:lnTo>
                  <a:pt x="12094" y="5475"/>
                </a:lnTo>
                <a:lnTo>
                  <a:pt x="11608" y="5256"/>
                </a:lnTo>
                <a:lnTo>
                  <a:pt x="11194" y="5110"/>
                </a:lnTo>
                <a:lnTo>
                  <a:pt x="11024" y="5062"/>
                </a:lnTo>
                <a:lnTo>
                  <a:pt x="10926" y="5062"/>
                </a:lnTo>
                <a:lnTo>
                  <a:pt x="10902" y="5086"/>
                </a:lnTo>
                <a:lnTo>
                  <a:pt x="10878" y="5110"/>
                </a:lnTo>
                <a:lnTo>
                  <a:pt x="10951" y="5232"/>
                </a:lnTo>
                <a:lnTo>
                  <a:pt x="11024" y="5305"/>
                </a:lnTo>
                <a:lnTo>
                  <a:pt x="11121" y="5378"/>
                </a:lnTo>
                <a:lnTo>
                  <a:pt x="11267" y="5451"/>
                </a:lnTo>
                <a:lnTo>
                  <a:pt x="11535" y="5548"/>
                </a:lnTo>
                <a:lnTo>
                  <a:pt x="11754" y="5646"/>
                </a:lnTo>
                <a:lnTo>
                  <a:pt x="12094" y="5792"/>
                </a:lnTo>
                <a:lnTo>
                  <a:pt x="12240" y="5889"/>
                </a:lnTo>
                <a:lnTo>
                  <a:pt x="12386" y="6011"/>
                </a:lnTo>
                <a:lnTo>
                  <a:pt x="12483" y="6108"/>
                </a:lnTo>
                <a:lnTo>
                  <a:pt x="12483" y="6254"/>
                </a:lnTo>
                <a:lnTo>
                  <a:pt x="12337" y="6157"/>
                </a:lnTo>
                <a:lnTo>
                  <a:pt x="12191" y="6084"/>
                </a:lnTo>
                <a:lnTo>
                  <a:pt x="11899" y="5938"/>
                </a:lnTo>
                <a:lnTo>
                  <a:pt x="11705" y="5816"/>
                </a:lnTo>
                <a:lnTo>
                  <a:pt x="11510" y="5743"/>
                </a:lnTo>
                <a:lnTo>
                  <a:pt x="11291" y="5670"/>
                </a:lnTo>
                <a:lnTo>
                  <a:pt x="11194" y="5670"/>
                </a:lnTo>
                <a:lnTo>
                  <a:pt x="11097" y="5694"/>
                </a:lnTo>
                <a:lnTo>
                  <a:pt x="11072" y="5694"/>
                </a:lnTo>
                <a:lnTo>
                  <a:pt x="11072" y="5719"/>
                </a:lnTo>
                <a:lnTo>
                  <a:pt x="11145" y="5816"/>
                </a:lnTo>
                <a:lnTo>
                  <a:pt x="11218" y="5889"/>
                </a:lnTo>
                <a:lnTo>
                  <a:pt x="11413" y="6035"/>
                </a:lnTo>
                <a:lnTo>
                  <a:pt x="11826" y="6254"/>
                </a:lnTo>
                <a:lnTo>
                  <a:pt x="12143" y="6449"/>
                </a:lnTo>
                <a:lnTo>
                  <a:pt x="12289" y="6522"/>
                </a:lnTo>
                <a:lnTo>
                  <a:pt x="12459" y="6570"/>
                </a:lnTo>
                <a:lnTo>
                  <a:pt x="12459" y="6838"/>
                </a:lnTo>
                <a:lnTo>
                  <a:pt x="12459" y="6862"/>
                </a:lnTo>
                <a:lnTo>
                  <a:pt x="12337" y="6765"/>
                </a:lnTo>
                <a:lnTo>
                  <a:pt x="12216" y="6668"/>
                </a:lnTo>
                <a:lnTo>
                  <a:pt x="12094" y="6619"/>
                </a:lnTo>
                <a:lnTo>
                  <a:pt x="11924" y="6546"/>
                </a:lnTo>
                <a:lnTo>
                  <a:pt x="11729" y="6473"/>
                </a:lnTo>
                <a:lnTo>
                  <a:pt x="11486" y="6424"/>
                </a:lnTo>
                <a:lnTo>
                  <a:pt x="11267" y="6376"/>
                </a:lnTo>
                <a:lnTo>
                  <a:pt x="11072" y="6303"/>
                </a:lnTo>
                <a:lnTo>
                  <a:pt x="11048" y="6303"/>
                </a:lnTo>
                <a:lnTo>
                  <a:pt x="11048" y="6327"/>
                </a:lnTo>
                <a:lnTo>
                  <a:pt x="11145" y="6449"/>
                </a:lnTo>
                <a:lnTo>
                  <a:pt x="11267" y="6546"/>
                </a:lnTo>
                <a:lnTo>
                  <a:pt x="11389" y="6619"/>
                </a:lnTo>
                <a:lnTo>
                  <a:pt x="11535" y="6692"/>
                </a:lnTo>
                <a:lnTo>
                  <a:pt x="11948" y="6862"/>
                </a:lnTo>
                <a:lnTo>
                  <a:pt x="12143" y="6960"/>
                </a:lnTo>
                <a:lnTo>
                  <a:pt x="12216" y="7033"/>
                </a:lnTo>
                <a:lnTo>
                  <a:pt x="12289" y="7106"/>
                </a:lnTo>
                <a:lnTo>
                  <a:pt x="12362" y="7179"/>
                </a:lnTo>
                <a:lnTo>
                  <a:pt x="12459" y="7179"/>
                </a:lnTo>
                <a:lnTo>
                  <a:pt x="12459" y="7592"/>
                </a:lnTo>
                <a:lnTo>
                  <a:pt x="12264" y="7495"/>
                </a:lnTo>
                <a:lnTo>
                  <a:pt x="12070" y="7422"/>
                </a:lnTo>
                <a:lnTo>
                  <a:pt x="11802" y="7349"/>
                </a:lnTo>
                <a:lnTo>
                  <a:pt x="11389" y="7106"/>
                </a:lnTo>
                <a:lnTo>
                  <a:pt x="11121" y="7008"/>
                </a:lnTo>
                <a:lnTo>
                  <a:pt x="11024" y="6984"/>
                </a:lnTo>
                <a:lnTo>
                  <a:pt x="10999" y="6984"/>
                </a:lnTo>
                <a:lnTo>
                  <a:pt x="10975" y="7008"/>
                </a:lnTo>
                <a:lnTo>
                  <a:pt x="10975" y="7057"/>
                </a:lnTo>
                <a:lnTo>
                  <a:pt x="10975" y="7106"/>
                </a:lnTo>
                <a:lnTo>
                  <a:pt x="10999" y="7227"/>
                </a:lnTo>
                <a:lnTo>
                  <a:pt x="11097" y="7325"/>
                </a:lnTo>
                <a:lnTo>
                  <a:pt x="11194" y="7398"/>
                </a:lnTo>
                <a:lnTo>
                  <a:pt x="11437" y="7544"/>
                </a:lnTo>
                <a:lnTo>
                  <a:pt x="11632" y="7641"/>
                </a:lnTo>
                <a:lnTo>
                  <a:pt x="11997" y="7836"/>
                </a:lnTo>
                <a:lnTo>
                  <a:pt x="12240" y="7909"/>
                </a:lnTo>
                <a:lnTo>
                  <a:pt x="12362" y="7933"/>
                </a:lnTo>
                <a:lnTo>
                  <a:pt x="12459" y="7957"/>
                </a:lnTo>
                <a:lnTo>
                  <a:pt x="12459" y="8298"/>
                </a:lnTo>
                <a:lnTo>
                  <a:pt x="12216" y="8176"/>
                </a:lnTo>
                <a:lnTo>
                  <a:pt x="11972" y="8055"/>
                </a:lnTo>
                <a:lnTo>
                  <a:pt x="11754" y="7909"/>
                </a:lnTo>
                <a:lnTo>
                  <a:pt x="11535" y="7738"/>
                </a:lnTo>
                <a:lnTo>
                  <a:pt x="11413" y="7665"/>
                </a:lnTo>
                <a:lnTo>
                  <a:pt x="11291" y="7617"/>
                </a:lnTo>
                <a:lnTo>
                  <a:pt x="11170" y="7592"/>
                </a:lnTo>
                <a:lnTo>
                  <a:pt x="11048" y="7568"/>
                </a:lnTo>
                <a:lnTo>
                  <a:pt x="11048" y="7592"/>
                </a:lnTo>
                <a:lnTo>
                  <a:pt x="11024" y="7617"/>
                </a:lnTo>
                <a:lnTo>
                  <a:pt x="11072" y="7714"/>
                </a:lnTo>
                <a:lnTo>
                  <a:pt x="11145" y="7836"/>
                </a:lnTo>
                <a:lnTo>
                  <a:pt x="11243" y="7933"/>
                </a:lnTo>
                <a:lnTo>
                  <a:pt x="11364" y="8006"/>
                </a:lnTo>
                <a:lnTo>
                  <a:pt x="11583" y="8176"/>
                </a:lnTo>
                <a:lnTo>
                  <a:pt x="11802" y="8322"/>
                </a:lnTo>
                <a:lnTo>
                  <a:pt x="12118" y="8493"/>
                </a:lnTo>
                <a:lnTo>
                  <a:pt x="12289" y="8590"/>
                </a:lnTo>
                <a:lnTo>
                  <a:pt x="12459" y="8663"/>
                </a:lnTo>
                <a:lnTo>
                  <a:pt x="12483" y="9101"/>
                </a:lnTo>
                <a:lnTo>
                  <a:pt x="12435" y="9028"/>
                </a:lnTo>
                <a:lnTo>
                  <a:pt x="12386" y="8979"/>
                </a:lnTo>
                <a:lnTo>
                  <a:pt x="12216" y="8882"/>
                </a:lnTo>
                <a:lnTo>
                  <a:pt x="11899" y="8736"/>
                </a:lnTo>
                <a:lnTo>
                  <a:pt x="11559" y="8517"/>
                </a:lnTo>
                <a:lnTo>
                  <a:pt x="11364" y="8420"/>
                </a:lnTo>
                <a:lnTo>
                  <a:pt x="11291" y="8395"/>
                </a:lnTo>
                <a:lnTo>
                  <a:pt x="11194" y="8371"/>
                </a:lnTo>
                <a:lnTo>
                  <a:pt x="11170" y="8371"/>
                </a:lnTo>
                <a:lnTo>
                  <a:pt x="11170" y="8395"/>
                </a:lnTo>
                <a:lnTo>
                  <a:pt x="11194" y="8493"/>
                </a:lnTo>
                <a:lnTo>
                  <a:pt x="11218" y="8566"/>
                </a:lnTo>
                <a:lnTo>
                  <a:pt x="11364" y="8712"/>
                </a:lnTo>
                <a:lnTo>
                  <a:pt x="11535" y="8858"/>
                </a:lnTo>
                <a:lnTo>
                  <a:pt x="11681" y="8955"/>
                </a:lnTo>
                <a:lnTo>
                  <a:pt x="11851" y="9052"/>
                </a:lnTo>
                <a:lnTo>
                  <a:pt x="12070" y="9174"/>
                </a:lnTo>
                <a:lnTo>
                  <a:pt x="12167" y="9223"/>
                </a:lnTo>
                <a:lnTo>
                  <a:pt x="12264" y="9247"/>
                </a:lnTo>
                <a:lnTo>
                  <a:pt x="12362" y="9247"/>
                </a:lnTo>
                <a:lnTo>
                  <a:pt x="12459" y="9223"/>
                </a:lnTo>
                <a:lnTo>
                  <a:pt x="12483" y="9198"/>
                </a:lnTo>
                <a:lnTo>
                  <a:pt x="12508" y="10025"/>
                </a:lnTo>
                <a:lnTo>
                  <a:pt x="12386" y="9879"/>
                </a:lnTo>
                <a:lnTo>
                  <a:pt x="12240" y="9758"/>
                </a:lnTo>
                <a:lnTo>
                  <a:pt x="11924" y="9515"/>
                </a:lnTo>
                <a:lnTo>
                  <a:pt x="11608" y="9296"/>
                </a:lnTo>
                <a:lnTo>
                  <a:pt x="11267" y="9101"/>
                </a:lnTo>
                <a:lnTo>
                  <a:pt x="11243" y="9077"/>
                </a:lnTo>
                <a:lnTo>
                  <a:pt x="11218" y="9101"/>
                </a:lnTo>
                <a:lnTo>
                  <a:pt x="11218" y="9125"/>
                </a:lnTo>
                <a:lnTo>
                  <a:pt x="11218" y="9150"/>
                </a:lnTo>
                <a:lnTo>
                  <a:pt x="11340" y="9296"/>
                </a:lnTo>
                <a:lnTo>
                  <a:pt x="11462" y="9466"/>
                </a:lnTo>
                <a:lnTo>
                  <a:pt x="11608" y="9612"/>
                </a:lnTo>
                <a:lnTo>
                  <a:pt x="11754" y="9733"/>
                </a:lnTo>
                <a:lnTo>
                  <a:pt x="11924" y="9855"/>
                </a:lnTo>
                <a:lnTo>
                  <a:pt x="12094" y="9952"/>
                </a:lnTo>
                <a:lnTo>
                  <a:pt x="12289" y="10050"/>
                </a:lnTo>
                <a:lnTo>
                  <a:pt x="12459" y="10098"/>
                </a:lnTo>
                <a:lnTo>
                  <a:pt x="12508" y="10098"/>
                </a:lnTo>
                <a:lnTo>
                  <a:pt x="12508" y="10488"/>
                </a:lnTo>
                <a:lnTo>
                  <a:pt x="12289" y="10317"/>
                </a:lnTo>
                <a:lnTo>
                  <a:pt x="11802" y="10001"/>
                </a:lnTo>
                <a:lnTo>
                  <a:pt x="11608" y="9855"/>
                </a:lnTo>
                <a:lnTo>
                  <a:pt x="11486" y="9782"/>
                </a:lnTo>
                <a:lnTo>
                  <a:pt x="11389" y="9733"/>
                </a:lnTo>
                <a:lnTo>
                  <a:pt x="11364" y="9758"/>
                </a:lnTo>
                <a:lnTo>
                  <a:pt x="11364" y="9855"/>
                </a:lnTo>
                <a:lnTo>
                  <a:pt x="11389" y="9952"/>
                </a:lnTo>
                <a:lnTo>
                  <a:pt x="11437" y="10050"/>
                </a:lnTo>
                <a:lnTo>
                  <a:pt x="11510" y="10147"/>
                </a:lnTo>
                <a:lnTo>
                  <a:pt x="11681" y="10317"/>
                </a:lnTo>
                <a:lnTo>
                  <a:pt x="11851" y="10439"/>
                </a:lnTo>
                <a:lnTo>
                  <a:pt x="12094" y="10585"/>
                </a:lnTo>
                <a:lnTo>
                  <a:pt x="12313" y="10780"/>
                </a:lnTo>
                <a:lnTo>
                  <a:pt x="12410" y="10877"/>
                </a:lnTo>
                <a:lnTo>
                  <a:pt x="12508" y="10999"/>
                </a:lnTo>
                <a:lnTo>
                  <a:pt x="12483" y="11291"/>
                </a:lnTo>
                <a:lnTo>
                  <a:pt x="11875" y="10901"/>
                </a:lnTo>
                <a:lnTo>
                  <a:pt x="11705" y="10780"/>
                </a:lnTo>
                <a:lnTo>
                  <a:pt x="11535" y="10658"/>
                </a:lnTo>
                <a:lnTo>
                  <a:pt x="11462" y="10609"/>
                </a:lnTo>
                <a:lnTo>
                  <a:pt x="11364" y="10585"/>
                </a:lnTo>
                <a:lnTo>
                  <a:pt x="11267" y="10561"/>
                </a:lnTo>
                <a:lnTo>
                  <a:pt x="11145" y="10585"/>
                </a:lnTo>
                <a:lnTo>
                  <a:pt x="11121" y="10609"/>
                </a:lnTo>
                <a:lnTo>
                  <a:pt x="11145" y="10634"/>
                </a:lnTo>
                <a:lnTo>
                  <a:pt x="11291" y="10780"/>
                </a:lnTo>
                <a:lnTo>
                  <a:pt x="11413" y="10926"/>
                </a:lnTo>
                <a:lnTo>
                  <a:pt x="11535" y="11072"/>
                </a:lnTo>
                <a:lnTo>
                  <a:pt x="11705" y="11218"/>
                </a:lnTo>
                <a:lnTo>
                  <a:pt x="12070" y="11485"/>
                </a:lnTo>
                <a:lnTo>
                  <a:pt x="12483" y="11729"/>
                </a:lnTo>
                <a:lnTo>
                  <a:pt x="12459" y="12094"/>
                </a:lnTo>
                <a:lnTo>
                  <a:pt x="12191" y="11923"/>
                </a:lnTo>
                <a:lnTo>
                  <a:pt x="11948" y="11777"/>
                </a:lnTo>
                <a:lnTo>
                  <a:pt x="11559" y="11558"/>
                </a:lnTo>
                <a:lnTo>
                  <a:pt x="11170" y="11388"/>
                </a:lnTo>
                <a:lnTo>
                  <a:pt x="11145" y="11388"/>
                </a:lnTo>
                <a:lnTo>
                  <a:pt x="11145" y="11485"/>
                </a:lnTo>
                <a:lnTo>
                  <a:pt x="11170" y="11558"/>
                </a:lnTo>
                <a:lnTo>
                  <a:pt x="11243" y="11704"/>
                </a:lnTo>
                <a:lnTo>
                  <a:pt x="11364" y="11850"/>
                </a:lnTo>
                <a:lnTo>
                  <a:pt x="11510" y="11948"/>
                </a:lnTo>
                <a:lnTo>
                  <a:pt x="11754" y="12118"/>
                </a:lnTo>
                <a:lnTo>
                  <a:pt x="12021" y="12288"/>
                </a:lnTo>
                <a:lnTo>
                  <a:pt x="12216" y="12434"/>
                </a:lnTo>
                <a:lnTo>
                  <a:pt x="12435" y="12556"/>
                </a:lnTo>
                <a:lnTo>
                  <a:pt x="12435" y="12799"/>
                </a:lnTo>
                <a:lnTo>
                  <a:pt x="12337" y="12824"/>
                </a:lnTo>
                <a:lnTo>
                  <a:pt x="12264" y="12848"/>
                </a:lnTo>
                <a:lnTo>
                  <a:pt x="12143" y="12775"/>
                </a:lnTo>
                <a:lnTo>
                  <a:pt x="11972" y="12629"/>
                </a:lnTo>
                <a:lnTo>
                  <a:pt x="11802" y="12507"/>
                </a:lnTo>
                <a:lnTo>
                  <a:pt x="11632" y="12361"/>
                </a:lnTo>
                <a:lnTo>
                  <a:pt x="11462" y="12240"/>
                </a:lnTo>
                <a:lnTo>
                  <a:pt x="11413" y="12240"/>
                </a:lnTo>
                <a:lnTo>
                  <a:pt x="11413" y="12288"/>
                </a:lnTo>
                <a:lnTo>
                  <a:pt x="11413" y="12361"/>
                </a:lnTo>
                <a:lnTo>
                  <a:pt x="11413" y="12434"/>
                </a:lnTo>
                <a:lnTo>
                  <a:pt x="11486" y="12605"/>
                </a:lnTo>
                <a:lnTo>
                  <a:pt x="11389" y="12605"/>
                </a:lnTo>
                <a:lnTo>
                  <a:pt x="11267" y="12653"/>
                </a:lnTo>
                <a:lnTo>
                  <a:pt x="11243" y="12678"/>
                </a:lnTo>
                <a:lnTo>
                  <a:pt x="11218" y="12726"/>
                </a:lnTo>
                <a:lnTo>
                  <a:pt x="11218" y="12775"/>
                </a:lnTo>
                <a:lnTo>
                  <a:pt x="11218" y="12848"/>
                </a:lnTo>
                <a:lnTo>
                  <a:pt x="11291" y="12921"/>
                </a:lnTo>
                <a:lnTo>
                  <a:pt x="11364" y="12994"/>
                </a:lnTo>
                <a:lnTo>
                  <a:pt x="11486" y="13043"/>
                </a:lnTo>
                <a:lnTo>
                  <a:pt x="11583" y="13091"/>
                </a:lnTo>
                <a:lnTo>
                  <a:pt x="11705" y="13140"/>
                </a:lnTo>
                <a:lnTo>
                  <a:pt x="11802" y="13140"/>
                </a:lnTo>
                <a:lnTo>
                  <a:pt x="11924" y="13116"/>
                </a:lnTo>
                <a:lnTo>
                  <a:pt x="12021" y="13067"/>
                </a:lnTo>
                <a:lnTo>
                  <a:pt x="12240" y="13189"/>
                </a:lnTo>
                <a:lnTo>
                  <a:pt x="12410" y="13335"/>
                </a:lnTo>
                <a:lnTo>
                  <a:pt x="12386" y="13602"/>
                </a:lnTo>
                <a:lnTo>
                  <a:pt x="11802" y="13286"/>
                </a:lnTo>
                <a:lnTo>
                  <a:pt x="11510" y="13140"/>
                </a:lnTo>
                <a:lnTo>
                  <a:pt x="11194" y="13018"/>
                </a:lnTo>
                <a:lnTo>
                  <a:pt x="11170" y="13018"/>
                </a:lnTo>
                <a:lnTo>
                  <a:pt x="11145" y="13116"/>
                </a:lnTo>
                <a:lnTo>
                  <a:pt x="11170" y="13213"/>
                </a:lnTo>
                <a:lnTo>
                  <a:pt x="11218" y="13286"/>
                </a:lnTo>
                <a:lnTo>
                  <a:pt x="11291" y="13359"/>
                </a:lnTo>
                <a:lnTo>
                  <a:pt x="11437" y="13456"/>
                </a:lnTo>
                <a:lnTo>
                  <a:pt x="11608" y="13529"/>
                </a:lnTo>
                <a:lnTo>
                  <a:pt x="11802" y="13651"/>
                </a:lnTo>
                <a:lnTo>
                  <a:pt x="11997" y="13773"/>
                </a:lnTo>
                <a:lnTo>
                  <a:pt x="12191" y="13894"/>
                </a:lnTo>
                <a:lnTo>
                  <a:pt x="12386" y="14016"/>
                </a:lnTo>
                <a:lnTo>
                  <a:pt x="12386" y="14332"/>
                </a:lnTo>
                <a:lnTo>
                  <a:pt x="11851" y="13943"/>
                </a:lnTo>
                <a:lnTo>
                  <a:pt x="11705" y="13846"/>
                </a:lnTo>
                <a:lnTo>
                  <a:pt x="11510" y="13724"/>
                </a:lnTo>
                <a:lnTo>
                  <a:pt x="11413" y="13700"/>
                </a:lnTo>
                <a:lnTo>
                  <a:pt x="11316" y="13675"/>
                </a:lnTo>
                <a:lnTo>
                  <a:pt x="11218" y="13675"/>
                </a:lnTo>
                <a:lnTo>
                  <a:pt x="11121" y="13700"/>
                </a:lnTo>
                <a:lnTo>
                  <a:pt x="11121" y="13724"/>
                </a:lnTo>
                <a:lnTo>
                  <a:pt x="11121" y="13748"/>
                </a:lnTo>
                <a:lnTo>
                  <a:pt x="11145" y="13821"/>
                </a:lnTo>
                <a:lnTo>
                  <a:pt x="11218" y="13919"/>
                </a:lnTo>
                <a:lnTo>
                  <a:pt x="11364" y="14040"/>
                </a:lnTo>
                <a:lnTo>
                  <a:pt x="11729" y="14284"/>
                </a:lnTo>
                <a:lnTo>
                  <a:pt x="12045" y="14551"/>
                </a:lnTo>
                <a:lnTo>
                  <a:pt x="12191" y="14673"/>
                </a:lnTo>
                <a:lnTo>
                  <a:pt x="12386" y="14795"/>
                </a:lnTo>
                <a:lnTo>
                  <a:pt x="12386" y="15281"/>
                </a:lnTo>
                <a:lnTo>
                  <a:pt x="12289" y="15184"/>
                </a:lnTo>
                <a:lnTo>
                  <a:pt x="12167" y="15087"/>
                </a:lnTo>
                <a:lnTo>
                  <a:pt x="12021" y="14916"/>
                </a:lnTo>
                <a:lnTo>
                  <a:pt x="11851" y="14746"/>
                </a:lnTo>
                <a:lnTo>
                  <a:pt x="11656" y="14600"/>
                </a:lnTo>
                <a:lnTo>
                  <a:pt x="11413" y="14503"/>
                </a:lnTo>
                <a:lnTo>
                  <a:pt x="11170" y="14430"/>
                </a:lnTo>
                <a:lnTo>
                  <a:pt x="10926" y="14430"/>
                </a:lnTo>
                <a:lnTo>
                  <a:pt x="10902" y="14454"/>
                </a:lnTo>
                <a:lnTo>
                  <a:pt x="10902" y="14478"/>
                </a:lnTo>
                <a:lnTo>
                  <a:pt x="10975" y="14551"/>
                </a:lnTo>
                <a:lnTo>
                  <a:pt x="11024" y="14600"/>
                </a:lnTo>
                <a:lnTo>
                  <a:pt x="11194" y="14697"/>
                </a:lnTo>
                <a:lnTo>
                  <a:pt x="11462" y="14892"/>
                </a:lnTo>
                <a:lnTo>
                  <a:pt x="11608" y="14989"/>
                </a:lnTo>
                <a:lnTo>
                  <a:pt x="11729" y="15111"/>
                </a:lnTo>
                <a:lnTo>
                  <a:pt x="11875" y="15281"/>
                </a:lnTo>
                <a:lnTo>
                  <a:pt x="12021" y="15452"/>
                </a:lnTo>
                <a:lnTo>
                  <a:pt x="12118" y="15525"/>
                </a:lnTo>
                <a:lnTo>
                  <a:pt x="12191" y="15573"/>
                </a:lnTo>
                <a:lnTo>
                  <a:pt x="12313" y="15622"/>
                </a:lnTo>
                <a:lnTo>
                  <a:pt x="12410" y="15646"/>
                </a:lnTo>
                <a:lnTo>
                  <a:pt x="12435" y="16133"/>
                </a:lnTo>
                <a:lnTo>
                  <a:pt x="12386" y="16133"/>
                </a:lnTo>
                <a:lnTo>
                  <a:pt x="12362" y="16084"/>
                </a:lnTo>
                <a:lnTo>
                  <a:pt x="12240" y="15963"/>
                </a:lnTo>
                <a:lnTo>
                  <a:pt x="12070" y="15841"/>
                </a:lnTo>
                <a:lnTo>
                  <a:pt x="11754" y="15622"/>
                </a:lnTo>
                <a:lnTo>
                  <a:pt x="11413" y="15354"/>
                </a:lnTo>
                <a:lnTo>
                  <a:pt x="11243" y="15233"/>
                </a:lnTo>
                <a:lnTo>
                  <a:pt x="11072" y="15160"/>
                </a:lnTo>
                <a:lnTo>
                  <a:pt x="11048" y="15160"/>
                </a:lnTo>
                <a:lnTo>
                  <a:pt x="11024" y="15184"/>
                </a:lnTo>
                <a:lnTo>
                  <a:pt x="11048" y="15281"/>
                </a:lnTo>
                <a:lnTo>
                  <a:pt x="11072" y="15354"/>
                </a:lnTo>
                <a:lnTo>
                  <a:pt x="11170" y="15500"/>
                </a:lnTo>
                <a:lnTo>
                  <a:pt x="11291" y="15622"/>
                </a:lnTo>
                <a:lnTo>
                  <a:pt x="11437" y="15744"/>
                </a:lnTo>
                <a:lnTo>
                  <a:pt x="11218" y="15646"/>
                </a:lnTo>
                <a:lnTo>
                  <a:pt x="9564" y="14916"/>
                </a:lnTo>
                <a:lnTo>
                  <a:pt x="8055" y="14259"/>
                </a:lnTo>
                <a:lnTo>
                  <a:pt x="7301" y="13894"/>
                </a:lnTo>
                <a:lnTo>
                  <a:pt x="7130" y="13797"/>
                </a:lnTo>
                <a:lnTo>
                  <a:pt x="6863" y="13675"/>
                </a:lnTo>
                <a:lnTo>
                  <a:pt x="6863" y="13602"/>
                </a:lnTo>
                <a:lnTo>
                  <a:pt x="6814" y="12775"/>
                </a:lnTo>
                <a:lnTo>
                  <a:pt x="6765" y="11972"/>
                </a:lnTo>
                <a:lnTo>
                  <a:pt x="6692" y="11145"/>
                </a:lnTo>
                <a:lnTo>
                  <a:pt x="6668" y="10317"/>
                </a:lnTo>
                <a:lnTo>
                  <a:pt x="6668" y="9393"/>
                </a:lnTo>
                <a:lnTo>
                  <a:pt x="6692" y="8493"/>
                </a:lnTo>
                <a:lnTo>
                  <a:pt x="6717" y="7568"/>
                </a:lnTo>
                <a:lnTo>
                  <a:pt x="6717" y="6643"/>
                </a:lnTo>
                <a:lnTo>
                  <a:pt x="6717" y="5889"/>
                </a:lnTo>
                <a:lnTo>
                  <a:pt x="6863" y="5913"/>
                </a:lnTo>
                <a:lnTo>
                  <a:pt x="6936" y="5938"/>
                </a:lnTo>
                <a:lnTo>
                  <a:pt x="7033" y="5962"/>
                </a:lnTo>
                <a:lnTo>
                  <a:pt x="7130" y="5938"/>
                </a:lnTo>
                <a:lnTo>
                  <a:pt x="7228" y="5865"/>
                </a:lnTo>
                <a:lnTo>
                  <a:pt x="7252" y="5816"/>
                </a:lnTo>
                <a:lnTo>
                  <a:pt x="7276" y="5767"/>
                </a:lnTo>
                <a:lnTo>
                  <a:pt x="7276" y="5670"/>
                </a:lnTo>
                <a:lnTo>
                  <a:pt x="7252" y="5573"/>
                </a:lnTo>
                <a:lnTo>
                  <a:pt x="7179" y="5500"/>
                </a:lnTo>
                <a:lnTo>
                  <a:pt x="7082" y="5451"/>
                </a:lnTo>
                <a:lnTo>
                  <a:pt x="7033" y="5427"/>
                </a:lnTo>
                <a:lnTo>
                  <a:pt x="6960" y="5402"/>
                </a:lnTo>
                <a:lnTo>
                  <a:pt x="6887" y="5427"/>
                </a:lnTo>
                <a:lnTo>
                  <a:pt x="6814" y="5451"/>
                </a:lnTo>
                <a:lnTo>
                  <a:pt x="6790" y="5451"/>
                </a:lnTo>
                <a:lnTo>
                  <a:pt x="6692" y="5500"/>
                </a:lnTo>
                <a:lnTo>
                  <a:pt x="6644" y="3018"/>
                </a:lnTo>
                <a:lnTo>
                  <a:pt x="6644" y="1752"/>
                </a:lnTo>
                <a:lnTo>
                  <a:pt x="6668" y="512"/>
                </a:lnTo>
                <a:close/>
                <a:moveTo>
                  <a:pt x="6206" y="585"/>
                </a:moveTo>
                <a:lnTo>
                  <a:pt x="6181" y="852"/>
                </a:lnTo>
                <a:lnTo>
                  <a:pt x="6181" y="1096"/>
                </a:lnTo>
                <a:lnTo>
                  <a:pt x="6181" y="1874"/>
                </a:lnTo>
                <a:lnTo>
                  <a:pt x="6181" y="2653"/>
                </a:lnTo>
                <a:lnTo>
                  <a:pt x="6181" y="3602"/>
                </a:lnTo>
                <a:lnTo>
                  <a:pt x="6181" y="4551"/>
                </a:lnTo>
                <a:lnTo>
                  <a:pt x="6230" y="6449"/>
                </a:lnTo>
                <a:lnTo>
                  <a:pt x="6230" y="7373"/>
                </a:lnTo>
                <a:lnTo>
                  <a:pt x="6206" y="8298"/>
                </a:lnTo>
                <a:lnTo>
                  <a:pt x="6181" y="9198"/>
                </a:lnTo>
                <a:lnTo>
                  <a:pt x="6133" y="10123"/>
                </a:lnTo>
                <a:lnTo>
                  <a:pt x="6157" y="10926"/>
                </a:lnTo>
                <a:lnTo>
                  <a:pt x="6206" y="11729"/>
                </a:lnTo>
                <a:lnTo>
                  <a:pt x="6254" y="12532"/>
                </a:lnTo>
                <a:lnTo>
                  <a:pt x="6279" y="13335"/>
                </a:lnTo>
                <a:lnTo>
                  <a:pt x="6206" y="13359"/>
                </a:lnTo>
                <a:lnTo>
                  <a:pt x="5451" y="13748"/>
                </a:lnTo>
                <a:lnTo>
                  <a:pt x="4721" y="14186"/>
                </a:lnTo>
                <a:lnTo>
                  <a:pt x="3262" y="15087"/>
                </a:lnTo>
                <a:lnTo>
                  <a:pt x="2897" y="15281"/>
                </a:lnTo>
                <a:lnTo>
                  <a:pt x="2532" y="15476"/>
                </a:lnTo>
                <a:lnTo>
                  <a:pt x="2142" y="15671"/>
                </a:lnTo>
                <a:lnTo>
                  <a:pt x="1753" y="15841"/>
                </a:lnTo>
                <a:lnTo>
                  <a:pt x="950" y="16133"/>
                </a:lnTo>
                <a:lnTo>
                  <a:pt x="634" y="16255"/>
                </a:lnTo>
                <a:lnTo>
                  <a:pt x="634" y="16279"/>
                </a:lnTo>
                <a:lnTo>
                  <a:pt x="585" y="15938"/>
                </a:lnTo>
                <a:lnTo>
                  <a:pt x="561" y="15573"/>
                </a:lnTo>
                <a:lnTo>
                  <a:pt x="536" y="15208"/>
                </a:lnTo>
                <a:lnTo>
                  <a:pt x="512" y="14868"/>
                </a:lnTo>
                <a:lnTo>
                  <a:pt x="439" y="14430"/>
                </a:lnTo>
                <a:lnTo>
                  <a:pt x="415" y="13992"/>
                </a:lnTo>
                <a:lnTo>
                  <a:pt x="415" y="13578"/>
                </a:lnTo>
                <a:lnTo>
                  <a:pt x="439" y="13140"/>
                </a:lnTo>
                <a:lnTo>
                  <a:pt x="512" y="11461"/>
                </a:lnTo>
                <a:lnTo>
                  <a:pt x="561" y="10634"/>
                </a:lnTo>
                <a:lnTo>
                  <a:pt x="585" y="9782"/>
                </a:lnTo>
                <a:lnTo>
                  <a:pt x="609" y="8225"/>
                </a:lnTo>
                <a:lnTo>
                  <a:pt x="609" y="6668"/>
                </a:lnTo>
                <a:lnTo>
                  <a:pt x="561" y="5110"/>
                </a:lnTo>
                <a:lnTo>
                  <a:pt x="536" y="4356"/>
                </a:lnTo>
                <a:lnTo>
                  <a:pt x="488" y="3577"/>
                </a:lnTo>
                <a:lnTo>
                  <a:pt x="609" y="3504"/>
                </a:lnTo>
                <a:lnTo>
                  <a:pt x="755" y="3407"/>
                </a:lnTo>
                <a:lnTo>
                  <a:pt x="1145" y="3164"/>
                </a:lnTo>
                <a:lnTo>
                  <a:pt x="1558" y="2920"/>
                </a:lnTo>
                <a:lnTo>
                  <a:pt x="2337" y="2507"/>
                </a:lnTo>
                <a:lnTo>
                  <a:pt x="3116" y="2093"/>
                </a:lnTo>
                <a:lnTo>
                  <a:pt x="3529" y="1850"/>
                </a:lnTo>
                <a:lnTo>
                  <a:pt x="3967" y="1655"/>
                </a:lnTo>
                <a:lnTo>
                  <a:pt x="4405" y="1461"/>
                </a:lnTo>
                <a:lnTo>
                  <a:pt x="4843" y="1290"/>
                </a:lnTo>
                <a:lnTo>
                  <a:pt x="5208" y="1144"/>
                </a:lnTo>
                <a:lnTo>
                  <a:pt x="5549" y="974"/>
                </a:lnTo>
                <a:lnTo>
                  <a:pt x="6206" y="585"/>
                </a:lnTo>
                <a:close/>
                <a:moveTo>
                  <a:pt x="18542" y="804"/>
                </a:moveTo>
                <a:lnTo>
                  <a:pt x="18518" y="1023"/>
                </a:lnTo>
                <a:lnTo>
                  <a:pt x="18518" y="1266"/>
                </a:lnTo>
                <a:lnTo>
                  <a:pt x="18518" y="1752"/>
                </a:lnTo>
                <a:lnTo>
                  <a:pt x="18567" y="2263"/>
                </a:lnTo>
                <a:lnTo>
                  <a:pt x="18567" y="2726"/>
                </a:lnTo>
                <a:lnTo>
                  <a:pt x="18542" y="4648"/>
                </a:lnTo>
                <a:lnTo>
                  <a:pt x="18494" y="6546"/>
                </a:lnTo>
                <a:lnTo>
                  <a:pt x="18469" y="8249"/>
                </a:lnTo>
                <a:lnTo>
                  <a:pt x="18494" y="9952"/>
                </a:lnTo>
                <a:lnTo>
                  <a:pt x="18567" y="13359"/>
                </a:lnTo>
                <a:lnTo>
                  <a:pt x="18542" y="13359"/>
                </a:lnTo>
                <a:lnTo>
                  <a:pt x="18396" y="13505"/>
                </a:lnTo>
                <a:lnTo>
                  <a:pt x="18226" y="13651"/>
                </a:lnTo>
                <a:lnTo>
                  <a:pt x="18031" y="13748"/>
                </a:lnTo>
                <a:lnTo>
                  <a:pt x="17837" y="13846"/>
                </a:lnTo>
                <a:lnTo>
                  <a:pt x="17423" y="14016"/>
                </a:lnTo>
                <a:lnTo>
                  <a:pt x="17009" y="14186"/>
                </a:lnTo>
                <a:lnTo>
                  <a:pt x="16474" y="14454"/>
                </a:lnTo>
                <a:lnTo>
                  <a:pt x="15963" y="14746"/>
                </a:lnTo>
                <a:lnTo>
                  <a:pt x="15452" y="15038"/>
                </a:lnTo>
                <a:lnTo>
                  <a:pt x="14941" y="15330"/>
                </a:lnTo>
                <a:lnTo>
                  <a:pt x="14479" y="15598"/>
                </a:lnTo>
                <a:lnTo>
                  <a:pt x="14016" y="15865"/>
                </a:lnTo>
                <a:lnTo>
                  <a:pt x="13773" y="15987"/>
                </a:lnTo>
                <a:lnTo>
                  <a:pt x="13530" y="16109"/>
                </a:lnTo>
                <a:lnTo>
                  <a:pt x="13286" y="16182"/>
                </a:lnTo>
                <a:lnTo>
                  <a:pt x="13043" y="16255"/>
                </a:lnTo>
                <a:lnTo>
                  <a:pt x="12921" y="16303"/>
                </a:lnTo>
                <a:lnTo>
                  <a:pt x="12921" y="15987"/>
                </a:lnTo>
                <a:lnTo>
                  <a:pt x="12897" y="15671"/>
                </a:lnTo>
                <a:lnTo>
                  <a:pt x="12873" y="15379"/>
                </a:lnTo>
                <a:lnTo>
                  <a:pt x="12848" y="15062"/>
                </a:lnTo>
                <a:lnTo>
                  <a:pt x="12824" y="14770"/>
                </a:lnTo>
                <a:lnTo>
                  <a:pt x="12824" y="14016"/>
                </a:lnTo>
                <a:lnTo>
                  <a:pt x="12848" y="13943"/>
                </a:lnTo>
                <a:lnTo>
                  <a:pt x="12848" y="13894"/>
                </a:lnTo>
                <a:lnTo>
                  <a:pt x="12848" y="13359"/>
                </a:lnTo>
                <a:lnTo>
                  <a:pt x="12946" y="13335"/>
                </a:lnTo>
                <a:lnTo>
                  <a:pt x="13019" y="13310"/>
                </a:lnTo>
                <a:lnTo>
                  <a:pt x="13092" y="13262"/>
                </a:lnTo>
                <a:lnTo>
                  <a:pt x="13140" y="13213"/>
                </a:lnTo>
                <a:lnTo>
                  <a:pt x="13165" y="13116"/>
                </a:lnTo>
                <a:lnTo>
                  <a:pt x="13165" y="13018"/>
                </a:lnTo>
                <a:lnTo>
                  <a:pt x="13116" y="12921"/>
                </a:lnTo>
                <a:lnTo>
                  <a:pt x="13043" y="12872"/>
                </a:lnTo>
                <a:lnTo>
                  <a:pt x="12970" y="12848"/>
                </a:lnTo>
                <a:lnTo>
                  <a:pt x="12873" y="12848"/>
                </a:lnTo>
                <a:lnTo>
                  <a:pt x="12921" y="11826"/>
                </a:lnTo>
                <a:lnTo>
                  <a:pt x="12970" y="10804"/>
                </a:lnTo>
                <a:lnTo>
                  <a:pt x="12970" y="9806"/>
                </a:lnTo>
                <a:lnTo>
                  <a:pt x="12946" y="8809"/>
                </a:lnTo>
                <a:lnTo>
                  <a:pt x="12897" y="7836"/>
                </a:lnTo>
                <a:lnTo>
                  <a:pt x="12897" y="6838"/>
                </a:lnTo>
                <a:lnTo>
                  <a:pt x="12946" y="5986"/>
                </a:lnTo>
                <a:lnTo>
                  <a:pt x="12970" y="5110"/>
                </a:lnTo>
                <a:lnTo>
                  <a:pt x="12970" y="4672"/>
                </a:lnTo>
                <a:lnTo>
                  <a:pt x="12946" y="4234"/>
                </a:lnTo>
                <a:lnTo>
                  <a:pt x="12897" y="3821"/>
                </a:lnTo>
                <a:lnTo>
                  <a:pt x="12800" y="3383"/>
                </a:lnTo>
                <a:lnTo>
                  <a:pt x="13067" y="3285"/>
                </a:lnTo>
                <a:lnTo>
                  <a:pt x="13335" y="3164"/>
                </a:lnTo>
                <a:lnTo>
                  <a:pt x="13603" y="3042"/>
                </a:lnTo>
                <a:lnTo>
                  <a:pt x="13870" y="2920"/>
                </a:lnTo>
                <a:lnTo>
                  <a:pt x="14235" y="2750"/>
                </a:lnTo>
                <a:lnTo>
                  <a:pt x="14600" y="2555"/>
                </a:lnTo>
                <a:lnTo>
                  <a:pt x="15306" y="2142"/>
                </a:lnTo>
                <a:lnTo>
                  <a:pt x="15963" y="1752"/>
                </a:lnTo>
                <a:lnTo>
                  <a:pt x="16304" y="1558"/>
                </a:lnTo>
                <a:lnTo>
                  <a:pt x="16644" y="1388"/>
                </a:lnTo>
                <a:lnTo>
                  <a:pt x="17009" y="1242"/>
                </a:lnTo>
                <a:lnTo>
                  <a:pt x="17350" y="1096"/>
                </a:lnTo>
                <a:lnTo>
                  <a:pt x="17715" y="974"/>
                </a:lnTo>
                <a:lnTo>
                  <a:pt x="18104" y="877"/>
                </a:lnTo>
                <a:lnTo>
                  <a:pt x="18153" y="877"/>
                </a:lnTo>
                <a:lnTo>
                  <a:pt x="18202" y="828"/>
                </a:lnTo>
                <a:lnTo>
                  <a:pt x="18372" y="828"/>
                </a:lnTo>
                <a:lnTo>
                  <a:pt x="18542" y="804"/>
                </a:lnTo>
                <a:close/>
                <a:moveTo>
                  <a:pt x="6279" y="1"/>
                </a:moveTo>
                <a:lnTo>
                  <a:pt x="6206" y="25"/>
                </a:lnTo>
                <a:lnTo>
                  <a:pt x="5403" y="487"/>
                </a:lnTo>
                <a:lnTo>
                  <a:pt x="4989" y="682"/>
                </a:lnTo>
                <a:lnTo>
                  <a:pt x="4551" y="852"/>
                </a:lnTo>
                <a:lnTo>
                  <a:pt x="4113" y="1023"/>
                </a:lnTo>
                <a:lnTo>
                  <a:pt x="3700" y="1217"/>
                </a:lnTo>
                <a:lnTo>
                  <a:pt x="3286" y="1436"/>
                </a:lnTo>
                <a:lnTo>
                  <a:pt x="2872" y="1679"/>
                </a:lnTo>
                <a:lnTo>
                  <a:pt x="2021" y="2117"/>
                </a:lnTo>
                <a:lnTo>
                  <a:pt x="1607" y="2361"/>
                </a:lnTo>
                <a:lnTo>
                  <a:pt x="1193" y="2604"/>
                </a:lnTo>
                <a:lnTo>
                  <a:pt x="974" y="2726"/>
                </a:lnTo>
                <a:lnTo>
                  <a:pt x="731" y="2896"/>
                </a:lnTo>
                <a:lnTo>
                  <a:pt x="488" y="3066"/>
                </a:lnTo>
                <a:lnTo>
                  <a:pt x="390" y="3188"/>
                </a:lnTo>
                <a:lnTo>
                  <a:pt x="317" y="3285"/>
                </a:lnTo>
                <a:lnTo>
                  <a:pt x="269" y="3310"/>
                </a:lnTo>
                <a:lnTo>
                  <a:pt x="220" y="3358"/>
                </a:lnTo>
                <a:lnTo>
                  <a:pt x="171" y="3480"/>
                </a:lnTo>
                <a:lnTo>
                  <a:pt x="123" y="3626"/>
                </a:lnTo>
                <a:lnTo>
                  <a:pt x="98" y="3894"/>
                </a:lnTo>
                <a:lnTo>
                  <a:pt x="98" y="4186"/>
                </a:lnTo>
                <a:lnTo>
                  <a:pt x="123" y="4453"/>
                </a:lnTo>
                <a:lnTo>
                  <a:pt x="147" y="5329"/>
                </a:lnTo>
                <a:lnTo>
                  <a:pt x="171" y="6205"/>
                </a:lnTo>
                <a:lnTo>
                  <a:pt x="171" y="8006"/>
                </a:lnTo>
                <a:lnTo>
                  <a:pt x="147" y="9782"/>
                </a:lnTo>
                <a:lnTo>
                  <a:pt x="123" y="10658"/>
                </a:lnTo>
                <a:lnTo>
                  <a:pt x="98" y="11558"/>
                </a:lnTo>
                <a:lnTo>
                  <a:pt x="1" y="13335"/>
                </a:lnTo>
                <a:lnTo>
                  <a:pt x="1" y="13700"/>
                </a:lnTo>
                <a:lnTo>
                  <a:pt x="1" y="14065"/>
                </a:lnTo>
                <a:lnTo>
                  <a:pt x="25" y="14454"/>
                </a:lnTo>
                <a:lnTo>
                  <a:pt x="50" y="14819"/>
                </a:lnTo>
                <a:lnTo>
                  <a:pt x="98" y="15233"/>
                </a:lnTo>
                <a:lnTo>
                  <a:pt x="123" y="15646"/>
                </a:lnTo>
                <a:lnTo>
                  <a:pt x="147" y="16060"/>
                </a:lnTo>
                <a:lnTo>
                  <a:pt x="171" y="16255"/>
                </a:lnTo>
                <a:lnTo>
                  <a:pt x="220" y="16474"/>
                </a:lnTo>
                <a:lnTo>
                  <a:pt x="244" y="16547"/>
                </a:lnTo>
                <a:lnTo>
                  <a:pt x="317" y="16595"/>
                </a:lnTo>
                <a:lnTo>
                  <a:pt x="390" y="16620"/>
                </a:lnTo>
                <a:lnTo>
                  <a:pt x="463" y="16620"/>
                </a:lnTo>
                <a:lnTo>
                  <a:pt x="536" y="16644"/>
                </a:lnTo>
                <a:lnTo>
                  <a:pt x="707" y="16620"/>
                </a:lnTo>
                <a:lnTo>
                  <a:pt x="877" y="16595"/>
                </a:lnTo>
                <a:lnTo>
                  <a:pt x="1218" y="16474"/>
                </a:lnTo>
                <a:lnTo>
                  <a:pt x="1850" y="16230"/>
                </a:lnTo>
                <a:lnTo>
                  <a:pt x="2240" y="16060"/>
                </a:lnTo>
                <a:lnTo>
                  <a:pt x="2605" y="15890"/>
                </a:lnTo>
                <a:lnTo>
                  <a:pt x="2970" y="15719"/>
                </a:lnTo>
                <a:lnTo>
                  <a:pt x="3310" y="15525"/>
                </a:lnTo>
                <a:lnTo>
                  <a:pt x="4064" y="15062"/>
                </a:lnTo>
                <a:lnTo>
                  <a:pt x="4819" y="14624"/>
                </a:lnTo>
                <a:lnTo>
                  <a:pt x="5549" y="14162"/>
                </a:lnTo>
                <a:lnTo>
                  <a:pt x="5938" y="13967"/>
                </a:lnTo>
                <a:lnTo>
                  <a:pt x="6327" y="13748"/>
                </a:lnTo>
                <a:lnTo>
                  <a:pt x="6400" y="13821"/>
                </a:lnTo>
                <a:lnTo>
                  <a:pt x="6473" y="13870"/>
                </a:lnTo>
                <a:lnTo>
                  <a:pt x="6546" y="13894"/>
                </a:lnTo>
                <a:lnTo>
                  <a:pt x="6644" y="13870"/>
                </a:lnTo>
                <a:lnTo>
                  <a:pt x="6741" y="13992"/>
                </a:lnTo>
                <a:lnTo>
                  <a:pt x="6863" y="14089"/>
                </a:lnTo>
                <a:lnTo>
                  <a:pt x="7130" y="14259"/>
                </a:lnTo>
                <a:lnTo>
                  <a:pt x="7422" y="14405"/>
                </a:lnTo>
                <a:lnTo>
                  <a:pt x="7690" y="14551"/>
                </a:lnTo>
                <a:lnTo>
                  <a:pt x="8517" y="14916"/>
                </a:lnTo>
                <a:lnTo>
                  <a:pt x="9345" y="15306"/>
                </a:lnTo>
                <a:lnTo>
                  <a:pt x="10878" y="16011"/>
                </a:lnTo>
                <a:lnTo>
                  <a:pt x="11656" y="16352"/>
                </a:lnTo>
                <a:lnTo>
                  <a:pt x="12435" y="16644"/>
                </a:lnTo>
                <a:lnTo>
                  <a:pt x="12459" y="16668"/>
                </a:lnTo>
                <a:lnTo>
                  <a:pt x="12508" y="16741"/>
                </a:lnTo>
                <a:lnTo>
                  <a:pt x="12581" y="16766"/>
                </a:lnTo>
                <a:lnTo>
                  <a:pt x="12678" y="16766"/>
                </a:lnTo>
                <a:lnTo>
                  <a:pt x="12751" y="16741"/>
                </a:lnTo>
                <a:lnTo>
                  <a:pt x="12800" y="16693"/>
                </a:lnTo>
                <a:lnTo>
                  <a:pt x="12897" y="16717"/>
                </a:lnTo>
                <a:lnTo>
                  <a:pt x="13019" y="16717"/>
                </a:lnTo>
                <a:lnTo>
                  <a:pt x="13286" y="16668"/>
                </a:lnTo>
                <a:lnTo>
                  <a:pt x="13530" y="16595"/>
                </a:lnTo>
                <a:lnTo>
                  <a:pt x="13724" y="16522"/>
                </a:lnTo>
                <a:lnTo>
                  <a:pt x="14211" y="16279"/>
                </a:lnTo>
                <a:lnTo>
                  <a:pt x="14698" y="16036"/>
                </a:lnTo>
                <a:lnTo>
                  <a:pt x="15647" y="15500"/>
                </a:lnTo>
                <a:lnTo>
                  <a:pt x="16596" y="14965"/>
                </a:lnTo>
                <a:lnTo>
                  <a:pt x="17058" y="14697"/>
                </a:lnTo>
                <a:lnTo>
                  <a:pt x="17545" y="14478"/>
                </a:lnTo>
                <a:lnTo>
                  <a:pt x="17885" y="14332"/>
                </a:lnTo>
                <a:lnTo>
                  <a:pt x="18226" y="14186"/>
                </a:lnTo>
                <a:lnTo>
                  <a:pt x="18542" y="14016"/>
                </a:lnTo>
                <a:lnTo>
                  <a:pt x="18688" y="13894"/>
                </a:lnTo>
                <a:lnTo>
                  <a:pt x="18834" y="13773"/>
                </a:lnTo>
                <a:lnTo>
                  <a:pt x="18883" y="13748"/>
                </a:lnTo>
                <a:lnTo>
                  <a:pt x="18932" y="13724"/>
                </a:lnTo>
                <a:lnTo>
                  <a:pt x="18980" y="13651"/>
                </a:lnTo>
                <a:lnTo>
                  <a:pt x="18980" y="13578"/>
                </a:lnTo>
                <a:lnTo>
                  <a:pt x="18980" y="12726"/>
                </a:lnTo>
                <a:lnTo>
                  <a:pt x="18956" y="11875"/>
                </a:lnTo>
                <a:lnTo>
                  <a:pt x="18883" y="10171"/>
                </a:lnTo>
                <a:lnTo>
                  <a:pt x="18859" y="9271"/>
                </a:lnTo>
                <a:lnTo>
                  <a:pt x="18859" y="8347"/>
                </a:lnTo>
                <a:lnTo>
                  <a:pt x="18883" y="6546"/>
                </a:lnTo>
                <a:lnTo>
                  <a:pt x="18932" y="4648"/>
                </a:lnTo>
                <a:lnTo>
                  <a:pt x="18956" y="2726"/>
                </a:lnTo>
                <a:lnTo>
                  <a:pt x="18980" y="2215"/>
                </a:lnTo>
                <a:lnTo>
                  <a:pt x="18980" y="1679"/>
                </a:lnTo>
                <a:lnTo>
                  <a:pt x="18932" y="1144"/>
                </a:lnTo>
                <a:lnTo>
                  <a:pt x="18883" y="901"/>
                </a:lnTo>
                <a:lnTo>
                  <a:pt x="18834" y="633"/>
                </a:lnTo>
                <a:lnTo>
                  <a:pt x="18883" y="585"/>
                </a:lnTo>
                <a:lnTo>
                  <a:pt x="18883" y="512"/>
                </a:lnTo>
                <a:lnTo>
                  <a:pt x="18883" y="439"/>
                </a:lnTo>
                <a:lnTo>
                  <a:pt x="18834" y="366"/>
                </a:lnTo>
                <a:lnTo>
                  <a:pt x="18761" y="293"/>
                </a:lnTo>
                <a:lnTo>
                  <a:pt x="18664" y="244"/>
                </a:lnTo>
                <a:lnTo>
                  <a:pt x="18421" y="244"/>
                </a:lnTo>
                <a:lnTo>
                  <a:pt x="18177" y="317"/>
                </a:lnTo>
                <a:lnTo>
                  <a:pt x="17958" y="414"/>
                </a:lnTo>
                <a:lnTo>
                  <a:pt x="17715" y="487"/>
                </a:lnTo>
                <a:lnTo>
                  <a:pt x="17374" y="585"/>
                </a:lnTo>
                <a:lnTo>
                  <a:pt x="17058" y="706"/>
                </a:lnTo>
                <a:lnTo>
                  <a:pt x="16742" y="828"/>
                </a:lnTo>
                <a:lnTo>
                  <a:pt x="16425" y="974"/>
                </a:lnTo>
                <a:lnTo>
                  <a:pt x="15817" y="1290"/>
                </a:lnTo>
                <a:lnTo>
                  <a:pt x="15209" y="1655"/>
                </a:lnTo>
                <a:lnTo>
                  <a:pt x="14479" y="2117"/>
                </a:lnTo>
                <a:lnTo>
                  <a:pt x="14089" y="2312"/>
                </a:lnTo>
                <a:lnTo>
                  <a:pt x="13700" y="2507"/>
                </a:lnTo>
                <a:lnTo>
                  <a:pt x="13432" y="2628"/>
                </a:lnTo>
                <a:lnTo>
                  <a:pt x="13165" y="2750"/>
                </a:lnTo>
                <a:lnTo>
                  <a:pt x="12897" y="2920"/>
                </a:lnTo>
                <a:lnTo>
                  <a:pt x="12654" y="3091"/>
                </a:lnTo>
                <a:lnTo>
                  <a:pt x="12532" y="2969"/>
                </a:lnTo>
                <a:lnTo>
                  <a:pt x="12386" y="2896"/>
                </a:lnTo>
                <a:lnTo>
                  <a:pt x="12070" y="2750"/>
                </a:lnTo>
                <a:lnTo>
                  <a:pt x="11875" y="2653"/>
                </a:lnTo>
                <a:lnTo>
                  <a:pt x="11705" y="2555"/>
                </a:lnTo>
                <a:lnTo>
                  <a:pt x="11316" y="2336"/>
                </a:lnTo>
                <a:lnTo>
                  <a:pt x="11072" y="2190"/>
                </a:lnTo>
                <a:lnTo>
                  <a:pt x="10805" y="2093"/>
                </a:lnTo>
                <a:lnTo>
                  <a:pt x="10294" y="1874"/>
                </a:lnTo>
                <a:lnTo>
                  <a:pt x="9758" y="1679"/>
                </a:lnTo>
                <a:lnTo>
                  <a:pt x="9223" y="1485"/>
                </a:lnTo>
                <a:lnTo>
                  <a:pt x="8298" y="1071"/>
                </a:lnTo>
                <a:lnTo>
                  <a:pt x="7836" y="852"/>
                </a:lnTo>
                <a:lnTo>
                  <a:pt x="7398" y="609"/>
                </a:lnTo>
                <a:lnTo>
                  <a:pt x="7325" y="536"/>
                </a:lnTo>
                <a:lnTo>
                  <a:pt x="7228" y="439"/>
                </a:lnTo>
                <a:lnTo>
                  <a:pt x="7057" y="244"/>
                </a:lnTo>
                <a:lnTo>
                  <a:pt x="6936" y="147"/>
                </a:lnTo>
                <a:lnTo>
                  <a:pt x="6838" y="74"/>
                </a:lnTo>
                <a:lnTo>
                  <a:pt x="6741" y="25"/>
                </a:lnTo>
                <a:lnTo>
                  <a:pt x="6619" y="25"/>
                </a:lnTo>
                <a:lnTo>
                  <a:pt x="6571" y="1"/>
                </a:lnTo>
                <a:lnTo>
                  <a:pt x="6498" y="1"/>
                </a:lnTo>
                <a:lnTo>
                  <a:pt x="6449" y="25"/>
                </a:lnTo>
                <a:lnTo>
                  <a:pt x="640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3" name="Graphic 12" descr="Open quotation mark with solid fill">
            <a:extLst>
              <a:ext uri="{FF2B5EF4-FFF2-40B4-BE49-F238E27FC236}">
                <a16:creationId xmlns:a16="http://schemas.microsoft.com/office/drawing/2014/main" id="{E55D6B8C-030F-F333-0125-8CFE4A7A826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14722" y="1442113"/>
            <a:ext cx="914400" cy="914400"/>
          </a:xfrm>
          <a:prstGeom prst="rect">
            <a:avLst/>
          </a:prstGeom>
        </p:spPr>
      </p:pic>
    </p:spTree>
    <p:extLst>
      <p:ext uri="{BB962C8B-B14F-4D97-AF65-F5344CB8AC3E}">
        <p14:creationId xmlns:p14="http://schemas.microsoft.com/office/powerpoint/2010/main" val="12348329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39</a:t>
            </a:fld>
            <a:endParaRPr lang="da-DK"/>
          </a:p>
        </p:txBody>
      </p:sp>
      <p:sp>
        <p:nvSpPr>
          <p:cNvPr id="3" name="Rectangle 2">
            <a:extLst>
              <a:ext uri="{FF2B5EF4-FFF2-40B4-BE49-F238E27FC236}">
                <a16:creationId xmlns:a16="http://schemas.microsoft.com/office/drawing/2014/main" id="{009F6E58-4DCA-9E38-B01F-1ECADE97A28B}"/>
              </a:ext>
            </a:extLst>
          </p:cNvPr>
          <p:cNvSpPr/>
          <p:nvPr/>
        </p:nvSpPr>
        <p:spPr>
          <a:xfrm rot="1069853">
            <a:off x="4642654" y="2801813"/>
            <a:ext cx="2942220" cy="2627871"/>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000">
              <a:solidFill>
                <a:srgbClr val="273F68"/>
              </a:solidFill>
              <a:latin typeface="Amatic SC" panose="00000500000000000000" pitchFamily="2" charset="-79"/>
              <a:cs typeface="Amatic SC" panose="00000500000000000000" pitchFamily="2" charset="-79"/>
            </a:endParaRPr>
          </a:p>
          <a:p>
            <a:pPr algn="ctr"/>
            <a:endParaRPr lang="da-DK" sz="2400" b="1">
              <a:solidFill>
                <a:srgbClr val="273F68"/>
              </a:solidFill>
              <a:latin typeface="Amatic SC" panose="00000500000000000000" pitchFamily="2" charset="-79"/>
              <a:cs typeface="Amatic SC" panose="00000500000000000000" pitchFamily="2" charset="-79"/>
            </a:endParaRPr>
          </a:p>
          <a:p>
            <a:pPr algn="ctr"/>
            <a:r>
              <a:rPr lang="da-DK" sz="2400" b="1">
                <a:solidFill>
                  <a:srgbClr val="273F68"/>
                </a:solidFill>
                <a:latin typeface="Amatic SC" panose="00000500000000000000" pitchFamily="2" charset="-79"/>
                <a:cs typeface="Amatic SC" panose="00000500000000000000" pitchFamily="2" charset="-79"/>
              </a:rPr>
              <a:t>Hvordan kan vi lede tættere på personalets udviklingsarbejde – og sikre, at vores medarbejdere oplever det?</a:t>
            </a:r>
          </a:p>
          <a:p>
            <a:pPr>
              <a:lnSpc>
                <a:spcPct val="150000"/>
              </a:lnSpc>
            </a:pPr>
            <a:endParaRPr lang="da-DK" sz="2400" noProof="0">
              <a:solidFill>
                <a:srgbClr val="273F68"/>
              </a:solidFill>
              <a:latin typeface="Amatic SC" panose="00000500000000000000" pitchFamily="2" charset="-79"/>
              <a:cs typeface="Amatic SC" panose="00000500000000000000" pitchFamily="2" charset="-79"/>
            </a:endParaRPr>
          </a:p>
        </p:txBody>
      </p:sp>
      <p:pic>
        <p:nvPicPr>
          <p:cNvPr id="6" name="Graphic 5" descr="Paperclip with solid fill">
            <a:extLst>
              <a:ext uri="{FF2B5EF4-FFF2-40B4-BE49-F238E27FC236}">
                <a16:creationId xmlns:a16="http://schemas.microsoft.com/office/drawing/2014/main" id="{D7387F3A-086D-FA22-0B7B-CAD87F038D2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140968">
            <a:off x="6220019" y="2390579"/>
            <a:ext cx="914400" cy="914400"/>
          </a:xfrm>
          <a:prstGeom prst="rect">
            <a:avLst/>
          </a:prstGeom>
        </p:spPr>
      </p:pic>
      <p:sp>
        <p:nvSpPr>
          <p:cNvPr id="7" name="Rectangle 6">
            <a:extLst>
              <a:ext uri="{FF2B5EF4-FFF2-40B4-BE49-F238E27FC236}">
                <a16:creationId xmlns:a16="http://schemas.microsoft.com/office/drawing/2014/main" id="{78F37C90-05A6-A2FA-5A00-3BC2B9953D93}"/>
              </a:ext>
            </a:extLst>
          </p:cNvPr>
          <p:cNvSpPr/>
          <p:nvPr/>
        </p:nvSpPr>
        <p:spPr>
          <a:xfrm rot="437979">
            <a:off x="8510072" y="2440525"/>
            <a:ext cx="2850324" cy="2694111"/>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000">
              <a:solidFill>
                <a:srgbClr val="273F68"/>
              </a:solidFill>
              <a:latin typeface="Amatic SC" panose="00000500000000000000" pitchFamily="2" charset="-79"/>
              <a:cs typeface="Amatic SC" panose="00000500000000000000" pitchFamily="2" charset="-79"/>
            </a:endParaRPr>
          </a:p>
          <a:p>
            <a:pPr algn="ctr"/>
            <a:endParaRPr lang="da-DK" sz="2400" b="1">
              <a:solidFill>
                <a:srgbClr val="273F68"/>
              </a:solidFill>
              <a:latin typeface="Amatic SC" panose="00000500000000000000" pitchFamily="2" charset="-79"/>
              <a:cs typeface="Amatic SC" panose="00000500000000000000" pitchFamily="2" charset="-79"/>
            </a:endParaRPr>
          </a:p>
          <a:p>
            <a:pPr algn="ctr"/>
            <a:r>
              <a:rPr lang="da-DK" sz="2400" b="1">
                <a:solidFill>
                  <a:srgbClr val="273F68"/>
                </a:solidFill>
                <a:latin typeface="Amatic SC" panose="00000500000000000000" pitchFamily="2" charset="-79"/>
                <a:cs typeface="Amatic SC" panose="00000500000000000000" pitchFamily="2" charset="-79"/>
              </a:rPr>
              <a:t>Hvordan vil vi som ledere skabe større synlighed på skolen om de gode erfaringer fra aktionslæring?</a:t>
            </a:r>
            <a:endParaRPr lang="da-DK" sz="2000" b="1" noProof="0">
              <a:solidFill>
                <a:srgbClr val="273F68"/>
              </a:solidFill>
              <a:latin typeface="Amatic SC" panose="00000500000000000000" pitchFamily="2" charset="-79"/>
              <a:cs typeface="Amatic SC" panose="00000500000000000000" pitchFamily="2" charset="-79"/>
            </a:endParaRPr>
          </a:p>
        </p:txBody>
      </p:sp>
      <p:sp>
        <p:nvSpPr>
          <p:cNvPr id="8" name="Rectangle 7">
            <a:extLst>
              <a:ext uri="{FF2B5EF4-FFF2-40B4-BE49-F238E27FC236}">
                <a16:creationId xmlns:a16="http://schemas.microsoft.com/office/drawing/2014/main" id="{0BF9C52F-6741-2731-1D9F-EC4DD8953C35}"/>
              </a:ext>
            </a:extLst>
          </p:cNvPr>
          <p:cNvSpPr/>
          <p:nvPr/>
        </p:nvSpPr>
        <p:spPr>
          <a:xfrm rot="20942225">
            <a:off x="1206123" y="2405627"/>
            <a:ext cx="2817291" cy="235549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000" b="1">
              <a:solidFill>
                <a:srgbClr val="273F68"/>
              </a:solidFill>
              <a:latin typeface="Amatic SC" panose="00000500000000000000" pitchFamily="2" charset="-79"/>
              <a:cs typeface="Amatic SC" panose="00000500000000000000" pitchFamily="2" charset="-79"/>
            </a:endParaRPr>
          </a:p>
          <a:p>
            <a:pPr algn="ctr"/>
            <a:r>
              <a:rPr lang="da-DK" sz="2400" b="1" noProof="0">
                <a:solidFill>
                  <a:srgbClr val="273F68"/>
                </a:solidFill>
                <a:latin typeface="Amatic SC" panose="00000500000000000000" pitchFamily="2" charset="-79"/>
                <a:cs typeface="Amatic SC" panose="00000500000000000000" pitchFamily="2" charset="-79"/>
              </a:rPr>
              <a:t>Hvordan kan vi i højere grad aktivere og samarbejde med vores vejledere på skolen om at udvikle praksis?</a:t>
            </a:r>
            <a:endParaRPr lang="da-DK" sz="2000" b="1" noProof="0">
              <a:solidFill>
                <a:srgbClr val="273F68"/>
              </a:solidFill>
              <a:latin typeface="Amatic SC" panose="00000500000000000000" pitchFamily="2" charset="-79"/>
              <a:cs typeface="Amatic SC" panose="00000500000000000000" pitchFamily="2" charset="-79"/>
            </a:endParaRPr>
          </a:p>
        </p:txBody>
      </p:sp>
      <p:pic>
        <p:nvPicPr>
          <p:cNvPr id="9" name="Graphic 8" descr="Paperclip with solid fill">
            <a:extLst>
              <a:ext uri="{FF2B5EF4-FFF2-40B4-BE49-F238E27FC236}">
                <a16:creationId xmlns:a16="http://schemas.microsoft.com/office/drawing/2014/main" id="{5EA0194D-3DFE-D9BE-2D12-91F8CE238E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1114206">
            <a:off x="1899915" y="1914486"/>
            <a:ext cx="914400" cy="914400"/>
          </a:xfrm>
          <a:prstGeom prst="rect">
            <a:avLst/>
          </a:prstGeom>
        </p:spPr>
      </p:pic>
      <p:pic>
        <p:nvPicPr>
          <p:cNvPr id="11" name="Graphic 10" descr="Paperclip with solid fill">
            <a:extLst>
              <a:ext uri="{FF2B5EF4-FFF2-40B4-BE49-F238E27FC236}">
                <a16:creationId xmlns:a16="http://schemas.microsoft.com/office/drawing/2014/main" id="{2BAE1577-CA5B-0D70-CF80-D254BC6DF1B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346786">
            <a:off x="9657072" y="1930604"/>
            <a:ext cx="914400" cy="914400"/>
          </a:xfrm>
          <a:prstGeom prst="rect">
            <a:avLst/>
          </a:prstGeom>
        </p:spPr>
      </p:pic>
      <p:sp>
        <p:nvSpPr>
          <p:cNvPr id="2" name="Google Shape;846;p29">
            <a:extLst>
              <a:ext uri="{FF2B5EF4-FFF2-40B4-BE49-F238E27FC236}">
                <a16:creationId xmlns:a16="http://schemas.microsoft.com/office/drawing/2014/main" id="{09FEB898-1DF8-9F97-B9ED-DC436C2EF578}"/>
              </a:ext>
            </a:extLst>
          </p:cNvPr>
          <p:cNvSpPr/>
          <p:nvPr/>
        </p:nvSpPr>
        <p:spPr>
          <a:xfrm>
            <a:off x="0" y="346507"/>
            <a:ext cx="12192001" cy="854281"/>
          </a:xfrm>
          <a:prstGeom prst="rect">
            <a:avLst/>
          </a:prstGeom>
          <a:solidFill>
            <a:schemeClr val="accent3"/>
          </a:solidFill>
          <a:ln>
            <a:noFill/>
          </a:ln>
        </p:spPr>
        <p:txBody>
          <a:bodyPr spcFirstLastPara="1" wrap="square" lIns="396000" tIns="91425" rIns="91425" bIns="91425" anchor="ctr" anchorCtr="0">
            <a:noAutofit/>
          </a:bodyPr>
          <a:lstStyle/>
          <a:p>
            <a:pPr algn="ctr"/>
            <a:r>
              <a:rPr lang="da-DK" sz="3200" b="1">
                <a:solidFill>
                  <a:schemeClr val="bg1"/>
                </a:solidFill>
                <a:latin typeface="Amatic SC"/>
                <a:ea typeface="Amatic SC"/>
                <a:cs typeface="Amatic SC"/>
                <a:sym typeface="Amatic SC"/>
              </a:rPr>
              <a:t>refleksionsspørgsmål</a:t>
            </a:r>
            <a:endParaRPr lang="da-DK" sz="3200" b="1">
              <a:solidFill>
                <a:schemeClr val="bg1"/>
              </a:solidFill>
              <a:latin typeface="Amatic SC" panose="00000500000000000000" pitchFamily="2" charset="-79"/>
              <a:cs typeface="Amatic SC" panose="00000500000000000000" pitchFamily="2" charset="-79"/>
            </a:endParaRPr>
          </a:p>
        </p:txBody>
      </p:sp>
      <p:sp>
        <p:nvSpPr>
          <p:cNvPr id="14" name="TextBox 13">
            <a:extLst>
              <a:ext uri="{FF2B5EF4-FFF2-40B4-BE49-F238E27FC236}">
                <a16:creationId xmlns:a16="http://schemas.microsoft.com/office/drawing/2014/main" id="{608E44C1-1F89-D9B8-23F6-EA7E9250FEA7}"/>
              </a:ext>
            </a:extLst>
          </p:cNvPr>
          <p:cNvSpPr txBox="1"/>
          <p:nvPr/>
        </p:nvSpPr>
        <p:spPr>
          <a:xfrm>
            <a:off x="892443" y="6413674"/>
            <a:ext cx="10772775" cy="123111"/>
          </a:xfrm>
          <a:prstGeom prst="rect">
            <a:avLst/>
          </a:prstGeom>
          <a:noFill/>
        </p:spPr>
        <p:txBody>
          <a:bodyPr wrap="square" lIns="0" tIns="0" rIns="0" bIns="0" rtlCol="0">
            <a:spAutoFit/>
          </a:bodyPr>
          <a:lstStyle/>
          <a:p>
            <a:r>
              <a:rPr lang="da-DK" sz="800">
                <a:latin typeface="Quicksand" panose="020B0604020202020204"/>
              </a:rPr>
              <a:t>*I kan med fordel inddrage og perspektivere til skolens resultater i skolerapporten </a:t>
            </a:r>
            <a:r>
              <a:rPr lang="da-DK" sz="800">
                <a:solidFill>
                  <a:schemeClr val="tx1"/>
                </a:solidFill>
                <a:latin typeface="Quicksand" panose="020B0604020202020204" charset="0"/>
                <a:ea typeface="Quicksand"/>
                <a:cs typeface="Quicksand" panose="020B0604020202020204" charset="0"/>
                <a:sym typeface="Quicksand"/>
              </a:rPr>
              <a:t>under temaet ”det pædagogiske personales vurdering af ledelsesunderstøttelse” og ”Ledelsens vurdering af ledelsesunderstøttelse”. </a:t>
            </a:r>
            <a:endParaRPr lang="da-DK" sz="800">
              <a:latin typeface="Quicksand" panose="020B0604020202020204"/>
            </a:endParaRPr>
          </a:p>
        </p:txBody>
      </p:sp>
    </p:spTree>
    <p:extLst>
      <p:ext uri="{BB962C8B-B14F-4D97-AF65-F5344CB8AC3E}">
        <p14:creationId xmlns:p14="http://schemas.microsoft.com/office/powerpoint/2010/main" val="21774644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994;p40">
            <a:extLst>
              <a:ext uri="{FF2B5EF4-FFF2-40B4-BE49-F238E27FC236}">
                <a16:creationId xmlns:a16="http://schemas.microsoft.com/office/drawing/2014/main" id="{BA0BBE7D-21F9-08A7-A26A-8F37966361FC}"/>
              </a:ext>
            </a:extLst>
          </p:cNvPr>
          <p:cNvSpPr txBox="1">
            <a:spLocks/>
          </p:cNvSpPr>
          <p:nvPr/>
        </p:nvSpPr>
        <p:spPr>
          <a:xfrm>
            <a:off x="0" y="370872"/>
            <a:ext cx="12191999" cy="71435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1pPr>
            <a:lvl2pPr marR="0" lvl="1"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2pPr>
            <a:lvl3pPr marR="0" lvl="2"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3pPr>
            <a:lvl4pPr marR="0" lvl="3"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4pPr>
            <a:lvl5pPr marR="0" lvl="4"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5pPr>
            <a:lvl6pPr marR="0" lvl="5"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6pPr>
            <a:lvl7pPr marR="0" lvl="6"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7pPr>
            <a:lvl8pPr marR="0" lvl="7"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8pPr>
            <a:lvl9pPr marR="0" lvl="8"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9pPr>
          </a:lstStyle>
          <a:p>
            <a:pPr marL="0" marR="0" lvl="0" indent="0" defTabSz="914400" eaLnBrk="1" fontAlgn="auto" latinLnBrk="0" hangingPunct="1">
              <a:lnSpc>
                <a:spcPct val="90000"/>
              </a:lnSpc>
              <a:spcBef>
                <a:spcPts val="0"/>
              </a:spcBef>
              <a:spcAft>
                <a:spcPts val="0"/>
              </a:spcAft>
              <a:buClr>
                <a:srgbClr val="273F68"/>
              </a:buClr>
              <a:buSzPts val="3000"/>
              <a:buFont typeface="Amatic SC"/>
              <a:buNone/>
              <a:tabLst/>
              <a:defRPr/>
            </a:pPr>
            <a:r>
              <a:rPr kumimoji="0" lang="da-DK" sz="4000" b="1" i="0" u="none" strike="noStrike" kern="0" cap="none" spc="0" normalizeH="0" baseline="0" noProof="0">
                <a:ln>
                  <a:noFill/>
                </a:ln>
                <a:solidFill>
                  <a:srgbClr val="273F68"/>
                </a:solidFill>
                <a:effectLst/>
                <a:uLnTx/>
                <a:uFillTx/>
                <a:latin typeface="Amatic SC"/>
                <a:cs typeface="Amatic SC"/>
                <a:sym typeface="Amatic SC"/>
              </a:rPr>
              <a:t>Evalueringen undersøger…</a:t>
            </a:r>
          </a:p>
        </p:txBody>
      </p:sp>
      <p:sp>
        <p:nvSpPr>
          <p:cNvPr id="3" name="Google Shape;1257;p48">
            <a:extLst>
              <a:ext uri="{FF2B5EF4-FFF2-40B4-BE49-F238E27FC236}">
                <a16:creationId xmlns:a16="http://schemas.microsoft.com/office/drawing/2014/main" id="{E7B76EA4-CEC4-4BFE-E6D2-383172D78FA7}"/>
              </a:ext>
            </a:extLst>
          </p:cNvPr>
          <p:cNvSpPr/>
          <p:nvPr/>
        </p:nvSpPr>
        <p:spPr>
          <a:xfrm flipH="1">
            <a:off x="3274841" y="318859"/>
            <a:ext cx="651593" cy="591445"/>
          </a:xfrm>
          <a:custGeom>
            <a:avLst/>
            <a:gdLst/>
            <a:ahLst/>
            <a:cxnLst/>
            <a:rect l="l" t="t" r="r" b="b"/>
            <a:pathLst>
              <a:path w="17082" h="17228" extrusionOk="0">
                <a:moveTo>
                  <a:pt x="6497" y="2993"/>
                </a:moveTo>
                <a:lnTo>
                  <a:pt x="6400" y="3042"/>
                </a:lnTo>
                <a:lnTo>
                  <a:pt x="6302" y="3090"/>
                </a:lnTo>
                <a:lnTo>
                  <a:pt x="6229" y="3212"/>
                </a:lnTo>
                <a:lnTo>
                  <a:pt x="6229" y="3285"/>
                </a:lnTo>
                <a:lnTo>
                  <a:pt x="6254" y="3334"/>
                </a:lnTo>
                <a:lnTo>
                  <a:pt x="6278" y="3407"/>
                </a:lnTo>
                <a:lnTo>
                  <a:pt x="6351" y="3455"/>
                </a:lnTo>
                <a:lnTo>
                  <a:pt x="6400" y="3480"/>
                </a:lnTo>
                <a:lnTo>
                  <a:pt x="6643" y="3480"/>
                </a:lnTo>
                <a:lnTo>
                  <a:pt x="6692" y="3504"/>
                </a:lnTo>
                <a:lnTo>
                  <a:pt x="6911" y="3504"/>
                </a:lnTo>
                <a:lnTo>
                  <a:pt x="6959" y="3480"/>
                </a:lnTo>
                <a:lnTo>
                  <a:pt x="7008" y="3455"/>
                </a:lnTo>
                <a:lnTo>
                  <a:pt x="7057" y="3407"/>
                </a:lnTo>
                <a:lnTo>
                  <a:pt x="7057" y="3334"/>
                </a:lnTo>
                <a:lnTo>
                  <a:pt x="7057" y="3212"/>
                </a:lnTo>
                <a:lnTo>
                  <a:pt x="7032" y="3163"/>
                </a:lnTo>
                <a:lnTo>
                  <a:pt x="7008" y="3115"/>
                </a:lnTo>
                <a:lnTo>
                  <a:pt x="6935" y="3042"/>
                </a:lnTo>
                <a:lnTo>
                  <a:pt x="6838" y="3017"/>
                </a:lnTo>
                <a:lnTo>
                  <a:pt x="6716" y="2993"/>
                </a:lnTo>
                <a:close/>
                <a:moveTo>
                  <a:pt x="5743" y="3236"/>
                </a:moveTo>
                <a:lnTo>
                  <a:pt x="5670" y="3261"/>
                </a:lnTo>
                <a:lnTo>
                  <a:pt x="5402" y="3358"/>
                </a:lnTo>
                <a:lnTo>
                  <a:pt x="5134" y="3480"/>
                </a:lnTo>
                <a:lnTo>
                  <a:pt x="4891" y="3601"/>
                </a:lnTo>
                <a:lnTo>
                  <a:pt x="4672" y="3747"/>
                </a:lnTo>
                <a:lnTo>
                  <a:pt x="4453" y="3918"/>
                </a:lnTo>
                <a:lnTo>
                  <a:pt x="4234" y="4088"/>
                </a:lnTo>
                <a:lnTo>
                  <a:pt x="4039" y="4283"/>
                </a:lnTo>
                <a:lnTo>
                  <a:pt x="3869" y="4477"/>
                </a:lnTo>
                <a:lnTo>
                  <a:pt x="3699" y="4696"/>
                </a:lnTo>
                <a:lnTo>
                  <a:pt x="3553" y="4940"/>
                </a:lnTo>
                <a:lnTo>
                  <a:pt x="3431" y="5159"/>
                </a:lnTo>
                <a:lnTo>
                  <a:pt x="3309" y="5402"/>
                </a:lnTo>
                <a:lnTo>
                  <a:pt x="3236" y="5670"/>
                </a:lnTo>
                <a:lnTo>
                  <a:pt x="3163" y="5937"/>
                </a:lnTo>
                <a:lnTo>
                  <a:pt x="3115" y="6229"/>
                </a:lnTo>
                <a:lnTo>
                  <a:pt x="3090" y="6497"/>
                </a:lnTo>
                <a:lnTo>
                  <a:pt x="3090" y="6546"/>
                </a:lnTo>
                <a:lnTo>
                  <a:pt x="3115" y="6594"/>
                </a:lnTo>
                <a:lnTo>
                  <a:pt x="3188" y="6667"/>
                </a:lnTo>
                <a:lnTo>
                  <a:pt x="3261" y="6716"/>
                </a:lnTo>
                <a:lnTo>
                  <a:pt x="3285" y="6716"/>
                </a:lnTo>
                <a:lnTo>
                  <a:pt x="3309" y="6692"/>
                </a:lnTo>
                <a:lnTo>
                  <a:pt x="3382" y="6667"/>
                </a:lnTo>
                <a:lnTo>
                  <a:pt x="3431" y="6594"/>
                </a:lnTo>
                <a:lnTo>
                  <a:pt x="3480" y="6546"/>
                </a:lnTo>
                <a:lnTo>
                  <a:pt x="3504" y="6473"/>
                </a:lnTo>
                <a:lnTo>
                  <a:pt x="3528" y="6156"/>
                </a:lnTo>
                <a:lnTo>
                  <a:pt x="3601" y="5864"/>
                </a:lnTo>
                <a:lnTo>
                  <a:pt x="3699" y="5597"/>
                </a:lnTo>
                <a:lnTo>
                  <a:pt x="3820" y="5353"/>
                </a:lnTo>
                <a:lnTo>
                  <a:pt x="3966" y="5086"/>
                </a:lnTo>
                <a:lnTo>
                  <a:pt x="4137" y="4867"/>
                </a:lnTo>
                <a:lnTo>
                  <a:pt x="4307" y="4623"/>
                </a:lnTo>
                <a:lnTo>
                  <a:pt x="4526" y="4429"/>
                </a:lnTo>
                <a:lnTo>
                  <a:pt x="4745" y="4234"/>
                </a:lnTo>
                <a:lnTo>
                  <a:pt x="4988" y="4088"/>
                </a:lnTo>
                <a:lnTo>
                  <a:pt x="5256" y="3942"/>
                </a:lnTo>
                <a:lnTo>
                  <a:pt x="5499" y="3796"/>
                </a:lnTo>
                <a:lnTo>
                  <a:pt x="5767" y="3699"/>
                </a:lnTo>
                <a:lnTo>
                  <a:pt x="5864" y="3650"/>
                </a:lnTo>
                <a:lnTo>
                  <a:pt x="5913" y="3577"/>
                </a:lnTo>
                <a:lnTo>
                  <a:pt x="5937" y="3504"/>
                </a:lnTo>
                <a:lnTo>
                  <a:pt x="5937" y="3407"/>
                </a:lnTo>
                <a:lnTo>
                  <a:pt x="5889" y="3334"/>
                </a:lnTo>
                <a:lnTo>
                  <a:pt x="5840" y="3285"/>
                </a:lnTo>
                <a:lnTo>
                  <a:pt x="5743" y="3236"/>
                </a:lnTo>
                <a:close/>
                <a:moveTo>
                  <a:pt x="7324" y="1971"/>
                </a:moveTo>
                <a:lnTo>
                  <a:pt x="7787" y="2020"/>
                </a:lnTo>
                <a:lnTo>
                  <a:pt x="8249" y="2141"/>
                </a:lnTo>
                <a:lnTo>
                  <a:pt x="8687" y="2312"/>
                </a:lnTo>
                <a:lnTo>
                  <a:pt x="9101" y="2506"/>
                </a:lnTo>
                <a:lnTo>
                  <a:pt x="9490" y="2774"/>
                </a:lnTo>
                <a:lnTo>
                  <a:pt x="9879" y="3066"/>
                </a:lnTo>
                <a:lnTo>
                  <a:pt x="10220" y="3431"/>
                </a:lnTo>
                <a:lnTo>
                  <a:pt x="10512" y="3820"/>
                </a:lnTo>
                <a:lnTo>
                  <a:pt x="10707" y="4088"/>
                </a:lnTo>
                <a:lnTo>
                  <a:pt x="10877" y="4380"/>
                </a:lnTo>
                <a:lnTo>
                  <a:pt x="11023" y="4696"/>
                </a:lnTo>
                <a:lnTo>
                  <a:pt x="11120" y="5013"/>
                </a:lnTo>
                <a:lnTo>
                  <a:pt x="11217" y="5329"/>
                </a:lnTo>
                <a:lnTo>
                  <a:pt x="11266" y="5645"/>
                </a:lnTo>
                <a:lnTo>
                  <a:pt x="11315" y="5986"/>
                </a:lnTo>
                <a:lnTo>
                  <a:pt x="11315" y="6302"/>
                </a:lnTo>
                <a:lnTo>
                  <a:pt x="11315" y="6643"/>
                </a:lnTo>
                <a:lnTo>
                  <a:pt x="11266" y="6959"/>
                </a:lnTo>
                <a:lnTo>
                  <a:pt x="11217" y="7300"/>
                </a:lnTo>
                <a:lnTo>
                  <a:pt x="11144" y="7616"/>
                </a:lnTo>
                <a:lnTo>
                  <a:pt x="11047" y="7932"/>
                </a:lnTo>
                <a:lnTo>
                  <a:pt x="10925" y="8249"/>
                </a:lnTo>
                <a:lnTo>
                  <a:pt x="10780" y="8565"/>
                </a:lnTo>
                <a:lnTo>
                  <a:pt x="10634" y="8857"/>
                </a:lnTo>
                <a:lnTo>
                  <a:pt x="10439" y="9173"/>
                </a:lnTo>
                <a:lnTo>
                  <a:pt x="10220" y="9490"/>
                </a:lnTo>
                <a:lnTo>
                  <a:pt x="9977" y="9757"/>
                </a:lnTo>
                <a:lnTo>
                  <a:pt x="9733" y="10025"/>
                </a:lnTo>
                <a:lnTo>
                  <a:pt x="9441" y="10268"/>
                </a:lnTo>
                <a:lnTo>
                  <a:pt x="9149" y="10487"/>
                </a:lnTo>
                <a:lnTo>
                  <a:pt x="8857" y="10682"/>
                </a:lnTo>
                <a:lnTo>
                  <a:pt x="8541" y="10852"/>
                </a:lnTo>
                <a:lnTo>
                  <a:pt x="8200" y="10998"/>
                </a:lnTo>
                <a:lnTo>
                  <a:pt x="7860" y="11120"/>
                </a:lnTo>
                <a:lnTo>
                  <a:pt x="7519" y="11193"/>
                </a:lnTo>
                <a:lnTo>
                  <a:pt x="7154" y="11242"/>
                </a:lnTo>
                <a:lnTo>
                  <a:pt x="6789" y="11266"/>
                </a:lnTo>
                <a:lnTo>
                  <a:pt x="6424" y="11242"/>
                </a:lnTo>
                <a:lnTo>
                  <a:pt x="6059" y="11193"/>
                </a:lnTo>
                <a:lnTo>
                  <a:pt x="5670" y="11096"/>
                </a:lnTo>
                <a:lnTo>
                  <a:pt x="5353" y="10998"/>
                </a:lnTo>
                <a:lnTo>
                  <a:pt x="5037" y="10877"/>
                </a:lnTo>
                <a:lnTo>
                  <a:pt x="4721" y="10731"/>
                </a:lnTo>
                <a:lnTo>
                  <a:pt x="4404" y="10560"/>
                </a:lnTo>
                <a:lnTo>
                  <a:pt x="4112" y="10390"/>
                </a:lnTo>
                <a:lnTo>
                  <a:pt x="3820" y="10171"/>
                </a:lnTo>
                <a:lnTo>
                  <a:pt x="3553" y="9952"/>
                </a:lnTo>
                <a:lnTo>
                  <a:pt x="3285" y="9733"/>
                </a:lnTo>
                <a:lnTo>
                  <a:pt x="3042" y="9490"/>
                </a:lnTo>
                <a:lnTo>
                  <a:pt x="2823" y="9222"/>
                </a:lnTo>
                <a:lnTo>
                  <a:pt x="2628" y="8930"/>
                </a:lnTo>
                <a:lnTo>
                  <a:pt x="2434" y="8638"/>
                </a:lnTo>
                <a:lnTo>
                  <a:pt x="2288" y="8346"/>
                </a:lnTo>
                <a:lnTo>
                  <a:pt x="2142" y="8030"/>
                </a:lnTo>
                <a:lnTo>
                  <a:pt x="2044" y="7689"/>
                </a:lnTo>
                <a:lnTo>
                  <a:pt x="1971" y="7349"/>
                </a:lnTo>
                <a:lnTo>
                  <a:pt x="1947" y="7057"/>
                </a:lnTo>
                <a:lnTo>
                  <a:pt x="1923" y="6765"/>
                </a:lnTo>
                <a:lnTo>
                  <a:pt x="1923" y="6497"/>
                </a:lnTo>
                <a:lnTo>
                  <a:pt x="1947" y="6205"/>
                </a:lnTo>
                <a:lnTo>
                  <a:pt x="1996" y="5937"/>
                </a:lnTo>
                <a:lnTo>
                  <a:pt x="2044" y="5670"/>
                </a:lnTo>
                <a:lnTo>
                  <a:pt x="2142" y="5402"/>
                </a:lnTo>
                <a:lnTo>
                  <a:pt x="2239" y="5159"/>
                </a:lnTo>
                <a:lnTo>
                  <a:pt x="2336" y="4915"/>
                </a:lnTo>
                <a:lnTo>
                  <a:pt x="2482" y="4672"/>
                </a:lnTo>
                <a:lnTo>
                  <a:pt x="2628" y="4429"/>
                </a:lnTo>
                <a:lnTo>
                  <a:pt x="2774" y="4210"/>
                </a:lnTo>
                <a:lnTo>
                  <a:pt x="2944" y="3991"/>
                </a:lnTo>
                <a:lnTo>
                  <a:pt x="3139" y="3772"/>
                </a:lnTo>
                <a:lnTo>
                  <a:pt x="3528" y="3382"/>
                </a:lnTo>
                <a:lnTo>
                  <a:pt x="3966" y="3017"/>
                </a:lnTo>
                <a:lnTo>
                  <a:pt x="4404" y="2701"/>
                </a:lnTo>
                <a:lnTo>
                  <a:pt x="4891" y="2409"/>
                </a:lnTo>
                <a:lnTo>
                  <a:pt x="5134" y="2287"/>
                </a:lnTo>
                <a:lnTo>
                  <a:pt x="5378" y="2166"/>
                </a:lnTo>
                <a:lnTo>
                  <a:pt x="5645" y="2117"/>
                </a:lnTo>
                <a:lnTo>
                  <a:pt x="6035" y="2068"/>
                </a:lnTo>
                <a:lnTo>
                  <a:pt x="6716" y="1995"/>
                </a:lnTo>
                <a:lnTo>
                  <a:pt x="7300" y="1995"/>
                </a:lnTo>
                <a:lnTo>
                  <a:pt x="7324" y="1971"/>
                </a:lnTo>
                <a:close/>
                <a:moveTo>
                  <a:pt x="6935" y="1533"/>
                </a:moveTo>
                <a:lnTo>
                  <a:pt x="6497" y="1582"/>
                </a:lnTo>
                <a:lnTo>
                  <a:pt x="6083" y="1679"/>
                </a:lnTo>
                <a:lnTo>
                  <a:pt x="5864" y="1703"/>
                </a:lnTo>
                <a:lnTo>
                  <a:pt x="5621" y="1752"/>
                </a:lnTo>
                <a:lnTo>
                  <a:pt x="5353" y="1825"/>
                </a:lnTo>
                <a:lnTo>
                  <a:pt x="5110" y="1922"/>
                </a:lnTo>
                <a:lnTo>
                  <a:pt x="4842" y="2044"/>
                </a:lnTo>
                <a:lnTo>
                  <a:pt x="4599" y="2166"/>
                </a:lnTo>
                <a:lnTo>
                  <a:pt x="4112" y="2458"/>
                </a:lnTo>
                <a:lnTo>
                  <a:pt x="3650" y="2774"/>
                </a:lnTo>
                <a:lnTo>
                  <a:pt x="3212" y="3115"/>
                </a:lnTo>
                <a:lnTo>
                  <a:pt x="2823" y="3504"/>
                </a:lnTo>
                <a:lnTo>
                  <a:pt x="2458" y="3918"/>
                </a:lnTo>
                <a:lnTo>
                  <a:pt x="2312" y="4161"/>
                </a:lnTo>
                <a:lnTo>
                  <a:pt x="2166" y="4380"/>
                </a:lnTo>
                <a:lnTo>
                  <a:pt x="2020" y="4623"/>
                </a:lnTo>
                <a:lnTo>
                  <a:pt x="1923" y="4867"/>
                </a:lnTo>
                <a:lnTo>
                  <a:pt x="1801" y="5110"/>
                </a:lnTo>
                <a:lnTo>
                  <a:pt x="1728" y="5378"/>
                </a:lnTo>
                <a:lnTo>
                  <a:pt x="1631" y="5645"/>
                </a:lnTo>
                <a:lnTo>
                  <a:pt x="1582" y="5913"/>
                </a:lnTo>
                <a:lnTo>
                  <a:pt x="1533" y="6181"/>
                </a:lnTo>
                <a:lnTo>
                  <a:pt x="1509" y="6473"/>
                </a:lnTo>
                <a:lnTo>
                  <a:pt x="1509" y="6765"/>
                </a:lnTo>
                <a:lnTo>
                  <a:pt x="1509" y="7057"/>
                </a:lnTo>
                <a:lnTo>
                  <a:pt x="1558" y="7349"/>
                </a:lnTo>
                <a:lnTo>
                  <a:pt x="1606" y="7640"/>
                </a:lnTo>
                <a:lnTo>
                  <a:pt x="1679" y="7932"/>
                </a:lnTo>
                <a:lnTo>
                  <a:pt x="1752" y="8224"/>
                </a:lnTo>
                <a:lnTo>
                  <a:pt x="1874" y="8492"/>
                </a:lnTo>
                <a:lnTo>
                  <a:pt x="1996" y="8760"/>
                </a:lnTo>
                <a:lnTo>
                  <a:pt x="2142" y="9027"/>
                </a:lnTo>
                <a:lnTo>
                  <a:pt x="2312" y="9295"/>
                </a:lnTo>
                <a:lnTo>
                  <a:pt x="2507" y="9538"/>
                </a:lnTo>
                <a:lnTo>
                  <a:pt x="2726" y="9782"/>
                </a:lnTo>
                <a:lnTo>
                  <a:pt x="2944" y="10001"/>
                </a:lnTo>
                <a:lnTo>
                  <a:pt x="3188" y="10195"/>
                </a:lnTo>
                <a:lnTo>
                  <a:pt x="3699" y="10585"/>
                </a:lnTo>
                <a:lnTo>
                  <a:pt x="3991" y="10779"/>
                </a:lnTo>
                <a:lnTo>
                  <a:pt x="4283" y="10950"/>
                </a:lnTo>
                <a:lnTo>
                  <a:pt x="4599" y="11120"/>
                </a:lnTo>
                <a:lnTo>
                  <a:pt x="4915" y="11266"/>
                </a:lnTo>
                <a:lnTo>
                  <a:pt x="5232" y="11412"/>
                </a:lnTo>
                <a:lnTo>
                  <a:pt x="5572" y="11509"/>
                </a:lnTo>
                <a:lnTo>
                  <a:pt x="5889" y="11607"/>
                </a:lnTo>
                <a:lnTo>
                  <a:pt x="6254" y="11680"/>
                </a:lnTo>
                <a:lnTo>
                  <a:pt x="6594" y="11704"/>
                </a:lnTo>
                <a:lnTo>
                  <a:pt x="6959" y="11728"/>
                </a:lnTo>
                <a:lnTo>
                  <a:pt x="7300" y="11680"/>
                </a:lnTo>
                <a:lnTo>
                  <a:pt x="7641" y="11631"/>
                </a:lnTo>
                <a:lnTo>
                  <a:pt x="7981" y="11534"/>
                </a:lnTo>
                <a:lnTo>
                  <a:pt x="8322" y="11436"/>
                </a:lnTo>
                <a:lnTo>
                  <a:pt x="8638" y="11290"/>
                </a:lnTo>
                <a:lnTo>
                  <a:pt x="8955" y="11120"/>
                </a:lnTo>
                <a:lnTo>
                  <a:pt x="9344" y="10877"/>
                </a:lnTo>
                <a:lnTo>
                  <a:pt x="9733" y="10609"/>
                </a:lnTo>
                <a:lnTo>
                  <a:pt x="10074" y="10293"/>
                </a:lnTo>
                <a:lnTo>
                  <a:pt x="10390" y="9976"/>
                </a:lnTo>
                <a:lnTo>
                  <a:pt x="10658" y="9611"/>
                </a:lnTo>
                <a:lnTo>
                  <a:pt x="10925" y="9222"/>
                </a:lnTo>
                <a:lnTo>
                  <a:pt x="11144" y="8808"/>
                </a:lnTo>
                <a:lnTo>
                  <a:pt x="11339" y="8395"/>
                </a:lnTo>
                <a:lnTo>
                  <a:pt x="11509" y="7957"/>
                </a:lnTo>
                <a:lnTo>
                  <a:pt x="11631" y="7519"/>
                </a:lnTo>
                <a:lnTo>
                  <a:pt x="11704" y="7081"/>
                </a:lnTo>
                <a:lnTo>
                  <a:pt x="11753" y="6619"/>
                </a:lnTo>
                <a:lnTo>
                  <a:pt x="11753" y="6156"/>
                </a:lnTo>
                <a:lnTo>
                  <a:pt x="11728" y="5694"/>
                </a:lnTo>
                <a:lnTo>
                  <a:pt x="11655" y="5256"/>
                </a:lnTo>
                <a:lnTo>
                  <a:pt x="11534" y="4794"/>
                </a:lnTo>
                <a:lnTo>
                  <a:pt x="11363" y="4404"/>
                </a:lnTo>
                <a:lnTo>
                  <a:pt x="11169" y="4015"/>
                </a:lnTo>
                <a:lnTo>
                  <a:pt x="10950" y="3650"/>
                </a:lnTo>
                <a:lnTo>
                  <a:pt x="10682" y="3285"/>
                </a:lnTo>
                <a:lnTo>
                  <a:pt x="10390" y="2969"/>
                </a:lnTo>
                <a:lnTo>
                  <a:pt x="10074" y="2677"/>
                </a:lnTo>
                <a:lnTo>
                  <a:pt x="9733" y="2409"/>
                </a:lnTo>
                <a:lnTo>
                  <a:pt x="9393" y="2166"/>
                </a:lnTo>
                <a:lnTo>
                  <a:pt x="9003" y="1971"/>
                </a:lnTo>
                <a:lnTo>
                  <a:pt x="8614" y="1801"/>
                </a:lnTo>
                <a:lnTo>
                  <a:pt x="8200" y="1655"/>
                </a:lnTo>
                <a:lnTo>
                  <a:pt x="7787" y="1582"/>
                </a:lnTo>
                <a:lnTo>
                  <a:pt x="7349" y="1533"/>
                </a:lnTo>
                <a:close/>
                <a:moveTo>
                  <a:pt x="12118" y="11558"/>
                </a:moveTo>
                <a:lnTo>
                  <a:pt x="12142" y="11582"/>
                </a:lnTo>
                <a:lnTo>
                  <a:pt x="11972" y="11777"/>
                </a:lnTo>
                <a:lnTo>
                  <a:pt x="12093" y="11631"/>
                </a:lnTo>
                <a:lnTo>
                  <a:pt x="12118" y="11558"/>
                </a:lnTo>
                <a:close/>
                <a:moveTo>
                  <a:pt x="6789" y="584"/>
                </a:moveTo>
                <a:lnTo>
                  <a:pt x="7154" y="608"/>
                </a:lnTo>
                <a:lnTo>
                  <a:pt x="7519" y="657"/>
                </a:lnTo>
                <a:lnTo>
                  <a:pt x="7884" y="706"/>
                </a:lnTo>
                <a:lnTo>
                  <a:pt x="8225" y="803"/>
                </a:lnTo>
                <a:lnTo>
                  <a:pt x="8565" y="900"/>
                </a:lnTo>
                <a:lnTo>
                  <a:pt x="8906" y="1022"/>
                </a:lnTo>
                <a:lnTo>
                  <a:pt x="9247" y="1144"/>
                </a:lnTo>
                <a:lnTo>
                  <a:pt x="9563" y="1314"/>
                </a:lnTo>
                <a:lnTo>
                  <a:pt x="9879" y="1484"/>
                </a:lnTo>
                <a:lnTo>
                  <a:pt x="10171" y="1679"/>
                </a:lnTo>
                <a:lnTo>
                  <a:pt x="10439" y="1874"/>
                </a:lnTo>
                <a:lnTo>
                  <a:pt x="10707" y="2093"/>
                </a:lnTo>
                <a:lnTo>
                  <a:pt x="10950" y="2312"/>
                </a:lnTo>
                <a:lnTo>
                  <a:pt x="11193" y="2555"/>
                </a:lnTo>
                <a:lnTo>
                  <a:pt x="11485" y="2896"/>
                </a:lnTo>
                <a:lnTo>
                  <a:pt x="11753" y="3261"/>
                </a:lnTo>
                <a:lnTo>
                  <a:pt x="11996" y="3626"/>
                </a:lnTo>
                <a:lnTo>
                  <a:pt x="12191" y="4015"/>
                </a:lnTo>
                <a:lnTo>
                  <a:pt x="12361" y="4404"/>
                </a:lnTo>
                <a:lnTo>
                  <a:pt x="12507" y="4818"/>
                </a:lnTo>
                <a:lnTo>
                  <a:pt x="12629" y="5232"/>
                </a:lnTo>
                <a:lnTo>
                  <a:pt x="12702" y="5645"/>
                </a:lnTo>
                <a:lnTo>
                  <a:pt x="12750" y="6059"/>
                </a:lnTo>
                <a:lnTo>
                  <a:pt x="12775" y="6473"/>
                </a:lnTo>
                <a:lnTo>
                  <a:pt x="12775" y="6911"/>
                </a:lnTo>
                <a:lnTo>
                  <a:pt x="12726" y="7324"/>
                </a:lnTo>
                <a:lnTo>
                  <a:pt x="12653" y="7762"/>
                </a:lnTo>
                <a:lnTo>
                  <a:pt x="12556" y="8176"/>
                </a:lnTo>
                <a:lnTo>
                  <a:pt x="12434" y="8589"/>
                </a:lnTo>
                <a:lnTo>
                  <a:pt x="12264" y="9003"/>
                </a:lnTo>
                <a:lnTo>
                  <a:pt x="12045" y="9465"/>
                </a:lnTo>
                <a:lnTo>
                  <a:pt x="11801" y="9903"/>
                </a:lnTo>
                <a:lnTo>
                  <a:pt x="11534" y="10293"/>
                </a:lnTo>
                <a:lnTo>
                  <a:pt x="11217" y="10682"/>
                </a:lnTo>
                <a:lnTo>
                  <a:pt x="10901" y="11047"/>
                </a:lnTo>
                <a:lnTo>
                  <a:pt x="10536" y="11388"/>
                </a:lnTo>
                <a:lnTo>
                  <a:pt x="10171" y="11680"/>
                </a:lnTo>
                <a:lnTo>
                  <a:pt x="9782" y="11947"/>
                </a:lnTo>
                <a:lnTo>
                  <a:pt x="9368" y="12191"/>
                </a:lnTo>
                <a:lnTo>
                  <a:pt x="8930" y="12385"/>
                </a:lnTo>
                <a:lnTo>
                  <a:pt x="8468" y="12556"/>
                </a:lnTo>
                <a:lnTo>
                  <a:pt x="8006" y="12677"/>
                </a:lnTo>
                <a:lnTo>
                  <a:pt x="7543" y="12750"/>
                </a:lnTo>
                <a:lnTo>
                  <a:pt x="7032" y="12775"/>
                </a:lnTo>
                <a:lnTo>
                  <a:pt x="6546" y="12775"/>
                </a:lnTo>
                <a:lnTo>
                  <a:pt x="6035" y="12702"/>
                </a:lnTo>
                <a:lnTo>
                  <a:pt x="5597" y="12604"/>
                </a:lnTo>
                <a:lnTo>
                  <a:pt x="5159" y="12483"/>
                </a:lnTo>
                <a:lnTo>
                  <a:pt x="4721" y="12337"/>
                </a:lnTo>
                <a:lnTo>
                  <a:pt x="4307" y="12166"/>
                </a:lnTo>
                <a:lnTo>
                  <a:pt x="3893" y="11947"/>
                </a:lnTo>
                <a:lnTo>
                  <a:pt x="3504" y="11728"/>
                </a:lnTo>
                <a:lnTo>
                  <a:pt x="3115" y="11485"/>
                </a:lnTo>
                <a:lnTo>
                  <a:pt x="2774" y="11193"/>
                </a:lnTo>
                <a:lnTo>
                  <a:pt x="2434" y="10901"/>
                </a:lnTo>
                <a:lnTo>
                  <a:pt x="2117" y="10560"/>
                </a:lnTo>
                <a:lnTo>
                  <a:pt x="1825" y="10220"/>
                </a:lnTo>
                <a:lnTo>
                  <a:pt x="1558" y="9855"/>
                </a:lnTo>
                <a:lnTo>
                  <a:pt x="1314" y="9465"/>
                </a:lnTo>
                <a:lnTo>
                  <a:pt x="1095" y="9052"/>
                </a:lnTo>
                <a:lnTo>
                  <a:pt x="925" y="8638"/>
                </a:lnTo>
                <a:lnTo>
                  <a:pt x="779" y="8200"/>
                </a:lnTo>
                <a:lnTo>
                  <a:pt x="682" y="7811"/>
                </a:lnTo>
                <a:lnTo>
                  <a:pt x="609" y="7446"/>
                </a:lnTo>
                <a:lnTo>
                  <a:pt x="560" y="7081"/>
                </a:lnTo>
                <a:lnTo>
                  <a:pt x="560" y="6716"/>
                </a:lnTo>
                <a:lnTo>
                  <a:pt x="560" y="6351"/>
                </a:lnTo>
                <a:lnTo>
                  <a:pt x="584" y="5986"/>
                </a:lnTo>
                <a:lnTo>
                  <a:pt x="633" y="5645"/>
                </a:lnTo>
                <a:lnTo>
                  <a:pt x="706" y="5305"/>
                </a:lnTo>
                <a:lnTo>
                  <a:pt x="803" y="4964"/>
                </a:lnTo>
                <a:lnTo>
                  <a:pt x="925" y="4648"/>
                </a:lnTo>
                <a:lnTo>
                  <a:pt x="1047" y="4307"/>
                </a:lnTo>
                <a:lnTo>
                  <a:pt x="1217" y="3991"/>
                </a:lnTo>
                <a:lnTo>
                  <a:pt x="1387" y="3674"/>
                </a:lnTo>
                <a:lnTo>
                  <a:pt x="1606" y="3382"/>
                </a:lnTo>
                <a:lnTo>
                  <a:pt x="1825" y="3090"/>
                </a:lnTo>
                <a:lnTo>
                  <a:pt x="2069" y="2798"/>
                </a:lnTo>
                <a:lnTo>
                  <a:pt x="2361" y="2506"/>
                </a:lnTo>
                <a:lnTo>
                  <a:pt x="2726" y="2190"/>
                </a:lnTo>
                <a:lnTo>
                  <a:pt x="3163" y="1849"/>
                </a:lnTo>
                <a:lnTo>
                  <a:pt x="3674" y="1509"/>
                </a:lnTo>
                <a:lnTo>
                  <a:pt x="4210" y="1217"/>
                </a:lnTo>
                <a:lnTo>
                  <a:pt x="4502" y="1071"/>
                </a:lnTo>
                <a:lnTo>
                  <a:pt x="4794" y="949"/>
                </a:lnTo>
                <a:lnTo>
                  <a:pt x="5110" y="852"/>
                </a:lnTo>
                <a:lnTo>
                  <a:pt x="5402" y="754"/>
                </a:lnTo>
                <a:lnTo>
                  <a:pt x="5718" y="681"/>
                </a:lnTo>
                <a:lnTo>
                  <a:pt x="6035" y="633"/>
                </a:lnTo>
                <a:lnTo>
                  <a:pt x="6400" y="608"/>
                </a:lnTo>
                <a:lnTo>
                  <a:pt x="6789" y="584"/>
                </a:lnTo>
                <a:close/>
                <a:moveTo>
                  <a:pt x="11704" y="10998"/>
                </a:moveTo>
                <a:lnTo>
                  <a:pt x="11923" y="11315"/>
                </a:lnTo>
                <a:lnTo>
                  <a:pt x="11874" y="11339"/>
                </a:lnTo>
                <a:lnTo>
                  <a:pt x="11850" y="11363"/>
                </a:lnTo>
                <a:lnTo>
                  <a:pt x="11607" y="11607"/>
                </a:lnTo>
                <a:lnTo>
                  <a:pt x="11339" y="11826"/>
                </a:lnTo>
                <a:lnTo>
                  <a:pt x="11071" y="11996"/>
                </a:lnTo>
                <a:lnTo>
                  <a:pt x="10950" y="12093"/>
                </a:lnTo>
                <a:lnTo>
                  <a:pt x="10925" y="12166"/>
                </a:lnTo>
                <a:lnTo>
                  <a:pt x="10901" y="12239"/>
                </a:lnTo>
                <a:lnTo>
                  <a:pt x="10901" y="12264"/>
                </a:lnTo>
                <a:lnTo>
                  <a:pt x="10974" y="12288"/>
                </a:lnTo>
                <a:lnTo>
                  <a:pt x="11047" y="12288"/>
                </a:lnTo>
                <a:lnTo>
                  <a:pt x="11217" y="12264"/>
                </a:lnTo>
                <a:lnTo>
                  <a:pt x="11363" y="12191"/>
                </a:lnTo>
                <a:lnTo>
                  <a:pt x="11509" y="12093"/>
                </a:lnTo>
                <a:lnTo>
                  <a:pt x="11826" y="11899"/>
                </a:lnTo>
                <a:lnTo>
                  <a:pt x="11972" y="11777"/>
                </a:lnTo>
                <a:lnTo>
                  <a:pt x="11850" y="11899"/>
                </a:lnTo>
                <a:lnTo>
                  <a:pt x="11728" y="11996"/>
                </a:lnTo>
                <a:lnTo>
                  <a:pt x="11485" y="12191"/>
                </a:lnTo>
                <a:lnTo>
                  <a:pt x="11363" y="12288"/>
                </a:lnTo>
                <a:lnTo>
                  <a:pt x="11339" y="12361"/>
                </a:lnTo>
                <a:lnTo>
                  <a:pt x="11339" y="12434"/>
                </a:lnTo>
                <a:lnTo>
                  <a:pt x="11363" y="12483"/>
                </a:lnTo>
                <a:lnTo>
                  <a:pt x="11412" y="12531"/>
                </a:lnTo>
                <a:lnTo>
                  <a:pt x="11485" y="12556"/>
                </a:lnTo>
                <a:lnTo>
                  <a:pt x="11558" y="12531"/>
                </a:lnTo>
                <a:lnTo>
                  <a:pt x="11728" y="12483"/>
                </a:lnTo>
                <a:lnTo>
                  <a:pt x="11874" y="12385"/>
                </a:lnTo>
                <a:lnTo>
                  <a:pt x="12020" y="12288"/>
                </a:lnTo>
                <a:lnTo>
                  <a:pt x="12239" y="12118"/>
                </a:lnTo>
                <a:lnTo>
                  <a:pt x="12361" y="12020"/>
                </a:lnTo>
                <a:lnTo>
                  <a:pt x="12434" y="11899"/>
                </a:lnTo>
                <a:lnTo>
                  <a:pt x="12507" y="11947"/>
                </a:lnTo>
                <a:lnTo>
                  <a:pt x="12288" y="12142"/>
                </a:lnTo>
                <a:lnTo>
                  <a:pt x="12069" y="12337"/>
                </a:lnTo>
                <a:lnTo>
                  <a:pt x="11826" y="12556"/>
                </a:lnTo>
                <a:lnTo>
                  <a:pt x="11728" y="12677"/>
                </a:lnTo>
                <a:lnTo>
                  <a:pt x="11655" y="12823"/>
                </a:lnTo>
                <a:lnTo>
                  <a:pt x="11631" y="12896"/>
                </a:lnTo>
                <a:lnTo>
                  <a:pt x="11680" y="12969"/>
                </a:lnTo>
                <a:lnTo>
                  <a:pt x="11753" y="12994"/>
                </a:lnTo>
                <a:lnTo>
                  <a:pt x="11826" y="12994"/>
                </a:lnTo>
                <a:lnTo>
                  <a:pt x="11972" y="12945"/>
                </a:lnTo>
                <a:lnTo>
                  <a:pt x="12118" y="12848"/>
                </a:lnTo>
                <a:lnTo>
                  <a:pt x="12385" y="12629"/>
                </a:lnTo>
                <a:lnTo>
                  <a:pt x="12604" y="12458"/>
                </a:lnTo>
                <a:lnTo>
                  <a:pt x="12823" y="12264"/>
                </a:lnTo>
                <a:lnTo>
                  <a:pt x="12872" y="12312"/>
                </a:lnTo>
                <a:lnTo>
                  <a:pt x="12604" y="12702"/>
                </a:lnTo>
                <a:lnTo>
                  <a:pt x="12483" y="12848"/>
                </a:lnTo>
                <a:lnTo>
                  <a:pt x="12361" y="12969"/>
                </a:lnTo>
                <a:lnTo>
                  <a:pt x="12215" y="13067"/>
                </a:lnTo>
                <a:lnTo>
                  <a:pt x="12093" y="13213"/>
                </a:lnTo>
                <a:lnTo>
                  <a:pt x="12093" y="13261"/>
                </a:lnTo>
                <a:lnTo>
                  <a:pt x="12093" y="13310"/>
                </a:lnTo>
                <a:lnTo>
                  <a:pt x="12118" y="13334"/>
                </a:lnTo>
                <a:lnTo>
                  <a:pt x="12166" y="13359"/>
                </a:lnTo>
                <a:lnTo>
                  <a:pt x="12312" y="13359"/>
                </a:lnTo>
                <a:lnTo>
                  <a:pt x="12458" y="13334"/>
                </a:lnTo>
                <a:lnTo>
                  <a:pt x="12604" y="13261"/>
                </a:lnTo>
                <a:lnTo>
                  <a:pt x="12750" y="13140"/>
                </a:lnTo>
                <a:lnTo>
                  <a:pt x="12896" y="13042"/>
                </a:lnTo>
                <a:lnTo>
                  <a:pt x="12994" y="12896"/>
                </a:lnTo>
                <a:lnTo>
                  <a:pt x="13115" y="12750"/>
                </a:lnTo>
                <a:lnTo>
                  <a:pt x="13188" y="12604"/>
                </a:lnTo>
                <a:lnTo>
                  <a:pt x="13505" y="12872"/>
                </a:lnTo>
                <a:lnTo>
                  <a:pt x="13407" y="12945"/>
                </a:lnTo>
                <a:lnTo>
                  <a:pt x="13310" y="13018"/>
                </a:lnTo>
                <a:lnTo>
                  <a:pt x="13115" y="13213"/>
                </a:lnTo>
                <a:lnTo>
                  <a:pt x="12896" y="13359"/>
                </a:lnTo>
                <a:lnTo>
                  <a:pt x="12677" y="13529"/>
                </a:lnTo>
                <a:lnTo>
                  <a:pt x="12653" y="13553"/>
                </a:lnTo>
                <a:lnTo>
                  <a:pt x="12629" y="13602"/>
                </a:lnTo>
                <a:lnTo>
                  <a:pt x="12653" y="13651"/>
                </a:lnTo>
                <a:lnTo>
                  <a:pt x="12677" y="13699"/>
                </a:lnTo>
                <a:lnTo>
                  <a:pt x="12750" y="13724"/>
                </a:lnTo>
                <a:lnTo>
                  <a:pt x="12848" y="13748"/>
                </a:lnTo>
                <a:lnTo>
                  <a:pt x="12921" y="13748"/>
                </a:lnTo>
                <a:lnTo>
                  <a:pt x="12994" y="13724"/>
                </a:lnTo>
                <a:lnTo>
                  <a:pt x="13140" y="13651"/>
                </a:lnTo>
                <a:lnTo>
                  <a:pt x="13286" y="13578"/>
                </a:lnTo>
                <a:lnTo>
                  <a:pt x="13407" y="13480"/>
                </a:lnTo>
                <a:lnTo>
                  <a:pt x="13553" y="13383"/>
                </a:lnTo>
                <a:lnTo>
                  <a:pt x="13675" y="13237"/>
                </a:lnTo>
                <a:lnTo>
                  <a:pt x="13724" y="13164"/>
                </a:lnTo>
                <a:lnTo>
                  <a:pt x="13748" y="13091"/>
                </a:lnTo>
                <a:lnTo>
                  <a:pt x="13943" y="13286"/>
                </a:lnTo>
                <a:lnTo>
                  <a:pt x="13918" y="13286"/>
                </a:lnTo>
                <a:lnTo>
                  <a:pt x="13772" y="13383"/>
                </a:lnTo>
                <a:lnTo>
                  <a:pt x="13675" y="13505"/>
                </a:lnTo>
                <a:lnTo>
                  <a:pt x="13456" y="13748"/>
                </a:lnTo>
                <a:lnTo>
                  <a:pt x="13237" y="13967"/>
                </a:lnTo>
                <a:lnTo>
                  <a:pt x="13140" y="14064"/>
                </a:lnTo>
                <a:lnTo>
                  <a:pt x="13067" y="14210"/>
                </a:lnTo>
                <a:lnTo>
                  <a:pt x="13042" y="14235"/>
                </a:lnTo>
                <a:lnTo>
                  <a:pt x="13067" y="14259"/>
                </a:lnTo>
                <a:lnTo>
                  <a:pt x="13067" y="14308"/>
                </a:lnTo>
                <a:lnTo>
                  <a:pt x="13115" y="14308"/>
                </a:lnTo>
                <a:lnTo>
                  <a:pt x="13261" y="14259"/>
                </a:lnTo>
                <a:lnTo>
                  <a:pt x="13407" y="14210"/>
                </a:lnTo>
                <a:lnTo>
                  <a:pt x="13651" y="14040"/>
                </a:lnTo>
                <a:lnTo>
                  <a:pt x="13797" y="13918"/>
                </a:lnTo>
                <a:lnTo>
                  <a:pt x="13943" y="13797"/>
                </a:lnTo>
                <a:lnTo>
                  <a:pt x="14064" y="13626"/>
                </a:lnTo>
                <a:lnTo>
                  <a:pt x="14137" y="13480"/>
                </a:lnTo>
                <a:lnTo>
                  <a:pt x="14332" y="13675"/>
                </a:lnTo>
                <a:lnTo>
                  <a:pt x="14186" y="13918"/>
                </a:lnTo>
                <a:lnTo>
                  <a:pt x="14089" y="14040"/>
                </a:lnTo>
                <a:lnTo>
                  <a:pt x="13991" y="14137"/>
                </a:lnTo>
                <a:lnTo>
                  <a:pt x="13870" y="14235"/>
                </a:lnTo>
                <a:lnTo>
                  <a:pt x="13748" y="14308"/>
                </a:lnTo>
                <a:lnTo>
                  <a:pt x="13626" y="14381"/>
                </a:lnTo>
                <a:lnTo>
                  <a:pt x="13505" y="14454"/>
                </a:lnTo>
                <a:lnTo>
                  <a:pt x="13505" y="14502"/>
                </a:lnTo>
                <a:lnTo>
                  <a:pt x="13480" y="14527"/>
                </a:lnTo>
                <a:lnTo>
                  <a:pt x="13505" y="14600"/>
                </a:lnTo>
                <a:lnTo>
                  <a:pt x="13602" y="14648"/>
                </a:lnTo>
                <a:lnTo>
                  <a:pt x="13675" y="14673"/>
                </a:lnTo>
                <a:lnTo>
                  <a:pt x="13772" y="14673"/>
                </a:lnTo>
                <a:lnTo>
                  <a:pt x="13894" y="14648"/>
                </a:lnTo>
                <a:lnTo>
                  <a:pt x="14089" y="14551"/>
                </a:lnTo>
                <a:lnTo>
                  <a:pt x="14235" y="14454"/>
                </a:lnTo>
                <a:lnTo>
                  <a:pt x="14356" y="14356"/>
                </a:lnTo>
                <a:lnTo>
                  <a:pt x="14454" y="14235"/>
                </a:lnTo>
                <a:lnTo>
                  <a:pt x="14575" y="14113"/>
                </a:lnTo>
                <a:lnTo>
                  <a:pt x="14648" y="13967"/>
                </a:lnTo>
                <a:lnTo>
                  <a:pt x="14867" y="14210"/>
                </a:lnTo>
                <a:lnTo>
                  <a:pt x="14843" y="14210"/>
                </a:lnTo>
                <a:lnTo>
                  <a:pt x="14721" y="14259"/>
                </a:lnTo>
                <a:lnTo>
                  <a:pt x="14624" y="14332"/>
                </a:lnTo>
                <a:lnTo>
                  <a:pt x="14454" y="14527"/>
                </a:lnTo>
                <a:lnTo>
                  <a:pt x="14235" y="14746"/>
                </a:lnTo>
                <a:lnTo>
                  <a:pt x="14113" y="14867"/>
                </a:lnTo>
                <a:lnTo>
                  <a:pt x="13991" y="14940"/>
                </a:lnTo>
                <a:lnTo>
                  <a:pt x="13967" y="14989"/>
                </a:lnTo>
                <a:lnTo>
                  <a:pt x="13967" y="15038"/>
                </a:lnTo>
                <a:lnTo>
                  <a:pt x="14016" y="15086"/>
                </a:lnTo>
                <a:lnTo>
                  <a:pt x="14064" y="15086"/>
                </a:lnTo>
                <a:lnTo>
                  <a:pt x="14356" y="15013"/>
                </a:lnTo>
                <a:lnTo>
                  <a:pt x="14478" y="14940"/>
                </a:lnTo>
                <a:lnTo>
                  <a:pt x="14624" y="14867"/>
                </a:lnTo>
                <a:lnTo>
                  <a:pt x="14867" y="14648"/>
                </a:lnTo>
                <a:lnTo>
                  <a:pt x="14965" y="14527"/>
                </a:lnTo>
                <a:lnTo>
                  <a:pt x="15038" y="14405"/>
                </a:lnTo>
                <a:lnTo>
                  <a:pt x="15038" y="14381"/>
                </a:lnTo>
                <a:lnTo>
                  <a:pt x="15330" y="14673"/>
                </a:lnTo>
                <a:lnTo>
                  <a:pt x="15111" y="14867"/>
                </a:lnTo>
                <a:lnTo>
                  <a:pt x="14892" y="15062"/>
                </a:lnTo>
                <a:lnTo>
                  <a:pt x="14648" y="15232"/>
                </a:lnTo>
                <a:lnTo>
                  <a:pt x="14527" y="15330"/>
                </a:lnTo>
                <a:lnTo>
                  <a:pt x="14429" y="15427"/>
                </a:lnTo>
                <a:lnTo>
                  <a:pt x="14405" y="15451"/>
                </a:lnTo>
                <a:lnTo>
                  <a:pt x="14405" y="15500"/>
                </a:lnTo>
                <a:lnTo>
                  <a:pt x="14429" y="15524"/>
                </a:lnTo>
                <a:lnTo>
                  <a:pt x="14454" y="15549"/>
                </a:lnTo>
                <a:lnTo>
                  <a:pt x="14624" y="15573"/>
                </a:lnTo>
                <a:lnTo>
                  <a:pt x="14770" y="15549"/>
                </a:lnTo>
                <a:lnTo>
                  <a:pt x="14940" y="15476"/>
                </a:lnTo>
                <a:lnTo>
                  <a:pt x="15086" y="15378"/>
                </a:lnTo>
                <a:lnTo>
                  <a:pt x="15232" y="15281"/>
                </a:lnTo>
                <a:lnTo>
                  <a:pt x="15354" y="15159"/>
                </a:lnTo>
                <a:lnTo>
                  <a:pt x="15573" y="14916"/>
                </a:lnTo>
                <a:lnTo>
                  <a:pt x="15743" y="15111"/>
                </a:lnTo>
                <a:lnTo>
                  <a:pt x="15476" y="15378"/>
                </a:lnTo>
                <a:lnTo>
                  <a:pt x="15330" y="15476"/>
                </a:lnTo>
                <a:lnTo>
                  <a:pt x="15184" y="15573"/>
                </a:lnTo>
                <a:lnTo>
                  <a:pt x="15038" y="15670"/>
                </a:lnTo>
                <a:lnTo>
                  <a:pt x="14892" y="15792"/>
                </a:lnTo>
                <a:lnTo>
                  <a:pt x="14843" y="15840"/>
                </a:lnTo>
                <a:lnTo>
                  <a:pt x="14867" y="15913"/>
                </a:lnTo>
                <a:lnTo>
                  <a:pt x="14892" y="15986"/>
                </a:lnTo>
                <a:lnTo>
                  <a:pt x="14940" y="16011"/>
                </a:lnTo>
                <a:lnTo>
                  <a:pt x="15038" y="16035"/>
                </a:lnTo>
                <a:lnTo>
                  <a:pt x="15159" y="16011"/>
                </a:lnTo>
                <a:lnTo>
                  <a:pt x="15354" y="15962"/>
                </a:lnTo>
                <a:lnTo>
                  <a:pt x="15524" y="15865"/>
                </a:lnTo>
                <a:lnTo>
                  <a:pt x="15695" y="15767"/>
                </a:lnTo>
                <a:lnTo>
                  <a:pt x="15889" y="15597"/>
                </a:lnTo>
                <a:lnTo>
                  <a:pt x="16060" y="15427"/>
                </a:lnTo>
                <a:lnTo>
                  <a:pt x="16352" y="15694"/>
                </a:lnTo>
                <a:lnTo>
                  <a:pt x="16181" y="15865"/>
                </a:lnTo>
                <a:lnTo>
                  <a:pt x="16011" y="16011"/>
                </a:lnTo>
                <a:lnTo>
                  <a:pt x="15743" y="16157"/>
                </a:lnTo>
                <a:lnTo>
                  <a:pt x="15500" y="16303"/>
                </a:lnTo>
                <a:lnTo>
                  <a:pt x="15451" y="16327"/>
                </a:lnTo>
                <a:lnTo>
                  <a:pt x="15451" y="16376"/>
                </a:lnTo>
                <a:lnTo>
                  <a:pt x="15476" y="16400"/>
                </a:lnTo>
                <a:lnTo>
                  <a:pt x="15524" y="16424"/>
                </a:lnTo>
                <a:lnTo>
                  <a:pt x="15719" y="16424"/>
                </a:lnTo>
                <a:lnTo>
                  <a:pt x="15889" y="16449"/>
                </a:lnTo>
                <a:lnTo>
                  <a:pt x="16084" y="16400"/>
                </a:lnTo>
                <a:lnTo>
                  <a:pt x="16254" y="16351"/>
                </a:lnTo>
                <a:lnTo>
                  <a:pt x="16400" y="16254"/>
                </a:lnTo>
                <a:lnTo>
                  <a:pt x="16522" y="16157"/>
                </a:lnTo>
                <a:lnTo>
                  <a:pt x="16498" y="16254"/>
                </a:lnTo>
                <a:lnTo>
                  <a:pt x="16400" y="16376"/>
                </a:lnTo>
                <a:lnTo>
                  <a:pt x="16279" y="16473"/>
                </a:lnTo>
                <a:lnTo>
                  <a:pt x="16133" y="16546"/>
                </a:lnTo>
                <a:lnTo>
                  <a:pt x="15987" y="16619"/>
                </a:lnTo>
                <a:lnTo>
                  <a:pt x="15768" y="16668"/>
                </a:lnTo>
                <a:lnTo>
                  <a:pt x="15451" y="16765"/>
                </a:lnTo>
                <a:lnTo>
                  <a:pt x="15427" y="16692"/>
                </a:lnTo>
                <a:lnTo>
                  <a:pt x="15354" y="16643"/>
                </a:lnTo>
                <a:lnTo>
                  <a:pt x="15208" y="16546"/>
                </a:lnTo>
                <a:lnTo>
                  <a:pt x="15062" y="16400"/>
                </a:lnTo>
                <a:lnTo>
                  <a:pt x="14770" y="16132"/>
                </a:lnTo>
                <a:lnTo>
                  <a:pt x="14016" y="15524"/>
                </a:lnTo>
                <a:lnTo>
                  <a:pt x="13626" y="15159"/>
                </a:lnTo>
                <a:lnTo>
                  <a:pt x="13261" y="14770"/>
                </a:lnTo>
                <a:lnTo>
                  <a:pt x="12556" y="14016"/>
                </a:lnTo>
                <a:lnTo>
                  <a:pt x="12312" y="13772"/>
                </a:lnTo>
                <a:lnTo>
                  <a:pt x="12045" y="13553"/>
                </a:lnTo>
                <a:lnTo>
                  <a:pt x="11485" y="13140"/>
                </a:lnTo>
                <a:lnTo>
                  <a:pt x="11217" y="12921"/>
                </a:lnTo>
                <a:lnTo>
                  <a:pt x="10950" y="12677"/>
                </a:lnTo>
                <a:lnTo>
                  <a:pt x="10707" y="12434"/>
                </a:lnTo>
                <a:lnTo>
                  <a:pt x="10512" y="12166"/>
                </a:lnTo>
                <a:lnTo>
                  <a:pt x="10828" y="11899"/>
                </a:lnTo>
                <a:lnTo>
                  <a:pt x="11144" y="11607"/>
                </a:lnTo>
                <a:lnTo>
                  <a:pt x="11436" y="11315"/>
                </a:lnTo>
                <a:lnTo>
                  <a:pt x="11704" y="10998"/>
                </a:lnTo>
                <a:close/>
                <a:moveTo>
                  <a:pt x="6400" y="0"/>
                </a:moveTo>
                <a:lnTo>
                  <a:pt x="5791" y="73"/>
                </a:lnTo>
                <a:lnTo>
                  <a:pt x="5183" y="170"/>
                </a:lnTo>
                <a:lnTo>
                  <a:pt x="4891" y="243"/>
                </a:lnTo>
                <a:lnTo>
                  <a:pt x="4599" y="341"/>
                </a:lnTo>
                <a:lnTo>
                  <a:pt x="4258" y="462"/>
                </a:lnTo>
                <a:lnTo>
                  <a:pt x="3918" y="633"/>
                </a:lnTo>
                <a:lnTo>
                  <a:pt x="3601" y="827"/>
                </a:lnTo>
                <a:lnTo>
                  <a:pt x="3285" y="1022"/>
                </a:lnTo>
                <a:lnTo>
                  <a:pt x="2969" y="1241"/>
                </a:lnTo>
                <a:lnTo>
                  <a:pt x="2677" y="1484"/>
                </a:lnTo>
                <a:lnTo>
                  <a:pt x="2117" y="1971"/>
                </a:lnTo>
                <a:lnTo>
                  <a:pt x="1850" y="2239"/>
                </a:lnTo>
                <a:lnTo>
                  <a:pt x="1606" y="2506"/>
                </a:lnTo>
                <a:lnTo>
                  <a:pt x="1363" y="2798"/>
                </a:lnTo>
                <a:lnTo>
                  <a:pt x="1168" y="3066"/>
                </a:lnTo>
                <a:lnTo>
                  <a:pt x="949" y="3382"/>
                </a:lnTo>
                <a:lnTo>
                  <a:pt x="779" y="3699"/>
                </a:lnTo>
                <a:lnTo>
                  <a:pt x="609" y="4015"/>
                </a:lnTo>
                <a:lnTo>
                  <a:pt x="463" y="4331"/>
                </a:lnTo>
                <a:lnTo>
                  <a:pt x="341" y="4672"/>
                </a:lnTo>
                <a:lnTo>
                  <a:pt x="244" y="5013"/>
                </a:lnTo>
                <a:lnTo>
                  <a:pt x="146" y="5353"/>
                </a:lnTo>
                <a:lnTo>
                  <a:pt x="73" y="5718"/>
                </a:lnTo>
                <a:lnTo>
                  <a:pt x="25" y="6083"/>
                </a:lnTo>
                <a:lnTo>
                  <a:pt x="0" y="6448"/>
                </a:lnTo>
                <a:lnTo>
                  <a:pt x="0" y="6813"/>
                </a:lnTo>
                <a:lnTo>
                  <a:pt x="0" y="7203"/>
                </a:lnTo>
                <a:lnTo>
                  <a:pt x="25" y="7592"/>
                </a:lnTo>
                <a:lnTo>
                  <a:pt x="98" y="7957"/>
                </a:lnTo>
                <a:lnTo>
                  <a:pt x="171" y="8346"/>
                </a:lnTo>
                <a:lnTo>
                  <a:pt x="268" y="8711"/>
                </a:lnTo>
                <a:lnTo>
                  <a:pt x="390" y="9076"/>
                </a:lnTo>
                <a:lnTo>
                  <a:pt x="560" y="9441"/>
                </a:lnTo>
                <a:lnTo>
                  <a:pt x="730" y="9782"/>
                </a:lnTo>
                <a:lnTo>
                  <a:pt x="925" y="10122"/>
                </a:lnTo>
                <a:lnTo>
                  <a:pt x="1168" y="10463"/>
                </a:lnTo>
                <a:lnTo>
                  <a:pt x="1436" y="10804"/>
                </a:lnTo>
                <a:lnTo>
                  <a:pt x="1704" y="11096"/>
                </a:lnTo>
                <a:lnTo>
                  <a:pt x="1996" y="11363"/>
                </a:lnTo>
                <a:lnTo>
                  <a:pt x="2312" y="11631"/>
                </a:lnTo>
                <a:lnTo>
                  <a:pt x="2628" y="11874"/>
                </a:lnTo>
                <a:lnTo>
                  <a:pt x="2969" y="12093"/>
                </a:lnTo>
                <a:lnTo>
                  <a:pt x="3334" y="12312"/>
                </a:lnTo>
                <a:lnTo>
                  <a:pt x="3747" y="12531"/>
                </a:lnTo>
                <a:lnTo>
                  <a:pt x="4161" y="12726"/>
                </a:lnTo>
                <a:lnTo>
                  <a:pt x="4599" y="12896"/>
                </a:lnTo>
                <a:lnTo>
                  <a:pt x="5037" y="13042"/>
                </a:lnTo>
                <a:lnTo>
                  <a:pt x="5499" y="13164"/>
                </a:lnTo>
                <a:lnTo>
                  <a:pt x="5937" y="13261"/>
                </a:lnTo>
                <a:lnTo>
                  <a:pt x="6400" y="13334"/>
                </a:lnTo>
                <a:lnTo>
                  <a:pt x="6862" y="13383"/>
                </a:lnTo>
                <a:lnTo>
                  <a:pt x="7324" y="13383"/>
                </a:lnTo>
                <a:lnTo>
                  <a:pt x="7787" y="13334"/>
                </a:lnTo>
                <a:lnTo>
                  <a:pt x="8225" y="13261"/>
                </a:lnTo>
                <a:lnTo>
                  <a:pt x="8638" y="13140"/>
                </a:lnTo>
                <a:lnTo>
                  <a:pt x="9076" y="12994"/>
                </a:lnTo>
                <a:lnTo>
                  <a:pt x="9466" y="12799"/>
                </a:lnTo>
                <a:lnTo>
                  <a:pt x="9879" y="12580"/>
                </a:lnTo>
                <a:lnTo>
                  <a:pt x="10269" y="12337"/>
                </a:lnTo>
                <a:lnTo>
                  <a:pt x="10293" y="12458"/>
                </a:lnTo>
                <a:lnTo>
                  <a:pt x="10317" y="12580"/>
                </a:lnTo>
                <a:lnTo>
                  <a:pt x="10390" y="12677"/>
                </a:lnTo>
                <a:lnTo>
                  <a:pt x="10463" y="12775"/>
                </a:lnTo>
                <a:lnTo>
                  <a:pt x="10658" y="12969"/>
                </a:lnTo>
                <a:lnTo>
                  <a:pt x="10828" y="13140"/>
                </a:lnTo>
                <a:lnTo>
                  <a:pt x="11120" y="13383"/>
                </a:lnTo>
                <a:lnTo>
                  <a:pt x="11412" y="13602"/>
                </a:lnTo>
                <a:lnTo>
                  <a:pt x="11704" y="13845"/>
                </a:lnTo>
                <a:lnTo>
                  <a:pt x="11972" y="14089"/>
                </a:lnTo>
                <a:lnTo>
                  <a:pt x="12385" y="14502"/>
                </a:lnTo>
                <a:lnTo>
                  <a:pt x="12775" y="14916"/>
                </a:lnTo>
                <a:lnTo>
                  <a:pt x="13164" y="15330"/>
                </a:lnTo>
                <a:lnTo>
                  <a:pt x="13553" y="15743"/>
                </a:lnTo>
                <a:lnTo>
                  <a:pt x="13772" y="15938"/>
                </a:lnTo>
                <a:lnTo>
                  <a:pt x="13991" y="16132"/>
                </a:lnTo>
                <a:lnTo>
                  <a:pt x="14429" y="16473"/>
                </a:lnTo>
                <a:lnTo>
                  <a:pt x="14770" y="16789"/>
                </a:lnTo>
                <a:lnTo>
                  <a:pt x="14916" y="16935"/>
                </a:lnTo>
                <a:lnTo>
                  <a:pt x="15111" y="17081"/>
                </a:lnTo>
                <a:lnTo>
                  <a:pt x="15184" y="17106"/>
                </a:lnTo>
                <a:lnTo>
                  <a:pt x="15232" y="17154"/>
                </a:lnTo>
                <a:lnTo>
                  <a:pt x="15305" y="17179"/>
                </a:lnTo>
                <a:lnTo>
                  <a:pt x="15451" y="17227"/>
                </a:lnTo>
                <a:lnTo>
                  <a:pt x="15646" y="17203"/>
                </a:lnTo>
                <a:lnTo>
                  <a:pt x="15841" y="17179"/>
                </a:lnTo>
                <a:lnTo>
                  <a:pt x="16035" y="17106"/>
                </a:lnTo>
                <a:lnTo>
                  <a:pt x="16230" y="17033"/>
                </a:lnTo>
                <a:lnTo>
                  <a:pt x="16498" y="16911"/>
                </a:lnTo>
                <a:lnTo>
                  <a:pt x="16644" y="16814"/>
                </a:lnTo>
                <a:lnTo>
                  <a:pt x="16790" y="16668"/>
                </a:lnTo>
                <a:lnTo>
                  <a:pt x="16911" y="16497"/>
                </a:lnTo>
                <a:lnTo>
                  <a:pt x="17009" y="16327"/>
                </a:lnTo>
                <a:lnTo>
                  <a:pt x="17057" y="16132"/>
                </a:lnTo>
                <a:lnTo>
                  <a:pt x="17082" y="15938"/>
                </a:lnTo>
                <a:lnTo>
                  <a:pt x="17057" y="15840"/>
                </a:lnTo>
                <a:lnTo>
                  <a:pt x="17033" y="15767"/>
                </a:lnTo>
                <a:lnTo>
                  <a:pt x="17009" y="15670"/>
                </a:lnTo>
                <a:lnTo>
                  <a:pt x="16936" y="15597"/>
                </a:lnTo>
                <a:lnTo>
                  <a:pt x="16887" y="15549"/>
                </a:lnTo>
                <a:lnTo>
                  <a:pt x="15500" y="14137"/>
                </a:lnTo>
                <a:lnTo>
                  <a:pt x="14819" y="13432"/>
                </a:lnTo>
                <a:lnTo>
                  <a:pt x="14089" y="12750"/>
                </a:lnTo>
                <a:lnTo>
                  <a:pt x="13772" y="12458"/>
                </a:lnTo>
                <a:lnTo>
                  <a:pt x="13432" y="12166"/>
                </a:lnTo>
                <a:lnTo>
                  <a:pt x="13091" y="11899"/>
                </a:lnTo>
                <a:lnTo>
                  <a:pt x="12775" y="11582"/>
                </a:lnTo>
                <a:lnTo>
                  <a:pt x="12580" y="11363"/>
                </a:lnTo>
                <a:lnTo>
                  <a:pt x="12385" y="11120"/>
                </a:lnTo>
                <a:lnTo>
                  <a:pt x="12166" y="10901"/>
                </a:lnTo>
                <a:lnTo>
                  <a:pt x="12045" y="10804"/>
                </a:lnTo>
                <a:lnTo>
                  <a:pt x="11923" y="10706"/>
                </a:lnTo>
                <a:lnTo>
                  <a:pt x="12191" y="10317"/>
                </a:lnTo>
                <a:lnTo>
                  <a:pt x="12434" y="9928"/>
                </a:lnTo>
                <a:lnTo>
                  <a:pt x="12629" y="9490"/>
                </a:lnTo>
                <a:lnTo>
                  <a:pt x="12823" y="9076"/>
                </a:lnTo>
                <a:lnTo>
                  <a:pt x="12969" y="8614"/>
                </a:lnTo>
                <a:lnTo>
                  <a:pt x="13091" y="8176"/>
                </a:lnTo>
                <a:lnTo>
                  <a:pt x="13188" y="7713"/>
                </a:lnTo>
                <a:lnTo>
                  <a:pt x="13261" y="7251"/>
                </a:lnTo>
                <a:lnTo>
                  <a:pt x="13310" y="6765"/>
                </a:lnTo>
                <a:lnTo>
                  <a:pt x="13310" y="6302"/>
                </a:lnTo>
                <a:lnTo>
                  <a:pt x="13286" y="5840"/>
                </a:lnTo>
                <a:lnTo>
                  <a:pt x="13237" y="5378"/>
                </a:lnTo>
                <a:lnTo>
                  <a:pt x="13164" y="4891"/>
                </a:lnTo>
                <a:lnTo>
                  <a:pt x="13042" y="4453"/>
                </a:lnTo>
                <a:lnTo>
                  <a:pt x="12896" y="3991"/>
                </a:lnTo>
                <a:lnTo>
                  <a:pt x="12702" y="3553"/>
                </a:lnTo>
                <a:lnTo>
                  <a:pt x="12580" y="3285"/>
                </a:lnTo>
                <a:lnTo>
                  <a:pt x="12434" y="3042"/>
                </a:lnTo>
                <a:lnTo>
                  <a:pt x="12288" y="2798"/>
                </a:lnTo>
                <a:lnTo>
                  <a:pt x="12118" y="2579"/>
                </a:lnTo>
                <a:lnTo>
                  <a:pt x="11753" y="2141"/>
                </a:lnTo>
                <a:lnTo>
                  <a:pt x="11339" y="1728"/>
                </a:lnTo>
                <a:lnTo>
                  <a:pt x="10901" y="1363"/>
                </a:lnTo>
                <a:lnTo>
                  <a:pt x="10415" y="1046"/>
                </a:lnTo>
                <a:lnTo>
                  <a:pt x="9904" y="754"/>
                </a:lnTo>
                <a:lnTo>
                  <a:pt x="9368" y="511"/>
                </a:lnTo>
                <a:lnTo>
                  <a:pt x="8784" y="316"/>
                </a:lnTo>
                <a:lnTo>
                  <a:pt x="8225" y="170"/>
                </a:lnTo>
                <a:lnTo>
                  <a:pt x="7616" y="73"/>
                </a:lnTo>
                <a:lnTo>
                  <a:pt x="700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Freeform: Shape 10">
            <a:extLst>
              <a:ext uri="{FF2B5EF4-FFF2-40B4-BE49-F238E27FC236}">
                <a16:creationId xmlns:a16="http://schemas.microsoft.com/office/drawing/2014/main" id="{484651ED-824F-8055-F94A-E4A676473EE3}"/>
              </a:ext>
            </a:extLst>
          </p:cNvPr>
          <p:cNvSpPr/>
          <p:nvPr/>
        </p:nvSpPr>
        <p:spPr>
          <a:xfrm>
            <a:off x="4032123" y="1365123"/>
            <a:ext cx="4127754" cy="4127754"/>
          </a:xfrm>
          <a:custGeom>
            <a:avLst/>
            <a:gdLst>
              <a:gd name="connsiteX0" fmla="*/ 4127754 w 4127754"/>
              <a:gd name="connsiteY0" fmla="*/ 2063877 h 4127754"/>
              <a:gd name="connsiteX1" fmla="*/ 2063877 w 4127754"/>
              <a:gd name="connsiteY1" fmla="*/ 4127754 h 4127754"/>
              <a:gd name="connsiteX2" fmla="*/ 0 w 4127754"/>
              <a:gd name="connsiteY2" fmla="*/ 2063877 h 4127754"/>
              <a:gd name="connsiteX3" fmla="*/ 2063877 w 4127754"/>
              <a:gd name="connsiteY3" fmla="*/ 0 h 4127754"/>
              <a:gd name="connsiteX4" fmla="*/ 4127754 w 4127754"/>
              <a:gd name="connsiteY4" fmla="*/ 2063877 h 4127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7754" h="4127754">
                <a:moveTo>
                  <a:pt x="4127754" y="2063877"/>
                </a:moveTo>
                <a:cubicBezTo>
                  <a:pt x="4127754" y="3203725"/>
                  <a:pt x="3203725" y="4127754"/>
                  <a:pt x="2063877" y="4127754"/>
                </a:cubicBezTo>
                <a:cubicBezTo>
                  <a:pt x="924029" y="4127754"/>
                  <a:pt x="0" y="3203725"/>
                  <a:pt x="0" y="2063877"/>
                </a:cubicBezTo>
                <a:cubicBezTo>
                  <a:pt x="0" y="924029"/>
                  <a:pt x="924029" y="0"/>
                  <a:pt x="2063877" y="0"/>
                </a:cubicBezTo>
                <a:cubicBezTo>
                  <a:pt x="3203725" y="0"/>
                  <a:pt x="4127754" y="924029"/>
                  <a:pt x="4127754" y="2063877"/>
                </a:cubicBezTo>
                <a:close/>
              </a:path>
            </a:pathLst>
          </a:custGeom>
          <a:solidFill>
            <a:schemeClr val="accent3"/>
          </a:solidFill>
          <a:ln w="0" cap="flat">
            <a:noFill/>
            <a:prstDash val="solid"/>
            <a:miter/>
          </a:ln>
        </p:spPr>
        <p:txBody>
          <a:bodyPr rtlCol="0" anchor="ctr"/>
          <a:lstStyle/>
          <a:p>
            <a:endParaRPr lang="da-DK"/>
          </a:p>
        </p:txBody>
      </p:sp>
      <p:sp>
        <p:nvSpPr>
          <p:cNvPr id="12" name="Freeform: Shape 11">
            <a:extLst>
              <a:ext uri="{FF2B5EF4-FFF2-40B4-BE49-F238E27FC236}">
                <a16:creationId xmlns:a16="http://schemas.microsoft.com/office/drawing/2014/main" id="{CFFF4F64-1472-B8C4-C758-3056CDB9AA62}"/>
              </a:ext>
            </a:extLst>
          </p:cNvPr>
          <p:cNvSpPr/>
          <p:nvPr/>
        </p:nvSpPr>
        <p:spPr>
          <a:xfrm>
            <a:off x="4263914" y="1828800"/>
            <a:ext cx="3664172" cy="3664172"/>
          </a:xfrm>
          <a:custGeom>
            <a:avLst/>
            <a:gdLst>
              <a:gd name="connsiteX0" fmla="*/ 3715131 w 3715131"/>
              <a:gd name="connsiteY0" fmla="*/ 1857566 h 3715131"/>
              <a:gd name="connsiteX1" fmla="*/ 1857566 w 3715131"/>
              <a:gd name="connsiteY1" fmla="*/ 3715131 h 3715131"/>
              <a:gd name="connsiteX2" fmla="*/ 0 w 3715131"/>
              <a:gd name="connsiteY2" fmla="*/ 1857565 h 3715131"/>
              <a:gd name="connsiteX3" fmla="*/ 1857566 w 3715131"/>
              <a:gd name="connsiteY3" fmla="*/ 0 h 3715131"/>
              <a:gd name="connsiteX4" fmla="*/ 3715131 w 3715131"/>
              <a:gd name="connsiteY4" fmla="*/ 1857566 h 371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5131" h="3715131">
                <a:moveTo>
                  <a:pt x="3715131" y="1857566"/>
                </a:moveTo>
                <a:cubicBezTo>
                  <a:pt x="3715131" y="2883471"/>
                  <a:pt x="2883471" y="3715131"/>
                  <a:pt x="1857566" y="3715131"/>
                </a:cubicBezTo>
                <a:cubicBezTo>
                  <a:pt x="831660" y="3715131"/>
                  <a:pt x="0" y="2883471"/>
                  <a:pt x="0" y="1857565"/>
                </a:cubicBezTo>
                <a:cubicBezTo>
                  <a:pt x="0" y="831660"/>
                  <a:pt x="831660" y="0"/>
                  <a:pt x="1857566" y="0"/>
                </a:cubicBezTo>
                <a:cubicBezTo>
                  <a:pt x="2883471" y="0"/>
                  <a:pt x="3715131" y="831660"/>
                  <a:pt x="3715131" y="1857566"/>
                </a:cubicBezTo>
                <a:close/>
              </a:path>
            </a:pathLst>
          </a:custGeom>
          <a:solidFill>
            <a:schemeClr val="accent4"/>
          </a:solidFill>
          <a:ln w="0" cap="flat">
            <a:noFill/>
            <a:prstDash val="solid"/>
            <a:miter/>
          </a:ln>
        </p:spPr>
        <p:txBody>
          <a:bodyPr rtlCol="0" anchor="ctr"/>
          <a:lstStyle/>
          <a:p>
            <a:endParaRPr lang="da-DK"/>
          </a:p>
        </p:txBody>
      </p:sp>
      <p:sp>
        <p:nvSpPr>
          <p:cNvPr id="13" name="Freeform: Shape 12">
            <a:extLst>
              <a:ext uri="{FF2B5EF4-FFF2-40B4-BE49-F238E27FC236}">
                <a16:creationId xmlns:a16="http://schemas.microsoft.com/office/drawing/2014/main" id="{98CE5F03-51FE-64FB-95A3-F3B2D9AF66E6}"/>
              </a:ext>
            </a:extLst>
          </p:cNvPr>
          <p:cNvSpPr/>
          <p:nvPr/>
        </p:nvSpPr>
        <p:spPr>
          <a:xfrm>
            <a:off x="4541519" y="2383915"/>
            <a:ext cx="3108962" cy="3108962"/>
          </a:xfrm>
          <a:custGeom>
            <a:avLst/>
            <a:gdLst>
              <a:gd name="connsiteX0" fmla="*/ 3302318 w 3302317"/>
              <a:gd name="connsiteY0" fmla="*/ 1651159 h 3302317"/>
              <a:gd name="connsiteX1" fmla="*/ 1651159 w 3302317"/>
              <a:gd name="connsiteY1" fmla="*/ 3302318 h 3302317"/>
              <a:gd name="connsiteX2" fmla="*/ 0 w 3302317"/>
              <a:gd name="connsiteY2" fmla="*/ 1651159 h 3302317"/>
              <a:gd name="connsiteX3" fmla="*/ 1651159 w 3302317"/>
              <a:gd name="connsiteY3" fmla="*/ 0 h 3302317"/>
              <a:gd name="connsiteX4" fmla="*/ 3302318 w 3302317"/>
              <a:gd name="connsiteY4" fmla="*/ 1651159 h 3302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2317" h="3302317">
                <a:moveTo>
                  <a:pt x="3302318" y="1651159"/>
                </a:moveTo>
                <a:cubicBezTo>
                  <a:pt x="3302318" y="2563069"/>
                  <a:pt x="2563069" y="3302318"/>
                  <a:pt x="1651159" y="3302318"/>
                </a:cubicBezTo>
                <a:cubicBezTo>
                  <a:pt x="739249" y="3302318"/>
                  <a:pt x="0" y="2563069"/>
                  <a:pt x="0" y="1651159"/>
                </a:cubicBezTo>
                <a:cubicBezTo>
                  <a:pt x="0" y="739249"/>
                  <a:pt x="739249" y="0"/>
                  <a:pt x="1651159" y="0"/>
                </a:cubicBezTo>
                <a:cubicBezTo>
                  <a:pt x="2563069" y="0"/>
                  <a:pt x="3302318" y="739249"/>
                  <a:pt x="3302318" y="1651159"/>
                </a:cubicBezTo>
                <a:close/>
              </a:path>
            </a:pathLst>
          </a:custGeom>
          <a:solidFill>
            <a:schemeClr val="accent6"/>
          </a:solidFill>
          <a:ln w="0" cap="flat">
            <a:noFill/>
            <a:prstDash val="solid"/>
            <a:miter/>
          </a:ln>
        </p:spPr>
        <p:txBody>
          <a:bodyPr rtlCol="0" anchor="ctr"/>
          <a:lstStyle/>
          <a:p>
            <a:endParaRPr lang="da-DK"/>
          </a:p>
        </p:txBody>
      </p:sp>
      <p:sp>
        <p:nvSpPr>
          <p:cNvPr id="14" name="Freeform: Shape 13">
            <a:extLst>
              <a:ext uri="{FF2B5EF4-FFF2-40B4-BE49-F238E27FC236}">
                <a16:creationId xmlns:a16="http://schemas.microsoft.com/office/drawing/2014/main" id="{83E8F3C1-A248-EE07-AC18-91183BF03554}"/>
              </a:ext>
            </a:extLst>
          </p:cNvPr>
          <p:cNvSpPr/>
          <p:nvPr/>
        </p:nvSpPr>
        <p:spPr>
          <a:xfrm>
            <a:off x="4838212" y="2977302"/>
            <a:ext cx="2515576" cy="2515576"/>
          </a:xfrm>
          <a:custGeom>
            <a:avLst/>
            <a:gdLst>
              <a:gd name="connsiteX0" fmla="*/ 2889504 w 2889504"/>
              <a:gd name="connsiteY0" fmla="*/ 1444752 h 2889504"/>
              <a:gd name="connsiteX1" fmla="*/ 1444752 w 2889504"/>
              <a:gd name="connsiteY1" fmla="*/ 2889504 h 2889504"/>
              <a:gd name="connsiteX2" fmla="*/ 0 w 2889504"/>
              <a:gd name="connsiteY2" fmla="*/ 1444752 h 2889504"/>
              <a:gd name="connsiteX3" fmla="*/ 1444752 w 2889504"/>
              <a:gd name="connsiteY3" fmla="*/ 0 h 2889504"/>
              <a:gd name="connsiteX4" fmla="*/ 2889504 w 2889504"/>
              <a:gd name="connsiteY4" fmla="*/ 1444752 h 2889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9504" h="2889504">
                <a:moveTo>
                  <a:pt x="2889504" y="1444752"/>
                </a:moveTo>
                <a:cubicBezTo>
                  <a:pt x="2889504" y="2242667"/>
                  <a:pt x="2242666" y="2889504"/>
                  <a:pt x="1444752" y="2889504"/>
                </a:cubicBezTo>
                <a:cubicBezTo>
                  <a:pt x="646837" y="2889504"/>
                  <a:pt x="0" y="2242667"/>
                  <a:pt x="0" y="1444752"/>
                </a:cubicBezTo>
                <a:cubicBezTo>
                  <a:pt x="0" y="646838"/>
                  <a:pt x="646837" y="0"/>
                  <a:pt x="1444752" y="0"/>
                </a:cubicBezTo>
                <a:cubicBezTo>
                  <a:pt x="2242666" y="0"/>
                  <a:pt x="2889504" y="646838"/>
                  <a:pt x="2889504" y="1444752"/>
                </a:cubicBezTo>
                <a:close/>
              </a:path>
            </a:pathLst>
          </a:custGeom>
          <a:solidFill>
            <a:schemeClr val="accent2"/>
          </a:solidFill>
          <a:ln w="0" cap="flat">
            <a:noFill/>
            <a:prstDash val="solid"/>
            <a:miter/>
          </a:ln>
        </p:spPr>
        <p:txBody>
          <a:bodyPr rtlCol="0" anchor="ctr"/>
          <a:lstStyle/>
          <a:p>
            <a:endParaRPr lang="da-DK"/>
          </a:p>
        </p:txBody>
      </p:sp>
      <p:sp>
        <p:nvSpPr>
          <p:cNvPr id="15" name="TextBox 14">
            <a:extLst>
              <a:ext uri="{FF2B5EF4-FFF2-40B4-BE49-F238E27FC236}">
                <a16:creationId xmlns:a16="http://schemas.microsoft.com/office/drawing/2014/main" id="{2780B1DA-CD25-5375-4D28-20FD631D51D9}"/>
              </a:ext>
            </a:extLst>
          </p:cNvPr>
          <p:cNvSpPr txBox="1"/>
          <p:nvPr/>
        </p:nvSpPr>
        <p:spPr>
          <a:xfrm>
            <a:off x="5323957" y="3989798"/>
            <a:ext cx="1544084" cy="553998"/>
          </a:xfrm>
          <a:prstGeom prst="rect">
            <a:avLst/>
          </a:prstGeom>
          <a:noFill/>
        </p:spPr>
        <p:txBody>
          <a:bodyPr wrap="square">
            <a:spAutoFit/>
          </a:bodyPr>
          <a:lstStyle/>
          <a:p>
            <a:pPr algn="ctr" defTabSz="1219170">
              <a:lnSpc>
                <a:spcPct val="100000"/>
              </a:lnSpc>
              <a:buClr>
                <a:srgbClr val="273F68"/>
              </a:buClr>
              <a:buSzPct val="100000"/>
            </a:pPr>
            <a:r>
              <a:rPr lang="da-DK" sz="1500" b="0" kern="0">
                <a:solidFill>
                  <a:schemeClr val="bg1"/>
                </a:solidFill>
                <a:latin typeface="Quicksand"/>
              </a:rPr>
              <a:t>Elevernes perspektiver</a:t>
            </a:r>
          </a:p>
        </p:txBody>
      </p:sp>
      <p:sp>
        <p:nvSpPr>
          <p:cNvPr id="16" name="TextBox 15">
            <a:extLst>
              <a:ext uri="{FF2B5EF4-FFF2-40B4-BE49-F238E27FC236}">
                <a16:creationId xmlns:a16="http://schemas.microsoft.com/office/drawing/2014/main" id="{16DA3DED-1E7A-710E-EA92-34BFBBBEDC81}"/>
              </a:ext>
            </a:extLst>
          </p:cNvPr>
          <p:cNvSpPr txBox="1"/>
          <p:nvPr/>
        </p:nvSpPr>
        <p:spPr>
          <a:xfrm>
            <a:off x="4904267" y="2715845"/>
            <a:ext cx="2383463" cy="1899017"/>
          </a:xfrm>
          <a:prstGeom prst="rect">
            <a:avLst/>
          </a:prstGeom>
          <a:noFill/>
        </p:spPr>
        <p:txBody>
          <a:bodyPr wrap="square">
            <a:prstTxWarp prst="textArchUp">
              <a:avLst/>
            </a:prstTxWarp>
            <a:spAutoFit/>
          </a:bodyPr>
          <a:lstStyle/>
          <a:p>
            <a:pPr algn="ctr" defTabSz="1219170">
              <a:lnSpc>
                <a:spcPct val="100000"/>
              </a:lnSpc>
              <a:buClr>
                <a:srgbClr val="273F68"/>
              </a:buClr>
              <a:buSzPct val="100000"/>
            </a:pPr>
            <a:r>
              <a:rPr lang="da-DK" sz="1500" b="0" kern="0">
                <a:solidFill>
                  <a:schemeClr val="bg1"/>
                </a:solidFill>
                <a:latin typeface="Quicksand"/>
              </a:rPr>
              <a:t>Tegn på forandring i praksis</a:t>
            </a:r>
          </a:p>
        </p:txBody>
      </p:sp>
      <p:sp>
        <p:nvSpPr>
          <p:cNvPr id="17" name="TextBox 16">
            <a:extLst>
              <a:ext uri="{FF2B5EF4-FFF2-40B4-BE49-F238E27FC236}">
                <a16:creationId xmlns:a16="http://schemas.microsoft.com/office/drawing/2014/main" id="{7DE039E3-09C1-F8B3-3B56-D16E94FC8C38}"/>
              </a:ext>
            </a:extLst>
          </p:cNvPr>
          <p:cNvSpPr txBox="1"/>
          <p:nvPr/>
        </p:nvSpPr>
        <p:spPr>
          <a:xfrm>
            <a:off x="4942570" y="2132226"/>
            <a:ext cx="2383463" cy="1622002"/>
          </a:xfrm>
          <a:prstGeom prst="rect">
            <a:avLst/>
          </a:prstGeom>
          <a:noFill/>
        </p:spPr>
        <p:txBody>
          <a:bodyPr wrap="square">
            <a:prstTxWarp prst="textArchUp">
              <a:avLst/>
            </a:prstTxWarp>
            <a:spAutoFit/>
          </a:bodyPr>
          <a:lstStyle/>
          <a:p>
            <a:pPr algn="ctr" defTabSz="1219170">
              <a:lnSpc>
                <a:spcPct val="100000"/>
              </a:lnSpc>
              <a:buClr>
                <a:srgbClr val="273F68"/>
              </a:buClr>
              <a:buSzPct val="100000"/>
            </a:pPr>
            <a:r>
              <a:rPr lang="da-DK" sz="1500" b="0" kern="0">
                <a:solidFill>
                  <a:schemeClr val="bg1"/>
                </a:solidFill>
                <a:latin typeface="Quicksand"/>
              </a:rPr>
              <a:t>Samarbejde og kapacitet</a:t>
            </a:r>
          </a:p>
        </p:txBody>
      </p:sp>
      <p:sp>
        <p:nvSpPr>
          <p:cNvPr id="18" name="TextBox 17">
            <a:extLst>
              <a:ext uri="{FF2B5EF4-FFF2-40B4-BE49-F238E27FC236}">
                <a16:creationId xmlns:a16="http://schemas.microsoft.com/office/drawing/2014/main" id="{DCF04AEA-B8C4-5E9A-1E53-E6D3C85CC1FD}"/>
              </a:ext>
            </a:extLst>
          </p:cNvPr>
          <p:cNvSpPr txBox="1"/>
          <p:nvPr/>
        </p:nvSpPr>
        <p:spPr>
          <a:xfrm>
            <a:off x="4770033" y="1656780"/>
            <a:ext cx="2728535" cy="1431954"/>
          </a:xfrm>
          <a:prstGeom prst="rect">
            <a:avLst/>
          </a:prstGeom>
          <a:noFill/>
        </p:spPr>
        <p:txBody>
          <a:bodyPr wrap="square">
            <a:prstTxWarp prst="textArchUp">
              <a:avLst/>
            </a:prstTxWarp>
            <a:spAutoFit/>
          </a:bodyPr>
          <a:lstStyle/>
          <a:p>
            <a:pPr algn="ctr" defTabSz="1219170">
              <a:lnSpc>
                <a:spcPct val="100000"/>
              </a:lnSpc>
              <a:buClr>
                <a:srgbClr val="273F68"/>
              </a:buClr>
              <a:buSzPct val="100000"/>
            </a:pPr>
            <a:r>
              <a:rPr lang="da-DK" sz="1500" b="0" kern="0">
                <a:solidFill>
                  <a:schemeClr val="bg1"/>
                </a:solidFill>
                <a:latin typeface="Quicksand"/>
              </a:rPr>
              <a:t>Rammer, organisering og ledelse</a:t>
            </a:r>
          </a:p>
        </p:txBody>
      </p:sp>
    </p:spTree>
    <p:extLst>
      <p:ext uri="{BB962C8B-B14F-4D97-AF65-F5344CB8AC3E}">
        <p14:creationId xmlns:p14="http://schemas.microsoft.com/office/powerpoint/2010/main" val="19865418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387A61-43FE-46B6-8C73-F239F7BF43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6" name="Object 5" hidden="1">
                        <a:extLst>
                          <a:ext uri="{FF2B5EF4-FFF2-40B4-BE49-F238E27FC236}">
                            <a16:creationId xmlns:a16="http://schemas.microsoft.com/office/drawing/2014/main" id="{04387A61-43FE-46B6-8C73-F239F7BF43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Google Shape;741;p19">
            <a:extLst>
              <a:ext uri="{FF2B5EF4-FFF2-40B4-BE49-F238E27FC236}">
                <a16:creationId xmlns:a16="http://schemas.microsoft.com/office/drawing/2014/main" id="{DB13367A-62DF-48EA-AFB5-C897B8D283B9}"/>
              </a:ext>
            </a:extLst>
          </p:cNvPr>
          <p:cNvSpPr txBox="1">
            <a:spLocks/>
          </p:cNvSpPr>
          <p:nvPr/>
        </p:nvSpPr>
        <p:spPr>
          <a:xfrm>
            <a:off x="1997600" y="2716306"/>
            <a:ext cx="8196800" cy="12573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1pPr>
            <a:lvl2pPr marR="0" lvl="1"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2pPr>
            <a:lvl3pPr marR="0" lvl="2"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3pPr>
            <a:lvl4pPr marR="0" lvl="3"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4pPr>
            <a:lvl5pPr marR="0" lvl="4"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5pPr>
            <a:lvl6pPr marR="0" lvl="5"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6pPr>
            <a:lvl7pPr marR="0" lvl="6"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7pPr>
            <a:lvl8pPr marR="0" lvl="7"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8pPr>
            <a:lvl9pPr marR="0" lvl="8"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9pPr>
          </a:lstStyle>
          <a:p>
            <a:pPr defTabSz="1219170">
              <a:buClr>
                <a:srgbClr val="273F68"/>
              </a:buClr>
            </a:pPr>
            <a:r>
              <a:rPr lang="da-DK" sz="4800" kern="0">
                <a:solidFill>
                  <a:srgbClr val="FFFFFF"/>
                </a:solidFill>
              </a:rPr>
              <a:t>Eksempler på prøvehandlinger</a:t>
            </a:r>
          </a:p>
          <a:p>
            <a:pPr defTabSz="1219170">
              <a:buClr>
                <a:srgbClr val="273F68"/>
              </a:buClr>
            </a:pPr>
            <a:r>
              <a:rPr lang="da-DK" sz="4800" kern="0">
                <a:solidFill>
                  <a:srgbClr val="FFFFFF"/>
                </a:solidFill>
              </a:rPr>
              <a:t> i praksis</a:t>
            </a:r>
          </a:p>
        </p:txBody>
      </p:sp>
    </p:spTree>
    <p:extLst>
      <p:ext uri="{BB962C8B-B14F-4D97-AF65-F5344CB8AC3E}">
        <p14:creationId xmlns:p14="http://schemas.microsoft.com/office/powerpoint/2010/main" val="13640167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DE378429-0D90-3DD5-8FDC-014652E0D73F}"/>
              </a:ext>
            </a:extLst>
          </p:cNvPr>
          <p:cNvSpPr/>
          <p:nvPr/>
        </p:nvSpPr>
        <p:spPr>
          <a:xfrm>
            <a:off x="1865384" y="2061095"/>
            <a:ext cx="2360024" cy="458236"/>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Baggrund og formål</a:t>
            </a:r>
          </a:p>
        </p:txBody>
      </p:sp>
      <p:sp>
        <p:nvSpPr>
          <p:cNvPr id="33" name="Rectangle 32">
            <a:extLst>
              <a:ext uri="{FF2B5EF4-FFF2-40B4-BE49-F238E27FC236}">
                <a16:creationId xmlns:a16="http://schemas.microsoft.com/office/drawing/2014/main" id="{E9610F5E-5284-7E5E-317A-018E590AC769}"/>
              </a:ext>
            </a:extLst>
          </p:cNvPr>
          <p:cNvSpPr/>
          <p:nvPr/>
        </p:nvSpPr>
        <p:spPr>
          <a:xfrm>
            <a:off x="1865384" y="2514672"/>
            <a:ext cx="2360024" cy="2915963"/>
          </a:xfrm>
          <a:prstGeom prst="rect">
            <a:avLst/>
          </a:prstGeom>
          <a:solidFill>
            <a:schemeClr val="accent6">
              <a:lumMod val="20000"/>
              <a:lumOff val="8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1100" b="0" i="0">
                <a:solidFill>
                  <a:schemeClr val="tx1"/>
                </a:solidFill>
                <a:effectLst/>
                <a:latin typeface="Quicksand" panose="020B0604020202020204"/>
              </a:rPr>
              <a:t>En skole har særligt fokus på at styrke elevernes medinddragelse og engagement. Baggrunden er, at</a:t>
            </a:r>
            <a:r>
              <a:rPr lang="da-DK" sz="1100">
                <a:solidFill>
                  <a:schemeClr val="tx1"/>
                </a:solidFill>
                <a:latin typeface="Quicksand" panose="020B0604020202020204"/>
              </a:rPr>
              <a:t> både ledelse og det pædagogiske personale har en oplevelse af, at eleverne ikke bliver hørt og inddraget tilstrækkeligt i hverdagen, hvilket går ud over motivation og læring.</a:t>
            </a:r>
            <a:endParaRPr lang="da-DK" sz="1100" b="0" i="0">
              <a:solidFill>
                <a:schemeClr val="tx1"/>
              </a:solidFill>
              <a:effectLst/>
              <a:latin typeface="Quicksand" panose="020B0604020202020204"/>
            </a:endParaRPr>
          </a:p>
          <a:p>
            <a:endParaRPr lang="da-DK" sz="1100">
              <a:solidFill>
                <a:schemeClr val="tx1"/>
              </a:solidFill>
              <a:latin typeface="Quicksand" panose="020B0604020202020204"/>
            </a:endParaRPr>
          </a:p>
          <a:p>
            <a:r>
              <a:rPr lang="da-DK" sz="1100" b="0" i="0">
                <a:solidFill>
                  <a:schemeClr val="tx1"/>
                </a:solidFill>
                <a:effectLst/>
                <a:latin typeface="Quicksand" panose="020B0604020202020204"/>
              </a:rPr>
              <a:t>Dette har ført til, at det pædagogiske personale har udviklet en række sproglige greb, som skal styrke fællesskabet blandt det pædagogiske personale og eleverne. Metoderne anvendes både løbende og som en afslutning på lektionerne for </a:t>
            </a:r>
            <a:r>
              <a:rPr lang="da-DK" sz="1100">
                <a:solidFill>
                  <a:schemeClr val="tx1"/>
                </a:solidFill>
                <a:latin typeface="Quicksand" panose="020B0604020202020204"/>
              </a:rPr>
              <a:t>at </a:t>
            </a:r>
            <a:r>
              <a:rPr lang="da-DK" sz="1100" b="0" i="0">
                <a:solidFill>
                  <a:schemeClr val="tx1"/>
                </a:solidFill>
                <a:effectLst/>
                <a:latin typeface="Quicksand" panose="020B0604020202020204"/>
              </a:rPr>
              <a:t>involvere eleverne mere </a:t>
            </a:r>
            <a:r>
              <a:rPr lang="da-DK" sz="1100">
                <a:solidFill>
                  <a:schemeClr val="tx1"/>
                </a:solidFill>
                <a:latin typeface="Quicksand" panose="020B0604020202020204"/>
              </a:rPr>
              <a:t>aktivt</a:t>
            </a:r>
            <a:r>
              <a:rPr lang="da-DK" sz="1100" b="0" i="0">
                <a:solidFill>
                  <a:schemeClr val="tx1"/>
                </a:solidFill>
                <a:effectLst/>
                <a:latin typeface="Quicksand" panose="020B0604020202020204"/>
              </a:rPr>
              <a:t>.</a:t>
            </a:r>
            <a:endParaRPr lang="da-DK" sz="1100">
              <a:solidFill>
                <a:schemeClr val="tx1"/>
              </a:solidFill>
              <a:latin typeface="Quicksand" panose="020B0604020202020204"/>
            </a:endParaRPr>
          </a:p>
        </p:txBody>
      </p:sp>
      <p:sp>
        <p:nvSpPr>
          <p:cNvPr id="36" name="Rectangle 35">
            <a:extLst>
              <a:ext uri="{FF2B5EF4-FFF2-40B4-BE49-F238E27FC236}">
                <a16:creationId xmlns:a16="http://schemas.microsoft.com/office/drawing/2014/main" id="{FDF73E5C-B667-FE57-4C8F-7E2033D688CB}"/>
              </a:ext>
            </a:extLst>
          </p:cNvPr>
          <p:cNvSpPr/>
          <p:nvPr/>
        </p:nvSpPr>
        <p:spPr>
          <a:xfrm>
            <a:off x="4916422" y="2061095"/>
            <a:ext cx="2360024" cy="45823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Sådan gør de</a:t>
            </a:r>
          </a:p>
        </p:txBody>
      </p:sp>
      <p:sp>
        <p:nvSpPr>
          <p:cNvPr id="37" name="Rectangle 36">
            <a:extLst>
              <a:ext uri="{FF2B5EF4-FFF2-40B4-BE49-F238E27FC236}">
                <a16:creationId xmlns:a16="http://schemas.microsoft.com/office/drawing/2014/main" id="{0729E69F-73C3-D2EF-DAD5-1909F3F4DD14}"/>
              </a:ext>
            </a:extLst>
          </p:cNvPr>
          <p:cNvSpPr/>
          <p:nvPr/>
        </p:nvSpPr>
        <p:spPr>
          <a:xfrm>
            <a:off x="4917526" y="2514672"/>
            <a:ext cx="2360024" cy="2915963"/>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1100" b="0" i="0">
                <a:solidFill>
                  <a:schemeClr val="tx1"/>
                </a:solidFill>
                <a:effectLst/>
                <a:latin typeface="Quicksand" panose="020B0604020202020204"/>
              </a:rPr>
              <a:t>Når lærerne opsummerer undervejs i undervisningen eller afslutter en opgave, stiller de følgende refleksionsspørgsmål til eleverne: "Er min forklaring af opgaven tydelig nok?" I stedet for: "Har I forstået opgaven?". Dermed arbejder de med at lægge ansvaret for opgaveforståelsen over på læreren frem for eleven. </a:t>
            </a:r>
          </a:p>
          <a:p>
            <a:endParaRPr lang="da-DK" sz="1100" noProof="0">
              <a:solidFill>
                <a:schemeClr val="tx1"/>
              </a:solidFill>
              <a:latin typeface="Quicksand" panose="020B0604020202020204"/>
            </a:endParaRPr>
          </a:p>
          <a:p>
            <a:r>
              <a:rPr lang="da-DK" sz="1100">
                <a:solidFill>
                  <a:schemeClr val="tx1"/>
                </a:solidFill>
                <a:latin typeface="Quicksand" panose="020B0604020202020204"/>
              </a:rPr>
              <a:t>Lærerne har øje for, at de stiller reflekterende spørgsmål til eleverne, så lærerne kan få en bedre forståelse for niveau og behov hos eleverne.</a:t>
            </a:r>
            <a:endParaRPr lang="da-DK" sz="1100" noProof="0">
              <a:solidFill>
                <a:schemeClr val="tx1"/>
              </a:solidFill>
              <a:latin typeface="Quicksand" panose="020B0604020202020204"/>
            </a:endParaRPr>
          </a:p>
        </p:txBody>
      </p:sp>
      <p:grpSp>
        <p:nvGrpSpPr>
          <p:cNvPr id="29" name="Shape 98">
            <a:extLst>
              <a:ext uri="{FF2B5EF4-FFF2-40B4-BE49-F238E27FC236}">
                <a16:creationId xmlns:a16="http://schemas.microsoft.com/office/drawing/2014/main" id="{DDDBC1F6-D7BD-6193-B25D-0F3D30218ABC}"/>
              </a:ext>
            </a:extLst>
          </p:cNvPr>
          <p:cNvGrpSpPr/>
          <p:nvPr/>
        </p:nvGrpSpPr>
        <p:grpSpPr>
          <a:xfrm rot="310810">
            <a:off x="4329430" y="2137895"/>
            <a:ext cx="434028" cy="386914"/>
            <a:chOff x="271125" y="812725"/>
            <a:chExt cx="766525" cy="221725"/>
          </a:xfrm>
          <a:solidFill>
            <a:srgbClr val="A3A196"/>
          </a:solidFill>
        </p:grpSpPr>
        <p:sp>
          <p:nvSpPr>
            <p:cNvPr id="30" name="Shape 99">
              <a:extLst>
                <a:ext uri="{FF2B5EF4-FFF2-40B4-BE49-F238E27FC236}">
                  <a16:creationId xmlns:a16="http://schemas.microsoft.com/office/drawing/2014/main" id="{4ACF1F47-E91D-F0A1-9F85-280A8D58FEF2}"/>
                </a:ext>
              </a:extLst>
            </p:cNvPr>
            <p:cNvSpPr/>
            <p:nvPr/>
          </p:nvSpPr>
          <p:spPr>
            <a:xfrm>
              <a:off x="271125" y="921200"/>
              <a:ext cx="695775" cy="70775"/>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sp>
          <p:nvSpPr>
            <p:cNvPr id="31" name="Shape 100">
              <a:extLst>
                <a:ext uri="{FF2B5EF4-FFF2-40B4-BE49-F238E27FC236}">
                  <a16:creationId xmlns:a16="http://schemas.microsoft.com/office/drawing/2014/main" id="{57A59CED-FA32-0439-510A-048300B9885D}"/>
                </a:ext>
              </a:extLst>
            </p:cNvPr>
            <p:cNvSpPr/>
            <p:nvPr/>
          </p:nvSpPr>
          <p:spPr>
            <a:xfrm>
              <a:off x="858375" y="812725"/>
              <a:ext cx="179275" cy="221725"/>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grpSp>
      <p:sp>
        <p:nvSpPr>
          <p:cNvPr id="40" name="Rectangle 39">
            <a:extLst>
              <a:ext uri="{FF2B5EF4-FFF2-40B4-BE49-F238E27FC236}">
                <a16:creationId xmlns:a16="http://schemas.microsoft.com/office/drawing/2014/main" id="{6EAAA55B-D22A-9480-1DAE-40342510547C}"/>
              </a:ext>
            </a:extLst>
          </p:cNvPr>
          <p:cNvSpPr/>
          <p:nvPr/>
        </p:nvSpPr>
        <p:spPr>
          <a:xfrm>
            <a:off x="7969669" y="2061095"/>
            <a:ext cx="2360023" cy="458236"/>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Det opnår de</a:t>
            </a:r>
          </a:p>
        </p:txBody>
      </p:sp>
      <p:sp>
        <p:nvSpPr>
          <p:cNvPr id="41" name="Rectangle 40">
            <a:extLst>
              <a:ext uri="{FF2B5EF4-FFF2-40B4-BE49-F238E27FC236}">
                <a16:creationId xmlns:a16="http://schemas.microsoft.com/office/drawing/2014/main" id="{8F03E3B9-ECC6-3071-3B43-4551019D1EEF}"/>
              </a:ext>
            </a:extLst>
          </p:cNvPr>
          <p:cNvSpPr/>
          <p:nvPr/>
        </p:nvSpPr>
        <p:spPr>
          <a:xfrm>
            <a:off x="7969669" y="2514672"/>
            <a:ext cx="2360024" cy="2915963"/>
          </a:xfrm>
          <a:prstGeom prst="rect">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1100" b="0" i="0">
                <a:solidFill>
                  <a:schemeClr val="tx1"/>
                </a:solidFill>
                <a:effectLst/>
                <a:latin typeface="Quicksand" panose="020B0604020202020204"/>
              </a:rPr>
              <a:t>Lærerne oplever, at eleverne er mere tilbøjelige til at fortælle, hvis de har brug for at få forklaret en opgave igen eller på en anden måde. </a:t>
            </a:r>
            <a:r>
              <a:rPr lang="da-DK" sz="1100">
                <a:solidFill>
                  <a:schemeClr val="tx1"/>
                </a:solidFill>
                <a:latin typeface="Quicksand" panose="020B0604020202020204"/>
              </a:rPr>
              <a:t>Det skyldes, at det er mere komfortabelt for dem at indrømme, at de har brug for en alternativ forklaring, frem for at de ikke har forstået opgaven. På den måde er eleverne blevet mere inddraget i undervisningsindholdet, fordi de er trygge i at korrigere læreren, hvis de ikke forstår en forklaring. Det forventes samtidig at smitte af på elevernes læring. </a:t>
            </a:r>
            <a:endParaRPr lang="da-DK" sz="1100">
              <a:solidFill>
                <a:schemeClr val="tx1"/>
              </a:solidFill>
              <a:latin typeface="Quicksand" panose="020B0604020202020204"/>
              <a:cs typeface="Amatic SC" panose="00000500000000000000" pitchFamily="2" charset="-79"/>
            </a:endParaRPr>
          </a:p>
        </p:txBody>
      </p:sp>
      <p:grpSp>
        <p:nvGrpSpPr>
          <p:cNvPr id="14" name="Group 13">
            <a:extLst>
              <a:ext uri="{FF2B5EF4-FFF2-40B4-BE49-F238E27FC236}">
                <a16:creationId xmlns:a16="http://schemas.microsoft.com/office/drawing/2014/main" id="{8294E23B-7B4D-531F-5B84-BF9F7D8620A7}"/>
              </a:ext>
            </a:extLst>
          </p:cNvPr>
          <p:cNvGrpSpPr/>
          <p:nvPr/>
        </p:nvGrpSpPr>
        <p:grpSpPr>
          <a:xfrm>
            <a:off x="8841216" y="1474227"/>
            <a:ext cx="616927" cy="618408"/>
            <a:chOff x="8814517" y="1435625"/>
            <a:chExt cx="616927" cy="618408"/>
          </a:xfrm>
        </p:grpSpPr>
        <p:sp>
          <p:nvSpPr>
            <p:cNvPr id="45" name="Oval 44">
              <a:extLst>
                <a:ext uri="{FF2B5EF4-FFF2-40B4-BE49-F238E27FC236}">
                  <a16:creationId xmlns:a16="http://schemas.microsoft.com/office/drawing/2014/main" id="{A9F614FD-EB19-3528-0B29-5BFFFED672D0}"/>
                </a:ext>
              </a:extLst>
            </p:cNvPr>
            <p:cNvSpPr/>
            <p:nvPr/>
          </p:nvSpPr>
          <p:spPr>
            <a:xfrm>
              <a:off x="8814517" y="1435625"/>
              <a:ext cx="616927" cy="61840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9" name="Graphic 8" descr="Bullseye outline">
              <a:extLst>
                <a:ext uri="{FF2B5EF4-FFF2-40B4-BE49-F238E27FC236}">
                  <a16:creationId xmlns:a16="http://schemas.microsoft.com/office/drawing/2014/main" id="{D92363B5-40A2-CB90-7030-7951FDA7A09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85298" y="1514124"/>
              <a:ext cx="475364" cy="475364"/>
            </a:xfrm>
            <a:prstGeom prst="rect">
              <a:avLst/>
            </a:prstGeom>
          </p:spPr>
        </p:pic>
      </p:grpSp>
      <p:grpSp>
        <p:nvGrpSpPr>
          <p:cNvPr id="12" name="Group 11">
            <a:extLst>
              <a:ext uri="{FF2B5EF4-FFF2-40B4-BE49-F238E27FC236}">
                <a16:creationId xmlns:a16="http://schemas.microsoft.com/office/drawing/2014/main" id="{7F9532FC-17BE-0BD6-5933-6096171E4DCD}"/>
              </a:ext>
            </a:extLst>
          </p:cNvPr>
          <p:cNvGrpSpPr/>
          <p:nvPr/>
        </p:nvGrpSpPr>
        <p:grpSpPr>
          <a:xfrm>
            <a:off x="2743606" y="1467451"/>
            <a:ext cx="616927" cy="625184"/>
            <a:chOff x="2792332" y="1558205"/>
            <a:chExt cx="616927" cy="625184"/>
          </a:xfrm>
        </p:grpSpPr>
        <p:sp>
          <p:nvSpPr>
            <p:cNvPr id="4" name="Oval 3">
              <a:extLst>
                <a:ext uri="{FF2B5EF4-FFF2-40B4-BE49-F238E27FC236}">
                  <a16:creationId xmlns:a16="http://schemas.microsoft.com/office/drawing/2014/main" id="{81E673D7-AC76-0F6E-1A31-B9B23AC5F011}"/>
                </a:ext>
              </a:extLst>
            </p:cNvPr>
            <p:cNvSpPr/>
            <p:nvPr/>
          </p:nvSpPr>
          <p:spPr>
            <a:xfrm>
              <a:off x="2792332" y="1564981"/>
              <a:ext cx="616927" cy="6184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7" name="Graphic 6" descr="Dim (Smaller Sun) outline">
              <a:extLst>
                <a:ext uri="{FF2B5EF4-FFF2-40B4-BE49-F238E27FC236}">
                  <a16:creationId xmlns:a16="http://schemas.microsoft.com/office/drawing/2014/main" id="{BA67574A-DEA3-77FB-4053-E4BFAE9982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92332" y="1558205"/>
              <a:ext cx="616927" cy="616927"/>
            </a:xfrm>
            <a:prstGeom prst="rect">
              <a:avLst/>
            </a:prstGeom>
          </p:spPr>
        </p:pic>
      </p:grpSp>
      <p:grpSp>
        <p:nvGrpSpPr>
          <p:cNvPr id="13" name="Group 12">
            <a:extLst>
              <a:ext uri="{FF2B5EF4-FFF2-40B4-BE49-F238E27FC236}">
                <a16:creationId xmlns:a16="http://schemas.microsoft.com/office/drawing/2014/main" id="{88AE4C1C-B6B8-233F-6E56-EEA5784D8D48}"/>
              </a:ext>
            </a:extLst>
          </p:cNvPr>
          <p:cNvGrpSpPr/>
          <p:nvPr/>
        </p:nvGrpSpPr>
        <p:grpSpPr>
          <a:xfrm>
            <a:off x="5790178" y="1474227"/>
            <a:ext cx="616927" cy="618408"/>
            <a:chOff x="5768721" y="1600573"/>
            <a:chExt cx="616927" cy="618408"/>
          </a:xfrm>
        </p:grpSpPr>
        <p:sp>
          <p:nvSpPr>
            <p:cNvPr id="2" name="Oval 1">
              <a:extLst>
                <a:ext uri="{FF2B5EF4-FFF2-40B4-BE49-F238E27FC236}">
                  <a16:creationId xmlns:a16="http://schemas.microsoft.com/office/drawing/2014/main" id="{180C78C0-84B1-23C2-4B90-B8A36C510804}"/>
                </a:ext>
              </a:extLst>
            </p:cNvPr>
            <p:cNvSpPr/>
            <p:nvPr/>
          </p:nvSpPr>
          <p:spPr>
            <a:xfrm>
              <a:off x="5768721" y="1600573"/>
              <a:ext cx="616927" cy="61840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8" name="Graphic 7" descr="Blueprint outline">
              <a:extLst>
                <a:ext uri="{FF2B5EF4-FFF2-40B4-BE49-F238E27FC236}">
                  <a16:creationId xmlns:a16="http://schemas.microsoft.com/office/drawing/2014/main" id="{364B6ADF-48DC-F18A-2D43-55FE0DD94F0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43267" y="1675860"/>
              <a:ext cx="467834" cy="467834"/>
            </a:xfrm>
            <a:prstGeom prst="rect">
              <a:avLst/>
            </a:prstGeom>
          </p:spPr>
        </p:pic>
      </p:grpSp>
      <p:sp>
        <p:nvSpPr>
          <p:cNvPr id="3" name="TextBox 2">
            <a:extLst>
              <a:ext uri="{FF2B5EF4-FFF2-40B4-BE49-F238E27FC236}">
                <a16:creationId xmlns:a16="http://schemas.microsoft.com/office/drawing/2014/main" id="{F6363B7F-513A-4012-744B-B3A1610C2FCB}"/>
              </a:ext>
            </a:extLst>
          </p:cNvPr>
          <p:cNvSpPr txBox="1"/>
          <p:nvPr/>
        </p:nvSpPr>
        <p:spPr>
          <a:xfrm>
            <a:off x="0" y="435434"/>
            <a:ext cx="12191999" cy="707887"/>
          </a:xfrm>
          <a:custGeom>
            <a:avLst/>
            <a:gdLst>
              <a:gd name="connsiteX0" fmla="*/ 0 w 12191999"/>
              <a:gd name="connsiteY0" fmla="*/ 0 h 707887"/>
              <a:gd name="connsiteX1" fmla="*/ 555413 w 12191999"/>
              <a:gd name="connsiteY1" fmla="*/ 0 h 707887"/>
              <a:gd name="connsiteX2" fmla="*/ 866987 w 12191999"/>
              <a:gd name="connsiteY2" fmla="*/ 0 h 707887"/>
              <a:gd name="connsiteX3" fmla="*/ 1788160 w 12191999"/>
              <a:gd name="connsiteY3" fmla="*/ 0 h 707887"/>
              <a:gd name="connsiteX4" fmla="*/ 2343573 w 12191999"/>
              <a:gd name="connsiteY4" fmla="*/ 0 h 707887"/>
              <a:gd name="connsiteX5" fmla="*/ 2898986 w 12191999"/>
              <a:gd name="connsiteY5" fmla="*/ 0 h 707887"/>
              <a:gd name="connsiteX6" fmla="*/ 3820160 w 12191999"/>
              <a:gd name="connsiteY6" fmla="*/ 0 h 707887"/>
              <a:gd name="connsiteX7" fmla="*/ 4253653 w 12191999"/>
              <a:gd name="connsiteY7" fmla="*/ 0 h 707887"/>
              <a:gd name="connsiteX8" fmla="*/ 5174826 w 12191999"/>
              <a:gd name="connsiteY8" fmla="*/ 0 h 707887"/>
              <a:gd name="connsiteX9" fmla="*/ 6095999 w 12191999"/>
              <a:gd name="connsiteY9" fmla="*/ 0 h 707887"/>
              <a:gd name="connsiteX10" fmla="*/ 6773333 w 12191999"/>
              <a:gd name="connsiteY10" fmla="*/ 0 h 707887"/>
              <a:gd name="connsiteX11" fmla="*/ 7694506 w 12191999"/>
              <a:gd name="connsiteY11" fmla="*/ 0 h 707887"/>
              <a:gd name="connsiteX12" fmla="*/ 8249919 w 12191999"/>
              <a:gd name="connsiteY12" fmla="*/ 0 h 707887"/>
              <a:gd name="connsiteX13" fmla="*/ 8805333 w 12191999"/>
              <a:gd name="connsiteY13" fmla="*/ 0 h 707887"/>
              <a:gd name="connsiteX14" fmla="*/ 9604586 w 12191999"/>
              <a:gd name="connsiteY14" fmla="*/ 0 h 707887"/>
              <a:gd name="connsiteX15" fmla="*/ 10159999 w 12191999"/>
              <a:gd name="connsiteY15" fmla="*/ 0 h 707887"/>
              <a:gd name="connsiteX16" fmla="*/ 11081172 w 12191999"/>
              <a:gd name="connsiteY16" fmla="*/ 0 h 707887"/>
              <a:gd name="connsiteX17" fmla="*/ 12191999 w 12191999"/>
              <a:gd name="connsiteY17" fmla="*/ 0 h 707887"/>
              <a:gd name="connsiteX18" fmla="*/ 12191999 w 12191999"/>
              <a:gd name="connsiteY18" fmla="*/ 353944 h 707887"/>
              <a:gd name="connsiteX19" fmla="*/ 12191999 w 12191999"/>
              <a:gd name="connsiteY19" fmla="*/ 707887 h 707887"/>
              <a:gd name="connsiteX20" fmla="*/ 11880426 w 12191999"/>
              <a:gd name="connsiteY20" fmla="*/ 707887 h 707887"/>
              <a:gd name="connsiteX21" fmla="*/ 10959252 w 12191999"/>
              <a:gd name="connsiteY21" fmla="*/ 707887 h 707887"/>
              <a:gd name="connsiteX22" fmla="*/ 10281919 w 12191999"/>
              <a:gd name="connsiteY22" fmla="*/ 707887 h 707887"/>
              <a:gd name="connsiteX23" fmla="*/ 9848426 w 12191999"/>
              <a:gd name="connsiteY23" fmla="*/ 707887 h 707887"/>
              <a:gd name="connsiteX24" fmla="*/ 9171093 w 12191999"/>
              <a:gd name="connsiteY24" fmla="*/ 707887 h 707887"/>
              <a:gd name="connsiteX25" fmla="*/ 8859519 w 12191999"/>
              <a:gd name="connsiteY25" fmla="*/ 707887 h 707887"/>
              <a:gd name="connsiteX26" fmla="*/ 8547946 w 12191999"/>
              <a:gd name="connsiteY26" fmla="*/ 707887 h 707887"/>
              <a:gd name="connsiteX27" fmla="*/ 7870613 w 12191999"/>
              <a:gd name="connsiteY27" fmla="*/ 707887 h 707887"/>
              <a:gd name="connsiteX28" fmla="*/ 7437119 w 12191999"/>
              <a:gd name="connsiteY28" fmla="*/ 707887 h 707887"/>
              <a:gd name="connsiteX29" fmla="*/ 6637866 w 12191999"/>
              <a:gd name="connsiteY29" fmla="*/ 707887 h 707887"/>
              <a:gd name="connsiteX30" fmla="*/ 6204373 w 12191999"/>
              <a:gd name="connsiteY30" fmla="*/ 707887 h 707887"/>
              <a:gd name="connsiteX31" fmla="*/ 5405120 w 12191999"/>
              <a:gd name="connsiteY31" fmla="*/ 707887 h 707887"/>
              <a:gd name="connsiteX32" fmla="*/ 5093546 w 12191999"/>
              <a:gd name="connsiteY32" fmla="*/ 707887 h 707887"/>
              <a:gd name="connsiteX33" fmla="*/ 4294293 w 12191999"/>
              <a:gd name="connsiteY33" fmla="*/ 707887 h 707887"/>
              <a:gd name="connsiteX34" fmla="*/ 3860800 w 12191999"/>
              <a:gd name="connsiteY34" fmla="*/ 707887 h 707887"/>
              <a:gd name="connsiteX35" fmla="*/ 3549226 w 12191999"/>
              <a:gd name="connsiteY35" fmla="*/ 707887 h 707887"/>
              <a:gd name="connsiteX36" fmla="*/ 3115733 w 12191999"/>
              <a:gd name="connsiteY36" fmla="*/ 707887 h 707887"/>
              <a:gd name="connsiteX37" fmla="*/ 2316480 w 12191999"/>
              <a:gd name="connsiteY37" fmla="*/ 707887 h 707887"/>
              <a:gd name="connsiteX38" fmla="*/ 1882987 w 12191999"/>
              <a:gd name="connsiteY38" fmla="*/ 707887 h 707887"/>
              <a:gd name="connsiteX39" fmla="*/ 1571413 w 12191999"/>
              <a:gd name="connsiteY39" fmla="*/ 707887 h 707887"/>
              <a:gd name="connsiteX40" fmla="*/ 1137920 w 12191999"/>
              <a:gd name="connsiteY40" fmla="*/ 707887 h 707887"/>
              <a:gd name="connsiteX41" fmla="*/ 582507 w 12191999"/>
              <a:gd name="connsiteY41" fmla="*/ 707887 h 707887"/>
              <a:gd name="connsiteX42" fmla="*/ 0 w 12191999"/>
              <a:gd name="connsiteY42" fmla="*/ 707887 h 707887"/>
              <a:gd name="connsiteX43" fmla="*/ 0 w 12191999"/>
              <a:gd name="connsiteY43" fmla="*/ 368101 h 707887"/>
              <a:gd name="connsiteX44" fmla="*/ 0 w 12191999"/>
              <a:gd name="connsiteY44" fmla="*/ 0 h 707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2191999" h="707887" extrusionOk="0">
                <a:moveTo>
                  <a:pt x="0" y="0"/>
                </a:moveTo>
                <a:cubicBezTo>
                  <a:pt x="172476" y="-1237"/>
                  <a:pt x="362690" y="-25324"/>
                  <a:pt x="555413" y="0"/>
                </a:cubicBezTo>
                <a:cubicBezTo>
                  <a:pt x="748136" y="25324"/>
                  <a:pt x="771955" y="-1228"/>
                  <a:pt x="866987" y="0"/>
                </a:cubicBezTo>
                <a:cubicBezTo>
                  <a:pt x="962019" y="1228"/>
                  <a:pt x="1600613" y="23388"/>
                  <a:pt x="1788160" y="0"/>
                </a:cubicBezTo>
                <a:cubicBezTo>
                  <a:pt x="1975707" y="-23388"/>
                  <a:pt x="2108729" y="-1887"/>
                  <a:pt x="2343573" y="0"/>
                </a:cubicBezTo>
                <a:cubicBezTo>
                  <a:pt x="2578417" y="1887"/>
                  <a:pt x="2754787" y="-19448"/>
                  <a:pt x="2898986" y="0"/>
                </a:cubicBezTo>
                <a:cubicBezTo>
                  <a:pt x="3043185" y="19448"/>
                  <a:pt x="3488325" y="18160"/>
                  <a:pt x="3820160" y="0"/>
                </a:cubicBezTo>
                <a:cubicBezTo>
                  <a:pt x="4151995" y="-18160"/>
                  <a:pt x="4081710" y="-3640"/>
                  <a:pt x="4253653" y="0"/>
                </a:cubicBezTo>
                <a:cubicBezTo>
                  <a:pt x="4425596" y="3640"/>
                  <a:pt x="4814466" y="16783"/>
                  <a:pt x="5174826" y="0"/>
                </a:cubicBezTo>
                <a:cubicBezTo>
                  <a:pt x="5535186" y="-16783"/>
                  <a:pt x="5741153" y="19844"/>
                  <a:pt x="6095999" y="0"/>
                </a:cubicBezTo>
                <a:cubicBezTo>
                  <a:pt x="6450845" y="-19844"/>
                  <a:pt x="6616164" y="33199"/>
                  <a:pt x="6773333" y="0"/>
                </a:cubicBezTo>
                <a:cubicBezTo>
                  <a:pt x="6930502" y="-33199"/>
                  <a:pt x="7454223" y="29512"/>
                  <a:pt x="7694506" y="0"/>
                </a:cubicBezTo>
                <a:cubicBezTo>
                  <a:pt x="7934789" y="-29512"/>
                  <a:pt x="8048650" y="20071"/>
                  <a:pt x="8249919" y="0"/>
                </a:cubicBezTo>
                <a:cubicBezTo>
                  <a:pt x="8451188" y="-20071"/>
                  <a:pt x="8567842" y="22704"/>
                  <a:pt x="8805333" y="0"/>
                </a:cubicBezTo>
                <a:cubicBezTo>
                  <a:pt x="9042824" y="-22704"/>
                  <a:pt x="9236780" y="-8013"/>
                  <a:pt x="9604586" y="0"/>
                </a:cubicBezTo>
                <a:cubicBezTo>
                  <a:pt x="9972392" y="8013"/>
                  <a:pt x="9998346" y="7806"/>
                  <a:pt x="10159999" y="0"/>
                </a:cubicBezTo>
                <a:cubicBezTo>
                  <a:pt x="10321652" y="-7806"/>
                  <a:pt x="10669738" y="-24619"/>
                  <a:pt x="11081172" y="0"/>
                </a:cubicBezTo>
                <a:cubicBezTo>
                  <a:pt x="11492606" y="24619"/>
                  <a:pt x="11649369" y="3326"/>
                  <a:pt x="12191999" y="0"/>
                </a:cubicBezTo>
                <a:cubicBezTo>
                  <a:pt x="12191376" y="129663"/>
                  <a:pt x="12174518" y="235027"/>
                  <a:pt x="12191999" y="353944"/>
                </a:cubicBezTo>
                <a:cubicBezTo>
                  <a:pt x="12209480" y="472861"/>
                  <a:pt x="12183092" y="569810"/>
                  <a:pt x="12191999" y="707887"/>
                </a:cubicBezTo>
                <a:cubicBezTo>
                  <a:pt x="12120710" y="717920"/>
                  <a:pt x="12028263" y="695965"/>
                  <a:pt x="11880426" y="707887"/>
                </a:cubicBezTo>
                <a:cubicBezTo>
                  <a:pt x="11732589" y="719809"/>
                  <a:pt x="11293640" y="722325"/>
                  <a:pt x="10959252" y="707887"/>
                </a:cubicBezTo>
                <a:cubicBezTo>
                  <a:pt x="10624864" y="693449"/>
                  <a:pt x="10551557" y="691283"/>
                  <a:pt x="10281919" y="707887"/>
                </a:cubicBezTo>
                <a:cubicBezTo>
                  <a:pt x="10012281" y="724491"/>
                  <a:pt x="9991655" y="717793"/>
                  <a:pt x="9848426" y="707887"/>
                </a:cubicBezTo>
                <a:cubicBezTo>
                  <a:pt x="9705197" y="697981"/>
                  <a:pt x="9335140" y="704382"/>
                  <a:pt x="9171093" y="707887"/>
                </a:cubicBezTo>
                <a:cubicBezTo>
                  <a:pt x="9007046" y="711392"/>
                  <a:pt x="9004654" y="718941"/>
                  <a:pt x="8859519" y="707887"/>
                </a:cubicBezTo>
                <a:cubicBezTo>
                  <a:pt x="8714384" y="696833"/>
                  <a:pt x="8665263" y="718271"/>
                  <a:pt x="8547946" y="707887"/>
                </a:cubicBezTo>
                <a:cubicBezTo>
                  <a:pt x="8430629" y="697503"/>
                  <a:pt x="8016635" y="734355"/>
                  <a:pt x="7870613" y="707887"/>
                </a:cubicBezTo>
                <a:cubicBezTo>
                  <a:pt x="7724591" y="681419"/>
                  <a:pt x="7570930" y="690353"/>
                  <a:pt x="7437119" y="707887"/>
                </a:cubicBezTo>
                <a:cubicBezTo>
                  <a:pt x="7303308" y="725421"/>
                  <a:pt x="6861984" y="699506"/>
                  <a:pt x="6637866" y="707887"/>
                </a:cubicBezTo>
                <a:cubicBezTo>
                  <a:pt x="6413748" y="716268"/>
                  <a:pt x="6317037" y="716403"/>
                  <a:pt x="6204373" y="707887"/>
                </a:cubicBezTo>
                <a:cubicBezTo>
                  <a:pt x="6091709" y="699371"/>
                  <a:pt x="5703208" y="737734"/>
                  <a:pt x="5405120" y="707887"/>
                </a:cubicBezTo>
                <a:cubicBezTo>
                  <a:pt x="5107032" y="678040"/>
                  <a:pt x="5200622" y="707196"/>
                  <a:pt x="5093546" y="707887"/>
                </a:cubicBezTo>
                <a:cubicBezTo>
                  <a:pt x="4986470" y="708578"/>
                  <a:pt x="4676827" y="705861"/>
                  <a:pt x="4294293" y="707887"/>
                </a:cubicBezTo>
                <a:cubicBezTo>
                  <a:pt x="3911759" y="709913"/>
                  <a:pt x="4034300" y="714428"/>
                  <a:pt x="3860800" y="707887"/>
                </a:cubicBezTo>
                <a:cubicBezTo>
                  <a:pt x="3687300" y="701346"/>
                  <a:pt x="3668115" y="697975"/>
                  <a:pt x="3549226" y="707887"/>
                </a:cubicBezTo>
                <a:cubicBezTo>
                  <a:pt x="3430337" y="717799"/>
                  <a:pt x="3267656" y="702909"/>
                  <a:pt x="3115733" y="707887"/>
                </a:cubicBezTo>
                <a:cubicBezTo>
                  <a:pt x="2963810" y="712865"/>
                  <a:pt x="2501639" y="715408"/>
                  <a:pt x="2316480" y="707887"/>
                </a:cubicBezTo>
                <a:cubicBezTo>
                  <a:pt x="2131321" y="700366"/>
                  <a:pt x="2071054" y="701096"/>
                  <a:pt x="1882987" y="707887"/>
                </a:cubicBezTo>
                <a:cubicBezTo>
                  <a:pt x="1694920" y="714678"/>
                  <a:pt x="1692679" y="712464"/>
                  <a:pt x="1571413" y="707887"/>
                </a:cubicBezTo>
                <a:cubicBezTo>
                  <a:pt x="1450147" y="703310"/>
                  <a:pt x="1287965" y="696206"/>
                  <a:pt x="1137920" y="707887"/>
                </a:cubicBezTo>
                <a:cubicBezTo>
                  <a:pt x="987875" y="719568"/>
                  <a:pt x="809862" y="715207"/>
                  <a:pt x="582507" y="707887"/>
                </a:cubicBezTo>
                <a:cubicBezTo>
                  <a:pt x="355152" y="700567"/>
                  <a:pt x="209818" y="719365"/>
                  <a:pt x="0" y="707887"/>
                </a:cubicBezTo>
                <a:cubicBezTo>
                  <a:pt x="-5590" y="605455"/>
                  <a:pt x="10208" y="502467"/>
                  <a:pt x="0" y="368101"/>
                </a:cubicBezTo>
                <a:cubicBezTo>
                  <a:pt x="-10208" y="233735"/>
                  <a:pt x="-6819" y="156416"/>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noAutofit/>
          </a:bodyPr>
          <a:lstStyle/>
          <a:p>
            <a:pPr algn="ctr"/>
            <a:r>
              <a:rPr lang="da-DK" sz="4000" b="1">
                <a:latin typeface="Amatic SC" panose="00000500000000000000" pitchFamily="2" charset="-79"/>
                <a:cs typeface="Amatic SC" panose="00000500000000000000" pitchFamily="2" charset="-79"/>
              </a:rPr>
              <a:t>Prøvehandling: </a:t>
            </a:r>
            <a:r>
              <a:rPr lang="da-DK" sz="4000" b="1">
                <a:solidFill>
                  <a:schemeClr val="tx1"/>
                </a:solidFill>
                <a:latin typeface="Amatic SC" panose="00000500000000000000" pitchFamily="2" charset="-79"/>
                <a:cs typeface="Amatic SC" panose="00000500000000000000" pitchFamily="2" charset="-79"/>
              </a:rPr>
              <a:t>Inddragelse af eleverne gennem fællesskabende didaktikker</a:t>
            </a:r>
            <a:endParaRPr lang="da-DK" sz="4000" b="1">
              <a:latin typeface="Amatic SC" panose="00000500000000000000" pitchFamily="2" charset="-79"/>
              <a:cs typeface="Amatic SC" panose="00000500000000000000" pitchFamily="2" charset="-79"/>
            </a:endParaRPr>
          </a:p>
        </p:txBody>
      </p:sp>
      <p:grpSp>
        <p:nvGrpSpPr>
          <p:cNvPr id="15" name="Shape 98">
            <a:extLst>
              <a:ext uri="{FF2B5EF4-FFF2-40B4-BE49-F238E27FC236}">
                <a16:creationId xmlns:a16="http://schemas.microsoft.com/office/drawing/2014/main" id="{278C5B1B-28D1-054C-9A18-48249099E253}"/>
              </a:ext>
            </a:extLst>
          </p:cNvPr>
          <p:cNvGrpSpPr/>
          <p:nvPr/>
        </p:nvGrpSpPr>
        <p:grpSpPr>
          <a:xfrm rot="310810">
            <a:off x="7387949" y="2118019"/>
            <a:ext cx="434028" cy="386914"/>
            <a:chOff x="271125" y="812725"/>
            <a:chExt cx="766525" cy="221725"/>
          </a:xfrm>
          <a:solidFill>
            <a:srgbClr val="A3A196"/>
          </a:solidFill>
        </p:grpSpPr>
        <p:sp>
          <p:nvSpPr>
            <p:cNvPr id="16" name="Shape 99">
              <a:extLst>
                <a:ext uri="{FF2B5EF4-FFF2-40B4-BE49-F238E27FC236}">
                  <a16:creationId xmlns:a16="http://schemas.microsoft.com/office/drawing/2014/main" id="{D1E1BBB6-A7CA-559A-1AE0-62F5344BA3E8}"/>
                </a:ext>
              </a:extLst>
            </p:cNvPr>
            <p:cNvSpPr/>
            <p:nvPr/>
          </p:nvSpPr>
          <p:spPr>
            <a:xfrm>
              <a:off x="271125" y="921200"/>
              <a:ext cx="695775" cy="70775"/>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sp>
          <p:nvSpPr>
            <p:cNvPr id="17" name="Shape 100">
              <a:extLst>
                <a:ext uri="{FF2B5EF4-FFF2-40B4-BE49-F238E27FC236}">
                  <a16:creationId xmlns:a16="http://schemas.microsoft.com/office/drawing/2014/main" id="{535A800C-CA71-E46E-1674-3CF74664DD0F}"/>
                </a:ext>
              </a:extLst>
            </p:cNvPr>
            <p:cNvSpPr/>
            <p:nvPr/>
          </p:nvSpPr>
          <p:spPr>
            <a:xfrm>
              <a:off x="858375" y="812725"/>
              <a:ext cx="179275" cy="221725"/>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grpSp>
    </p:spTree>
    <p:extLst>
      <p:ext uri="{BB962C8B-B14F-4D97-AF65-F5344CB8AC3E}">
        <p14:creationId xmlns:p14="http://schemas.microsoft.com/office/powerpoint/2010/main" val="7187447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E2950E5-053C-0508-48C6-74A20FE5A853}"/>
              </a:ext>
            </a:extLst>
          </p:cNvPr>
          <p:cNvSpPr/>
          <p:nvPr/>
        </p:nvSpPr>
        <p:spPr>
          <a:xfrm>
            <a:off x="1866599" y="2060743"/>
            <a:ext cx="2360024" cy="458236"/>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Baggrund og formål</a:t>
            </a:r>
          </a:p>
        </p:txBody>
      </p:sp>
      <p:sp>
        <p:nvSpPr>
          <p:cNvPr id="51" name="Rectangle 50">
            <a:extLst>
              <a:ext uri="{FF2B5EF4-FFF2-40B4-BE49-F238E27FC236}">
                <a16:creationId xmlns:a16="http://schemas.microsoft.com/office/drawing/2014/main" id="{EC71091A-0691-0452-B771-84A908C81F81}"/>
              </a:ext>
            </a:extLst>
          </p:cNvPr>
          <p:cNvSpPr/>
          <p:nvPr/>
        </p:nvSpPr>
        <p:spPr>
          <a:xfrm>
            <a:off x="1866599" y="2514320"/>
            <a:ext cx="2360024" cy="2915963"/>
          </a:xfrm>
          <a:prstGeom prst="rect">
            <a:avLst/>
          </a:prstGeom>
          <a:solidFill>
            <a:schemeClr val="accent6">
              <a:lumMod val="20000"/>
              <a:lumOff val="8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1100">
                <a:solidFill>
                  <a:schemeClr val="tx1"/>
                </a:solidFill>
                <a:latin typeface="Quicksand" panose="020B0604020202020204"/>
              </a:rPr>
              <a:t>E</a:t>
            </a:r>
            <a:r>
              <a:rPr lang="da-DK" sz="1100" b="0" i="0">
                <a:solidFill>
                  <a:schemeClr val="tx1"/>
                </a:solidFill>
                <a:effectLst/>
                <a:latin typeface="Quicksand" panose="020B0604020202020204"/>
              </a:rPr>
              <a:t>t klasseteam stod over for en udfordring med generel uro i deres klasse. Denne uro skabte et udfordrende læringsmiljø, og lærerne identificerede en tendens til, at særlige konstellationer og dynamikker skabte uro og usikkerhed for visse elever, hvilket medførte, at de var særligt urolige under timerne.</a:t>
            </a:r>
          </a:p>
          <a:p>
            <a:endParaRPr lang="da-DK" sz="1100" noProof="0">
              <a:solidFill>
                <a:schemeClr val="tx1"/>
              </a:solidFill>
              <a:latin typeface="Quicksand" panose="020B0604020202020204"/>
              <a:cs typeface="Amatic SC" panose="00000500000000000000" pitchFamily="2" charset="-79"/>
            </a:endParaRPr>
          </a:p>
          <a:p>
            <a:r>
              <a:rPr lang="da-DK" sz="1100">
                <a:solidFill>
                  <a:schemeClr val="tx1"/>
                </a:solidFill>
                <a:latin typeface="Quicksand" panose="020B0604020202020204"/>
                <a:cs typeface="Amatic SC" panose="00000500000000000000" pitchFamily="2" charset="-79"/>
              </a:rPr>
              <a:t>Formålet med prøvehandlingen var derfor at teste lærernes antagelser og ‘</a:t>
            </a:r>
            <a:r>
              <a:rPr lang="da-DK" sz="1100" err="1">
                <a:solidFill>
                  <a:schemeClr val="tx1"/>
                </a:solidFill>
                <a:latin typeface="Quicksand" panose="020B0604020202020204"/>
                <a:cs typeface="Amatic SC" panose="00000500000000000000" pitchFamily="2" charset="-79"/>
              </a:rPr>
              <a:t>synsninger</a:t>
            </a:r>
            <a:r>
              <a:rPr lang="da-DK" sz="1100">
                <a:solidFill>
                  <a:schemeClr val="tx1"/>
                </a:solidFill>
                <a:latin typeface="Quicksand" panose="020B0604020202020204"/>
                <a:cs typeface="Amatic SC" panose="00000500000000000000" pitchFamily="2" charset="-79"/>
              </a:rPr>
              <a:t>’ om klassemiljøet og eleverne gennem dataindsamling.</a:t>
            </a:r>
            <a:endParaRPr lang="da-DK" sz="1100" noProof="0">
              <a:solidFill>
                <a:schemeClr val="tx1"/>
              </a:solidFill>
              <a:latin typeface="Quicksand" panose="020B0604020202020204"/>
              <a:cs typeface="Amatic SC" panose="00000500000000000000" pitchFamily="2" charset="-79"/>
            </a:endParaRPr>
          </a:p>
        </p:txBody>
      </p:sp>
      <p:sp>
        <p:nvSpPr>
          <p:cNvPr id="38" name="Rectangle 37">
            <a:extLst>
              <a:ext uri="{FF2B5EF4-FFF2-40B4-BE49-F238E27FC236}">
                <a16:creationId xmlns:a16="http://schemas.microsoft.com/office/drawing/2014/main" id="{E9C19A1A-2136-78C6-BF56-7880F0423AE6}"/>
              </a:ext>
            </a:extLst>
          </p:cNvPr>
          <p:cNvSpPr/>
          <p:nvPr/>
        </p:nvSpPr>
        <p:spPr>
          <a:xfrm>
            <a:off x="7969669" y="2064599"/>
            <a:ext cx="2360023" cy="458236"/>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Det opnår de</a:t>
            </a:r>
          </a:p>
        </p:txBody>
      </p:sp>
      <p:sp>
        <p:nvSpPr>
          <p:cNvPr id="53" name="Rectangle 52">
            <a:extLst>
              <a:ext uri="{FF2B5EF4-FFF2-40B4-BE49-F238E27FC236}">
                <a16:creationId xmlns:a16="http://schemas.microsoft.com/office/drawing/2014/main" id="{FF1E8D8A-3BF3-7E5A-56E1-C7F70BB8D484}"/>
              </a:ext>
            </a:extLst>
          </p:cNvPr>
          <p:cNvSpPr/>
          <p:nvPr/>
        </p:nvSpPr>
        <p:spPr>
          <a:xfrm>
            <a:off x="7969669" y="2518176"/>
            <a:ext cx="2360024" cy="2915963"/>
          </a:xfrm>
          <a:prstGeom prst="rect">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1100">
                <a:solidFill>
                  <a:schemeClr val="tx1"/>
                </a:solidFill>
                <a:latin typeface="Quicksand" panose="020B0604020202020204"/>
              </a:rPr>
              <a:t>Dataindsamlingen bidrog til at give det pædagogiske personale en </a:t>
            </a:r>
            <a:r>
              <a:rPr lang="da-DK" sz="1100" b="0" i="0">
                <a:solidFill>
                  <a:schemeClr val="tx1"/>
                </a:solidFill>
                <a:effectLst/>
                <a:latin typeface="Quicksand" panose="020B0604020202020204"/>
              </a:rPr>
              <a:t>tydeligere forståelse </a:t>
            </a:r>
            <a:r>
              <a:rPr lang="da-DK" sz="1100">
                <a:solidFill>
                  <a:schemeClr val="tx1"/>
                </a:solidFill>
                <a:latin typeface="Quicksand" panose="020B0604020202020204"/>
              </a:rPr>
              <a:t>for</a:t>
            </a:r>
            <a:r>
              <a:rPr lang="da-DK" sz="1100" b="0" i="0">
                <a:solidFill>
                  <a:schemeClr val="tx1"/>
                </a:solidFill>
                <a:effectLst/>
                <a:latin typeface="Quicksand" panose="020B0604020202020204"/>
              </a:rPr>
              <a:t> hver enkelt elevs adfærd og behov, fordi det blev tydeligt, hvordan deres adfærd varierer. Samtidig blev personalet klogere på, hvilke rammer der særligt udfordrer undervisningssituationerne, og ligeledes hvilke rammer der skaber de bedste muligheder for elevernes koncentration</a:t>
            </a:r>
            <a:r>
              <a:rPr lang="da-DK" sz="1100">
                <a:solidFill>
                  <a:schemeClr val="tx1"/>
                </a:solidFill>
                <a:latin typeface="Quicksand" panose="020B0604020202020204"/>
              </a:rPr>
              <a:t>.</a:t>
            </a:r>
            <a:br>
              <a:rPr lang="da-DK" sz="1100">
                <a:solidFill>
                  <a:schemeClr val="tx1"/>
                </a:solidFill>
                <a:latin typeface="Quicksand" panose="020B0604020202020204"/>
              </a:rPr>
            </a:br>
            <a:endParaRPr lang="da-DK" sz="1100">
              <a:solidFill>
                <a:schemeClr val="tx1"/>
              </a:solidFill>
              <a:latin typeface="Quicksand" panose="020B0604020202020204"/>
            </a:endParaRPr>
          </a:p>
          <a:p>
            <a:r>
              <a:rPr lang="da-DK" sz="1100" b="0" i="0">
                <a:solidFill>
                  <a:schemeClr val="tx1"/>
                </a:solidFill>
                <a:effectLst/>
                <a:latin typeface="Quicksand" panose="020B0604020202020204"/>
              </a:rPr>
              <a:t>Den styrkede forståelse bidrog også til, at de i højere grad kunne tilpasse støtte til eleverne med henblik på at skabe det bedst mulige klassefælles-skab.</a:t>
            </a:r>
            <a:endParaRPr lang="da-DK" sz="1100">
              <a:solidFill>
                <a:schemeClr val="tx1"/>
              </a:solidFill>
              <a:latin typeface="Quicksand" panose="020B0604020202020204"/>
              <a:cs typeface="Amatic SC" panose="00000500000000000000" pitchFamily="2" charset="-79"/>
            </a:endParaRPr>
          </a:p>
        </p:txBody>
      </p:sp>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42</a:t>
            </a:fld>
            <a:endParaRPr lang="da-DK"/>
          </a:p>
        </p:txBody>
      </p:sp>
      <p:sp>
        <p:nvSpPr>
          <p:cNvPr id="10" name="TextBox 9">
            <a:extLst>
              <a:ext uri="{FF2B5EF4-FFF2-40B4-BE49-F238E27FC236}">
                <a16:creationId xmlns:a16="http://schemas.microsoft.com/office/drawing/2014/main" id="{1C0C7B62-B30C-A82C-05D3-7B8FDC9FA876}"/>
              </a:ext>
            </a:extLst>
          </p:cNvPr>
          <p:cNvSpPr txBox="1"/>
          <p:nvPr/>
        </p:nvSpPr>
        <p:spPr>
          <a:xfrm>
            <a:off x="0" y="428474"/>
            <a:ext cx="12192000" cy="615553"/>
          </a:xfrm>
          <a:custGeom>
            <a:avLst/>
            <a:gdLst>
              <a:gd name="connsiteX0" fmla="*/ 0 w 12192000"/>
              <a:gd name="connsiteY0" fmla="*/ 0 h 615553"/>
              <a:gd name="connsiteX1" fmla="*/ 555413 w 12192000"/>
              <a:gd name="connsiteY1" fmla="*/ 0 h 615553"/>
              <a:gd name="connsiteX2" fmla="*/ 866987 w 12192000"/>
              <a:gd name="connsiteY2" fmla="*/ 0 h 615553"/>
              <a:gd name="connsiteX3" fmla="*/ 1788160 w 12192000"/>
              <a:gd name="connsiteY3" fmla="*/ 0 h 615553"/>
              <a:gd name="connsiteX4" fmla="*/ 2343573 w 12192000"/>
              <a:gd name="connsiteY4" fmla="*/ 0 h 615553"/>
              <a:gd name="connsiteX5" fmla="*/ 2898987 w 12192000"/>
              <a:gd name="connsiteY5" fmla="*/ 0 h 615553"/>
              <a:gd name="connsiteX6" fmla="*/ 3820160 w 12192000"/>
              <a:gd name="connsiteY6" fmla="*/ 0 h 615553"/>
              <a:gd name="connsiteX7" fmla="*/ 4253653 w 12192000"/>
              <a:gd name="connsiteY7" fmla="*/ 0 h 615553"/>
              <a:gd name="connsiteX8" fmla="*/ 5174827 w 12192000"/>
              <a:gd name="connsiteY8" fmla="*/ 0 h 615553"/>
              <a:gd name="connsiteX9" fmla="*/ 6096000 w 12192000"/>
              <a:gd name="connsiteY9" fmla="*/ 0 h 615553"/>
              <a:gd name="connsiteX10" fmla="*/ 6773333 w 12192000"/>
              <a:gd name="connsiteY10" fmla="*/ 0 h 615553"/>
              <a:gd name="connsiteX11" fmla="*/ 7694507 w 12192000"/>
              <a:gd name="connsiteY11" fmla="*/ 0 h 615553"/>
              <a:gd name="connsiteX12" fmla="*/ 8249920 w 12192000"/>
              <a:gd name="connsiteY12" fmla="*/ 0 h 615553"/>
              <a:gd name="connsiteX13" fmla="*/ 8805333 w 12192000"/>
              <a:gd name="connsiteY13" fmla="*/ 0 h 615553"/>
              <a:gd name="connsiteX14" fmla="*/ 9604587 w 12192000"/>
              <a:gd name="connsiteY14" fmla="*/ 0 h 615553"/>
              <a:gd name="connsiteX15" fmla="*/ 10160000 w 12192000"/>
              <a:gd name="connsiteY15" fmla="*/ 0 h 615553"/>
              <a:gd name="connsiteX16" fmla="*/ 11081173 w 12192000"/>
              <a:gd name="connsiteY16" fmla="*/ 0 h 615553"/>
              <a:gd name="connsiteX17" fmla="*/ 12192000 w 12192000"/>
              <a:gd name="connsiteY17" fmla="*/ 0 h 615553"/>
              <a:gd name="connsiteX18" fmla="*/ 12192000 w 12192000"/>
              <a:gd name="connsiteY18" fmla="*/ 615553 h 615553"/>
              <a:gd name="connsiteX19" fmla="*/ 11392747 w 12192000"/>
              <a:gd name="connsiteY19" fmla="*/ 615553 h 615553"/>
              <a:gd name="connsiteX20" fmla="*/ 10959253 w 12192000"/>
              <a:gd name="connsiteY20" fmla="*/ 615553 h 615553"/>
              <a:gd name="connsiteX21" fmla="*/ 10038080 w 12192000"/>
              <a:gd name="connsiteY21" fmla="*/ 615553 h 615553"/>
              <a:gd name="connsiteX22" fmla="*/ 9360747 w 12192000"/>
              <a:gd name="connsiteY22" fmla="*/ 615553 h 615553"/>
              <a:gd name="connsiteX23" fmla="*/ 8927253 w 12192000"/>
              <a:gd name="connsiteY23" fmla="*/ 615553 h 615553"/>
              <a:gd name="connsiteX24" fmla="*/ 8249920 w 12192000"/>
              <a:gd name="connsiteY24" fmla="*/ 615553 h 615553"/>
              <a:gd name="connsiteX25" fmla="*/ 7938347 w 12192000"/>
              <a:gd name="connsiteY25" fmla="*/ 615553 h 615553"/>
              <a:gd name="connsiteX26" fmla="*/ 7626773 w 12192000"/>
              <a:gd name="connsiteY26" fmla="*/ 615553 h 615553"/>
              <a:gd name="connsiteX27" fmla="*/ 6949440 w 12192000"/>
              <a:gd name="connsiteY27" fmla="*/ 615553 h 615553"/>
              <a:gd name="connsiteX28" fmla="*/ 6515947 w 12192000"/>
              <a:gd name="connsiteY28" fmla="*/ 615553 h 615553"/>
              <a:gd name="connsiteX29" fmla="*/ 5716693 w 12192000"/>
              <a:gd name="connsiteY29" fmla="*/ 615553 h 615553"/>
              <a:gd name="connsiteX30" fmla="*/ 5283200 w 12192000"/>
              <a:gd name="connsiteY30" fmla="*/ 615553 h 615553"/>
              <a:gd name="connsiteX31" fmla="*/ 4483947 w 12192000"/>
              <a:gd name="connsiteY31" fmla="*/ 615553 h 615553"/>
              <a:gd name="connsiteX32" fmla="*/ 4172373 w 12192000"/>
              <a:gd name="connsiteY32" fmla="*/ 615553 h 615553"/>
              <a:gd name="connsiteX33" fmla="*/ 3373120 w 12192000"/>
              <a:gd name="connsiteY33" fmla="*/ 615553 h 615553"/>
              <a:gd name="connsiteX34" fmla="*/ 2939627 w 12192000"/>
              <a:gd name="connsiteY34" fmla="*/ 615553 h 615553"/>
              <a:gd name="connsiteX35" fmla="*/ 2628053 w 12192000"/>
              <a:gd name="connsiteY35" fmla="*/ 615553 h 615553"/>
              <a:gd name="connsiteX36" fmla="*/ 2194560 w 12192000"/>
              <a:gd name="connsiteY36" fmla="*/ 615553 h 615553"/>
              <a:gd name="connsiteX37" fmla="*/ 1395307 w 12192000"/>
              <a:gd name="connsiteY37" fmla="*/ 615553 h 615553"/>
              <a:gd name="connsiteX38" fmla="*/ 961813 w 12192000"/>
              <a:gd name="connsiteY38" fmla="*/ 615553 h 615553"/>
              <a:gd name="connsiteX39" fmla="*/ 650240 w 12192000"/>
              <a:gd name="connsiteY39" fmla="*/ 615553 h 615553"/>
              <a:gd name="connsiteX40" fmla="*/ 0 w 12192000"/>
              <a:gd name="connsiteY40" fmla="*/ 615553 h 615553"/>
              <a:gd name="connsiteX41" fmla="*/ 0 w 12192000"/>
              <a:gd name="connsiteY41" fmla="*/ 0 h 615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2000" h="615553" extrusionOk="0">
                <a:moveTo>
                  <a:pt x="0" y="0"/>
                </a:moveTo>
                <a:cubicBezTo>
                  <a:pt x="172476" y="-1237"/>
                  <a:pt x="362690" y="-25324"/>
                  <a:pt x="555413" y="0"/>
                </a:cubicBezTo>
                <a:cubicBezTo>
                  <a:pt x="748136" y="25324"/>
                  <a:pt x="771955" y="-1228"/>
                  <a:pt x="866987" y="0"/>
                </a:cubicBezTo>
                <a:cubicBezTo>
                  <a:pt x="962019" y="1228"/>
                  <a:pt x="1600613" y="23388"/>
                  <a:pt x="1788160" y="0"/>
                </a:cubicBezTo>
                <a:cubicBezTo>
                  <a:pt x="1975707" y="-23388"/>
                  <a:pt x="2108729" y="-1887"/>
                  <a:pt x="2343573" y="0"/>
                </a:cubicBezTo>
                <a:cubicBezTo>
                  <a:pt x="2578417" y="1887"/>
                  <a:pt x="2752949" y="-24220"/>
                  <a:pt x="2898987" y="0"/>
                </a:cubicBezTo>
                <a:cubicBezTo>
                  <a:pt x="3045025" y="24220"/>
                  <a:pt x="3491919" y="21338"/>
                  <a:pt x="3820160" y="0"/>
                </a:cubicBezTo>
                <a:cubicBezTo>
                  <a:pt x="4148401" y="-21338"/>
                  <a:pt x="4081710" y="-3640"/>
                  <a:pt x="4253653" y="0"/>
                </a:cubicBezTo>
                <a:cubicBezTo>
                  <a:pt x="4425596" y="3640"/>
                  <a:pt x="4811390" y="16743"/>
                  <a:pt x="5174827" y="0"/>
                </a:cubicBezTo>
                <a:cubicBezTo>
                  <a:pt x="5538264" y="-16743"/>
                  <a:pt x="5741154" y="19844"/>
                  <a:pt x="6096000" y="0"/>
                </a:cubicBezTo>
                <a:cubicBezTo>
                  <a:pt x="6450846" y="-19844"/>
                  <a:pt x="6619865" y="-29521"/>
                  <a:pt x="6773333" y="0"/>
                </a:cubicBezTo>
                <a:cubicBezTo>
                  <a:pt x="6926801" y="29521"/>
                  <a:pt x="7451435" y="28560"/>
                  <a:pt x="7694507" y="0"/>
                </a:cubicBezTo>
                <a:cubicBezTo>
                  <a:pt x="7937579" y="-28560"/>
                  <a:pt x="8048651" y="20071"/>
                  <a:pt x="8249920" y="0"/>
                </a:cubicBezTo>
                <a:cubicBezTo>
                  <a:pt x="8451189" y="-20071"/>
                  <a:pt x="8573630" y="25711"/>
                  <a:pt x="8805333" y="0"/>
                </a:cubicBezTo>
                <a:cubicBezTo>
                  <a:pt x="9037036" y="-25711"/>
                  <a:pt x="9234701" y="-9987"/>
                  <a:pt x="9604587" y="0"/>
                </a:cubicBezTo>
                <a:cubicBezTo>
                  <a:pt x="9974473" y="9987"/>
                  <a:pt x="9998347" y="7806"/>
                  <a:pt x="10160000" y="0"/>
                </a:cubicBezTo>
                <a:cubicBezTo>
                  <a:pt x="10321653" y="-7806"/>
                  <a:pt x="10669739" y="-24619"/>
                  <a:pt x="11081173" y="0"/>
                </a:cubicBezTo>
                <a:cubicBezTo>
                  <a:pt x="11492607" y="24619"/>
                  <a:pt x="11649370" y="3326"/>
                  <a:pt x="12192000" y="0"/>
                </a:cubicBezTo>
                <a:cubicBezTo>
                  <a:pt x="12193353" y="181846"/>
                  <a:pt x="12215854" y="430640"/>
                  <a:pt x="12192000" y="615553"/>
                </a:cubicBezTo>
                <a:cubicBezTo>
                  <a:pt x="12020805" y="646419"/>
                  <a:pt x="11594423" y="587709"/>
                  <a:pt x="11392747" y="615553"/>
                </a:cubicBezTo>
                <a:cubicBezTo>
                  <a:pt x="11191071" y="643397"/>
                  <a:pt x="11053915" y="632886"/>
                  <a:pt x="10959253" y="615553"/>
                </a:cubicBezTo>
                <a:cubicBezTo>
                  <a:pt x="10864591" y="598220"/>
                  <a:pt x="10369258" y="629878"/>
                  <a:pt x="10038080" y="615553"/>
                </a:cubicBezTo>
                <a:cubicBezTo>
                  <a:pt x="9706902" y="601228"/>
                  <a:pt x="9630385" y="598949"/>
                  <a:pt x="9360747" y="615553"/>
                </a:cubicBezTo>
                <a:cubicBezTo>
                  <a:pt x="9091109" y="632157"/>
                  <a:pt x="9076667" y="634370"/>
                  <a:pt x="8927253" y="615553"/>
                </a:cubicBezTo>
                <a:cubicBezTo>
                  <a:pt x="8777839" y="596736"/>
                  <a:pt x="8413967" y="612048"/>
                  <a:pt x="8249920" y="615553"/>
                </a:cubicBezTo>
                <a:cubicBezTo>
                  <a:pt x="8085873" y="619058"/>
                  <a:pt x="8075056" y="615350"/>
                  <a:pt x="7938347" y="615553"/>
                </a:cubicBezTo>
                <a:cubicBezTo>
                  <a:pt x="7801638" y="615756"/>
                  <a:pt x="7749777" y="630996"/>
                  <a:pt x="7626773" y="615553"/>
                </a:cubicBezTo>
                <a:cubicBezTo>
                  <a:pt x="7503769" y="600110"/>
                  <a:pt x="7095462" y="642021"/>
                  <a:pt x="6949440" y="615553"/>
                </a:cubicBezTo>
                <a:cubicBezTo>
                  <a:pt x="6803418" y="589085"/>
                  <a:pt x="6644725" y="597012"/>
                  <a:pt x="6515947" y="615553"/>
                </a:cubicBezTo>
                <a:cubicBezTo>
                  <a:pt x="6387169" y="634094"/>
                  <a:pt x="5941428" y="611048"/>
                  <a:pt x="5716693" y="615553"/>
                </a:cubicBezTo>
                <a:cubicBezTo>
                  <a:pt x="5491958" y="620058"/>
                  <a:pt x="5395864" y="624069"/>
                  <a:pt x="5283200" y="615553"/>
                </a:cubicBezTo>
                <a:cubicBezTo>
                  <a:pt x="5170536" y="607037"/>
                  <a:pt x="4782035" y="645400"/>
                  <a:pt x="4483947" y="615553"/>
                </a:cubicBezTo>
                <a:cubicBezTo>
                  <a:pt x="4185859" y="585706"/>
                  <a:pt x="4279449" y="614862"/>
                  <a:pt x="4172373" y="615553"/>
                </a:cubicBezTo>
                <a:cubicBezTo>
                  <a:pt x="4065297" y="616244"/>
                  <a:pt x="3755654" y="613527"/>
                  <a:pt x="3373120" y="615553"/>
                </a:cubicBezTo>
                <a:cubicBezTo>
                  <a:pt x="2990586" y="617579"/>
                  <a:pt x="3113127" y="622094"/>
                  <a:pt x="2939627" y="615553"/>
                </a:cubicBezTo>
                <a:cubicBezTo>
                  <a:pt x="2766127" y="609012"/>
                  <a:pt x="2746942" y="605641"/>
                  <a:pt x="2628053" y="615553"/>
                </a:cubicBezTo>
                <a:cubicBezTo>
                  <a:pt x="2509164" y="625465"/>
                  <a:pt x="2346483" y="610575"/>
                  <a:pt x="2194560" y="615553"/>
                </a:cubicBezTo>
                <a:cubicBezTo>
                  <a:pt x="2042637" y="620531"/>
                  <a:pt x="1580466" y="623074"/>
                  <a:pt x="1395307" y="615553"/>
                </a:cubicBezTo>
                <a:cubicBezTo>
                  <a:pt x="1210148" y="608032"/>
                  <a:pt x="1154769" y="610799"/>
                  <a:pt x="961813" y="615553"/>
                </a:cubicBezTo>
                <a:cubicBezTo>
                  <a:pt x="768857" y="620307"/>
                  <a:pt x="767400" y="614989"/>
                  <a:pt x="650240" y="615553"/>
                </a:cubicBezTo>
                <a:cubicBezTo>
                  <a:pt x="533080" y="616117"/>
                  <a:pt x="316546" y="595935"/>
                  <a:pt x="0" y="615553"/>
                </a:cubicBezTo>
                <a:cubicBezTo>
                  <a:pt x="-7981" y="324085"/>
                  <a:pt x="-18890" y="280249"/>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noAutofit/>
          </a:bodyPr>
          <a:lstStyle/>
          <a:p>
            <a:pPr algn="ctr"/>
            <a:r>
              <a:rPr lang="da-DK" sz="4000" b="1">
                <a:solidFill>
                  <a:schemeClr val="tx1"/>
                </a:solidFill>
                <a:latin typeface="Amatic SC" panose="00000500000000000000" pitchFamily="2" charset="-79"/>
                <a:cs typeface="Amatic SC" panose="00000500000000000000" pitchFamily="2" charset="-79"/>
              </a:rPr>
              <a:t>prøvehandling: Systematisk optælling og observation af elevernes adfærd </a:t>
            </a:r>
          </a:p>
        </p:txBody>
      </p:sp>
      <p:grpSp>
        <p:nvGrpSpPr>
          <p:cNvPr id="22" name="Shape 98">
            <a:extLst>
              <a:ext uri="{FF2B5EF4-FFF2-40B4-BE49-F238E27FC236}">
                <a16:creationId xmlns:a16="http://schemas.microsoft.com/office/drawing/2014/main" id="{04F23D8E-C677-337B-BE67-A13A262FA6B1}"/>
              </a:ext>
            </a:extLst>
          </p:cNvPr>
          <p:cNvGrpSpPr/>
          <p:nvPr/>
        </p:nvGrpSpPr>
        <p:grpSpPr>
          <a:xfrm rot="310810">
            <a:off x="4329430" y="2137895"/>
            <a:ext cx="434028" cy="386914"/>
            <a:chOff x="271125" y="812725"/>
            <a:chExt cx="766525" cy="221725"/>
          </a:xfrm>
          <a:solidFill>
            <a:srgbClr val="A3A196"/>
          </a:solidFill>
        </p:grpSpPr>
        <p:sp>
          <p:nvSpPr>
            <p:cNvPr id="23" name="Shape 99">
              <a:extLst>
                <a:ext uri="{FF2B5EF4-FFF2-40B4-BE49-F238E27FC236}">
                  <a16:creationId xmlns:a16="http://schemas.microsoft.com/office/drawing/2014/main" id="{0D7C7F0F-6DF1-95FE-2D9E-B505AC35BD0A}"/>
                </a:ext>
              </a:extLst>
            </p:cNvPr>
            <p:cNvSpPr/>
            <p:nvPr/>
          </p:nvSpPr>
          <p:spPr>
            <a:xfrm>
              <a:off x="271125" y="921200"/>
              <a:ext cx="695775" cy="70775"/>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sp>
          <p:nvSpPr>
            <p:cNvPr id="24" name="Shape 100">
              <a:extLst>
                <a:ext uri="{FF2B5EF4-FFF2-40B4-BE49-F238E27FC236}">
                  <a16:creationId xmlns:a16="http://schemas.microsoft.com/office/drawing/2014/main" id="{516A7D7A-12AD-4A0C-00B8-E1E1F4DA59AC}"/>
                </a:ext>
              </a:extLst>
            </p:cNvPr>
            <p:cNvSpPr/>
            <p:nvPr/>
          </p:nvSpPr>
          <p:spPr>
            <a:xfrm>
              <a:off x="858375" y="812725"/>
              <a:ext cx="179275" cy="221725"/>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grpSp>
      <p:grpSp>
        <p:nvGrpSpPr>
          <p:cNvPr id="25" name="Shape 98">
            <a:extLst>
              <a:ext uri="{FF2B5EF4-FFF2-40B4-BE49-F238E27FC236}">
                <a16:creationId xmlns:a16="http://schemas.microsoft.com/office/drawing/2014/main" id="{2BC60EDF-186A-EBF1-345F-FDE273E59E31}"/>
              </a:ext>
            </a:extLst>
          </p:cNvPr>
          <p:cNvGrpSpPr/>
          <p:nvPr/>
        </p:nvGrpSpPr>
        <p:grpSpPr>
          <a:xfrm rot="310810">
            <a:off x="7387949" y="2118019"/>
            <a:ext cx="434028" cy="386914"/>
            <a:chOff x="271125" y="812725"/>
            <a:chExt cx="766525" cy="221725"/>
          </a:xfrm>
          <a:solidFill>
            <a:srgbClr val="A3A196"/>
          </a:solidFill>
        </p:grpSpPr>
        <p:sp>
          <p:nvSpPr>
            <p:cNvPr id="26" name="Shape 99">
              <a:extLst>
                <a:ext uri="{FF2B5EF4-FFF2-40B4-BE49-F238E27FC236}">
                  <a16:creationId xmlns:a16="http://schemas.microsoft.com/office/drawing/2014/main" id="{6C0EC489-A14F-8182-2932-AD31815EE50A}"/>
                </a:ext>
              </a:extLst>
            </p:cNvPr>
            <p:cNvSpPr/>
            <p:nvPr/>
          </p:nvSpPr>
          <p:spPr>
            <a:xfrm>
              <a:off x="271125" y="921200"/>
              <a:ext cx="695775" cy="70775"/>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sp>
          <p:nvSpPr>
            <p:cNvPr id="27" name="Shape 100">
              <a:extLst>
                <a:ext uri="{FF2B5EF4-FFF2-40B4-BE49-F238E27FC236}">
                  <a16:creationId xmlns:a16="http://schemas.microsoft.com/office/drawing/2014/main" id="{747FDBAF-0098-6B68-135F-0A53A35DB12E}"/>
                </a:ext>
              </a:extLst>
            </p:cNvPr>
            <p:cNvSpPr/>
            <p:nvPr/>
          </p:nvSpPr>
          <p:spPr>
            <a:xfrm>
              <a:off x="858375" y="812725"/>
              <a:ext cx="179275" cy="221725"/>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grpSp>
      <p:grpSp>
        <p:nvGrpSpPr>
          <p:cNvPr id="28" name="Group 27">
            <a:extLst>
              <a:ext uri="{FF2B5EF4-FFF2-40B4-BE49-F238E27FC236}">
                <a16:creationId xmlns:a16="http://schemas.microsoft.com/office/drawing/2014/main" id="{E2273682-B8AB-E3A1-803A-B776D2BF891A}"/>
              </a:ext>
            </a:extLst>
          </p:cNvPr>
          <p:cNvGrpSpPr/>
          <p:nvPr/>
        </p:nvGrpSpPr>
        <p:grpSpPr>
          <a:xfrm>
            <a:off x="8841216" y="1474227"/>
            <a:ext cx="616927" cy="618408"/>
            <a:chOff x="8814517" y="1435625"/>
            <a:chExt cx="616927" cy="618408"/>
          </a:xfrm>
        </p:grpSpPr>
        <p:sp>
          <p:nvSpPr>
            <p:cNvPr id="29" name="Oval 28">
              <a:extLst>
                <a:ext uri="{FF2B5EF4-FFF2-40B4-BE49-F238E27FC236}">
                  <a16:creationId xmlns:a16="http://schemas.microsoft.com/office/drawing/2014/main" id="{6F6F5418-052F-7C96-87EB-49F4D0A16C32}"/>
                </a:ext>
              </a:extLst>
            </p:cNvPr>
            <p:cNvSpPr/>
            <p:nvPr/>
          </p:nvSpPr>
          <p:spPr>
            <a:xfrm>
              <a:off x="8814517" y="1435625"/>
              <a:ext cx="616927" cy="61840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30" name="Graphic 29" descr="Bullseye outline">
              <a:extLst>
                <a:ext uri="{FF2B5EF4-FFF2-40B4-BE49-F238E27FC236}">
                  <a16:creationId xmlns:a16="http://schemas.microsoft.com/office/drawing/2014/main" id="{4531D2FF-59B9-BB0E-8DFF-8303ED2536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85298" y="1514124"/>
              <a:ext cx="475364" cy="475364"/>
            </a:xfrm>
            <a:prstGeom prst="rect">
              <a:avLst/>
            </a:prstGeom>
          </p:spPr>
        </p:pic>
      </p:grpSp>
      <p:grpSp>
        <p:nvGrpSpPr>
          <p:cNvPr id="32" name="Group 31">
            <a:extLst>
              <a:ext uri="{FF2B5EF4-FFF2-40B4-BE49-F238E27FC236}">
                <a16:creationId xmlns:a16="http://schemas.microsoft.com/office/drawing/2014/main" id="{41AFBD9F-4CD7-8908-6581-81ED1D6DD11F}"/>
              </a:ext>
            </a:extLst>
          </p:cNvPr>
          <p:cNvGrpSpPr/>
          <p:nvPr/>
        </p:nvGrpSpPr>
        <p:grpSpPr>
          <a:xfrm>
            <a:off x="2743606" y="1467451"/>
            <a:ext cx="616927" cy="625184"/>
            <a:chOff x="2792332" y="1558205"/>
            <a:chExt cx="616927" cy="625184"/>
          </a:xfrm>
        </p:grpSpPr>
        <p:sp>
          <p:nvSpPr>
            <p:cNvPr id="34" name="Oval 33">
              <a:extLst>
                <a:ext uri="{FF2B5EF4-FFF2-40B4-BE49-F238E27FC236}">
                  <a16:creationId xmlns:a16="http://schemas.microsoft.com/office/drawing/2014/main" id="{76C7CFC1-24B5-A42B-5DA0-1661951AC595}"/>
                </a:ext>
              </a:extLst>
            </p:cNvPr>
            <p:cNvSpPr/>
            <p:nvPr/>
          </p:nvSpPr>
          <p:spPr>
            <a:xfrm>
              <a:off x="2792332" y="1564981"/>
              <a:ext cx="616927" cy="6184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39" name="Graphic 38" descr="Dim (Smaller Sun) outline">
              <a:extLst>
                <a:ext uri="{FF2B5EF4-FFF2-40B4-BE49-F238E27FC236}">
                  <a16:creationId xmlns:a16="http://schemas.microsoft.com/office/drawing/2014/main" id="{45F280F7-1A37-52E3-CB14-81665743B91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92332" y="1558205"/>
              <a:ext cx="616927" cy="616927"/>
            </a:xfrm>
            <a:prstGeom prst="rect">
              <a:avLst/>
            </a:prstGeom>
          </p:spPr>
        </p:pic>
      </p:grpSp>
      <p:sp>
        <p:nvSpPr>
          <p:cNvPr id="60" name="Rectangle 59">
            <a:extLst>
              <a:ext uri="{FF2B5EF4-FFF2-40B4-BE49-F238E27FC236}">
                <a16:creationId xmlns:a16="http://schemas.microsoft.com/office/drawing/2014/main" id="{9EA03F92-65E8-5B8C-5212-6064CBA01FFF}"/>
              </a:ext>
            </a:extLst>
          </p:cNvPr>
          <p:cNvSpPr/>
          <p:nvPr/>
        </p:nvSpPr>
        <p:spPr>
          <a:xfrm>
            <a:off x="4916422" y="2061095"/>
            <a:ext cx="2360024" cy="45823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Sådan gør de</a:t>
            </a:r>
          </a:p>
        </p:txBody>
      </p:sp>
      <p:sp>
        <p:nvSpPr>
          <p:cNvPr id="61" name="Rectangle 60">
            <a:extLst>
              <a:ext uri="{FF2B5EF4-FFF2-40B4-BE49-F238E27FC236}">
                <a16:creationId xmlns:a16="http://schemas.microsoft.com/office/drawing/2014/main" id="{0BE5FF57-4F33-CDAD-1FD8-0233712922F9}"/>
              </a:ext>
            </a:extLst>
          </p:cNvPr>
          <p:cNvSpPr/>
          <p:nvPr/>
        </p:nvSpPr>
        <p:spPr>
          <a:xfrm>
            <a:off x="4917526" y="2514672"/>
            <a:ext cx="2360024" cy="2915963"/>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1100" b="0" i="0">
                <a:solidFill>
                  <a:schemeClr val="tx1"/>
                </a:solidFill>
                <a:effectLst/>
                <a:latin typeface="Quicksand" panose="020B0604020202020204"/>
              </a:rPr>
              <a:t>Teamet gennemførte en undersøgelse for at måle kvantitativt, hvor mange gange eleverne forstyrrede – og i hvilke situationer uroen særligt opstod. Samtidig undersøgte de, hvor mange gange eleverne derimod aktivt henvendte sig til læreren med positive bidrag til undervisningen – og ligeledes hvilke rammer der særligt frembragte disse positive </a:t>
            </a:r>
            <a:r>
              <a:rPr lang="da-DK" sz="1100" b="0" i="0" err="1">
                <a:solidFill>
                  <a:schemeClr val="tx1"/>
                </a:solidFill>
                <a:effectLst/>
                <a:latin typeface="Quicksand" panose="020B0604020202020204"/>
              </a:rPr>
              <a:t>undervisnings-situationer</a:t>
            </a:r>
            <a:r>
              <a:rPr lang="da-DK" sz="1100" b="0" i="0">
                <a:solidFill>
                  <a:schemeClr val="tx1"/>
                </a:solidFill>
                <a:effectLst/>
                <a:latin typeface="Quicksand" panose="020B0604020202020204"/>
              </a:rPr>
              <a:t>.</a:t>
            </a:r>
            <a:endParaRPr lang="da-DK" sz="1100" noProof="0">
              <a:solidFill>
                <a:schemeClr val="tx1"/>
              </a:solidFill>
              <a:latin typeface="Quicksand" panose="020B0604020202020204"/>
            </a:endParaRPr>
          </a:p>
        </p:txBody>
      </p:sp>
      <p:grpSp>
        <p:nvGrpSpPr>
          <p:cNvPr id="62" name="Group 61">
            <a:extLst>
              <a:ext uri="{FF2B5EF4-FFF2-40B4-BE49-F238E27FC236}">
                <a16:creationId xmlns:a16="http://schemas.microsoft.com/office/drawing/2014/main" id="{B2B156BE-512E-8E6F-4632-EE4597B6874C}"/>
              </a:ext>
            </a:extLst>
          </p:cNvPr>
          <p:cNvGrpSpPr/>
          <p:nvPr/>
        </p:nvGrpSpPr>
        <p:grpSpPr>
          <a:xfrm>
            <a:off x="5790178" y="1474227"/>
            <a:ext cx="616927" cy="618408"/>
            <a:chOff x="5768721" y="1600573"/>
            <a:chExt cx="616927" cy="618408"/>
          </a:xfrm>
        </p:grpSpPr>
        <p:sp>
          <p:nvSpPr>
            <p:cNvPr id="63" name="Oval 62">
              <a:extLst>
                <a:ext uri="{FF2B5EF4-FFF2-40B4-BE49-F238E27FC236}">
                  <a16:creationId xmlns:a16="http://schemas.microsoft.com/office/drawing/2014/main" id="{EAF84E24-F1D1-7913-67AE-78DE2A6DB608}"/>
                </a:ext>
              </a:extLst>
            </p:cNvPr>
            <p:cNvSpPr/>
            <p:nvPr/>
          </p:nvSpPr>
          <p:spPr>
            <a:xfrm>
              <a:off x="5768721" y="1600573"/>
              <a:ext cx="616927" cy="61840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64" name="Graphic 63" descr="Blueprint outline">
              <a:extLst>
                <a:ext uri="{FF2B5EF4-FFF2-40B4-BE49-F238E27FC236}">
                  <a16:creationId xmlns:a16="http://schemas.microsoft.com/office/drawing/2014/main" id="{D5F360BA-CF24-450B-3CD2-583D8BEB75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43267" y="1675860"/>
              <a:ext cx="467834" cy="467834"/>
            </a:xfrm>
            <a:prstGeom prst="rect">
              <a:avLst/>
            </a:prstGeom>
          </p:spPr>
        </p:pic>
      </p:grpSp>
    </p:spTree>
    <p:extLst>
      <p:ext uri="{BB962C8B-B14F-4D97-AF65-F5344CB8AC3E}">
        <p14:creationId xmlns:p14="http://schemas.microsoft.com/office/powerpoint/2010/main" val="1318273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DE378429-0D90-3DD5-8FDC-014652E0D73F}"/>
              </a:ext>
            </a:extLst>
          </p:cNvPr>
          <p:cNvSpPr/>
          <p:nvPr/>
        </p:nvSpPr>
        <p:spPr>
          <a:xfrm>
            <a:off x="1862307" y="2064599"/>
            <a:ext cx="2360024" cy="458236"/>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Baggrund og formål</a:t>
            </a:r>
          </a:p>
        </p:txBody>
      </p:sp>
      <p:sp>
        <p:nvSpPr>
          <p:cNvPr id="33" name="Rectangle 32">
            <a:extLst>
              <a:ext uri="{FF2B5EF4-FFF2-40B4-BE49-F238E27FC236}">
                <a16:creationId xmlns:a16="http://schemas.microsoft.com/office/drawing/2014/main" id="{E9610F5E-5284-7E5E-317A-018E590AC769}"/>
              </a:ext>
            </a:extLst>
          </p:cNvPr>
          <p:cNvSpPr/>
          <p:nvPr/>
        </p:nvSpPr>
        <p:spPr>
          <a:xfrm>
            <a:off x="1862307" y="2518176"/>
            <a:ext cx="2360024" cy="2915963"/>
          </a:xfrm>
          <a:prstGeom prst="rect">
            <a:avLst/>
          </a:prstGeom>
          <a:solidFill>
            <a:schemeClr val="accent6">
              <a:lumMod val="20000"/>
              <a:lumOff val="8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1100" b="0" i="0">
                <a:solidFill>
                  <a:schemeClr val="tx1"/>
                </a:solidFill>
                <a:effectLst/>
                <a:latin typeface="Quicksand" panose="020B0604020202020204"/>
              </a:rPr>
              <a:t>I en klasse bemærkede lærerne, at visse piger var mere tilbagetrukket i undervisningen, hvilket påvirkede deres skolegang negativt. </a:t>
            </a:r>
            <a:r>
              <a:rPr lang="da-DK" sz="1100">
                <a:solidFill>
                  <a:schemeClr val="tx1"/>
                </a:solidFill>
                <a:latin typeface="Quicksand" panose="020B0604020202020204"/>
              </a:rPr>
              <a:t>Som følge af den ændrede adfærd, valgte lærerne at styrke deres fokus på de mere stille elever i klassen, da de havde en antagelse om, at de hurtigt blev overset og ikke havde så meget kontakt med lærerne. </a:t>
            </a:r>
            <a:endParaRPr lang="da-DK" sz="1100" b="1" noProof="0">
              <a:solidFill>
                <a:schemeClr val="tx1"/>
              </a:solidFill>
              <a:latin typeface="Quicksand" panose="020B0604020202020204"/>
              <a:cs typeface="Amatic SC" panose="00000500000000000000" pitchFamily="2" charset="-79"/>
            </a:endParaRPr>
          </a:p>
        </p:txBody>
      </p:sp>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414EF8B-C90A-A1DB-240D-4B60B72075A1}"/>
              </a:ext>
            </a:extLst>
          </p:cNvPr>
          <p:cNvSpPr txBox="1"/>
          <p:nvPr/>
        </p:nvSpPr>
        <p:spPr>
          <a:xfrm>
            <a:off x="0" y="433645"/>
            <a:ext cx="12192000" cy="615553"/>
          </a:xfrm>
          <a:custGeom>
            <a:avLst/>
            <a:gdLst>
              <a:gd name="connsiteX0" fmla="*/ 0 w 12192000"/>
              <a:gd name="connsiteY0" fmla="*/ 0 h 615553"/>
              <a:gd name="connsiteX1" fmla="*/ 555413 w 12192000"/>
              <a:gd name="connsiteY1" fmla="*/ 0 h 615553"/>
              <a:gd name="connsiteX2" fmla="*/ 866987 w 12192000"/>
              <a:gd name="connsiteY2" fmla="*/ 0 h 615553"/>
              <a:gd name="connsiteX3" fmla="*/ 1788160 w 12192000"/>
              <a:gd name="connsiteY3" fmla="*/ 0 h 615553"/>
              <a:gd name="connsiteX4" fmla="*/ 2343573 w 12192000"/>
              <a:gd name="connsiteY4" fmla="*/ 0 h 615553"/>
              <a:gd name="connsiteX5" fmla="*/ 2898987 w 12192000"/>
              <a:gd name="connsiteY5" fmla="*/ 0 h 615553"/>
              <a:gd name="connsiteX6" fmla="*/ 3820160 w 12192000"/>
              <a:gd name="connsiteY6" fmla="*/ 0 h 615553"/>
              <a:gd name="connsiteX7" fmla="*/ 4253653 w 12192000"/>
              <a:gd name="connsiteY7" fmla="*/ 0 h 615553"/>
              <a:gd name="connsiteX8" fmla="*/ 5174827 w 12192000"/>
              <a:gd name="connsiteY8" fmla="*/ 0 h 615553"/>
              <a:gd name="connsiteX9" fmla="*/ 6096000 w 12192000"/>
              <a:gd name="connsiteY9" fmla="*/ 0 h 615553"/>
              <a:gd name="connsiteX10" fmla="*/ 6773333 w 12192000"/>
              <a:gd name="connsiteY10" fmla="*/ 0 h 615553"/>
              <a:gd name="connsiteX11" fmla="*/ 7694507 w 12192000"/>
              <a:gd name="connsiteY11" fmla="*/ 0 h 615553"/>
              <a:gd name="connsiteX12" fmla="*/ 8249920 w 12192000"/>
              <a:gd name="connsiteY12" fmla="*/ 0 h 615553"/>
              <a:gd name="connsiteX13" fmla="*/ 8805333 w 12192000"/>
              <a:gd name="connsiteY13" fmla="*/ 0 h 615553"/>
              <a:gd name="connsiteX14" fmla="*/ 9604587 w 12192000"/>
              <a:gd name="connsiteY14" fmla="*/ 0 h 615553"/>
              <a:gd name="connsiteX15" fmla="*/ 10160000 w 12192000"/>
              <a:gd name="connsiteY15" fmla="*/ 0 h 615553"/>
              <a:gd name="connsiteX16" fmla="*/ 11081173 w 12192000"/>
              <a:gd name="connsiteY16" fmla="*/ 0 h 615553"/>
              <a:gd name="connsiteX17" fmla="*/ 12192000 w 12192000"/>
              <a:gd name="connsiteY17" fmla="*/ 0 h 615553"/>
              <a:gd name="connsiteX18" fmla="*/ 12192000 w 12192000"/>
              <a:gd name="connsiteY18" fmla="*/ 615553 h 615553"/>
              <a:gd name="connsiteX19" fmla="*/ 11392747 w 12192000"/>
              <a:gd name="connsiteY19" fmla="*/ 615553 h 615553"/>
              <a:gd name="connsiteX20" fmla="*/ 10959253 w 12192000"/>
              <a:gd name="connsiteY20" fmla="*/ 615553 h 615553"/>
              <a:gd name="connsiteX21" fmla="*/ 10038080 w 12192000"/>
              <a:gd name="connsiteY21" fmla="*/ 615553 h 615553"/>
              <a:gd name="connsiteX22" fmla="*/ 9360747 w 12192000"/>
              <a:gd name="connsiteY22" fmla="*/ 615553 h 615553"/>
              <a:gd name="connsiteX23" fmla="*/ 8927253 w 12192000"/>
              <a:gd name="connsiteY23" fmla="*/ 615553 h 615553"/>
              <a:gd name="connsiteX24" fmla="*/ 8249920 w 12192000"/>
              <a:gd name="connsiteY24" fmla="*/ 615553 h 615553"/>
              <a:gd name="connsiteX25" fmla="*/ 7938347 w 12192000"/>
              <a:gd name="connsiteY25" fmla="*/ 615553 h 615553"/>
              <a:gd name="connsiteX26" fmla="*/ 7626773 w 12192000"/>
              <a:gd name="connsiteY26" fmla="*/ 615553 h 615553"/>
              <a:gd name="connsiteX27" fmla="*/ 6949440 w 12192000"/>
              <a:gd name="connsiteY27" fmla="*/ 615553 h 615553"/>
              <a:gd name="connsiteX28" fmla="*/ 6515947 w 12192000"/>
              <a:gd name="connsiteY28" fmla="*/ 615553 h 615553"/>
              <a:gd name="connsiteX29" fmla="*/ 5716693 w 12192000"/>
              <a:gd name="connsiteY29" fmla="*/ 615553 h 615553"/>
              <a:gd name="connsiteX30" fmla="*/ 5283200 w 12192000"/>
              <a:gd name="connsiteY30" fmla="*/ 615553 h 615553"/>
              <a:gd name="connsiteX31" fmla="*/ 4483947 w 12192000"/>
              <a:gd name="connsiteY31" fmla="*/ 615553 h 615553"/>
              <a:gd name="connsiteX32" fmla="*/ 4172373 w 12192000"/>
              <a:gd name="connsiteY32" fmla="*/ 615553 h 615553"/>
              <a:gd name="connsiteX33" fmla="*/ 3373120 w 12192000"/>
              <a:gd name="connsiteY33" fmla="*/ 615553 h 615553"/>
              <a:gd name="connsiteX34" fmla="*/ 2939627 w 12192000"/>
              <a:gd name="connsiteY34" fmla="*/ 615553 h 615553"/>
              <a:gd name="connsiteX35" fmla="*/ 2628053 w 12192000"/>
              <a:gd name="connsiteY35" fmla="*/ 615553 h 615553"/>
              <a:gd name="connsiteX36" fmla="*/ 2194560 w 12192000"/>
              <a:gd name="connsiteY36" fmla="*/ 615553 h 615553"/>
              <a:gd name="connsiteX37" fmla="*/ 1395307 w 12192000"/>
              <a:gd name="connsiteY37" fmla="*/ 615553 h 615553"/>
              <a:gd name="connsiteX38" fmla="*/ 961813 w 12192000"/>
              <a:gd name="connsiteY38" fmla="*/ 615553 h 615553"/>
              <a:gd name="connsiteX39" fmla="*/ 650240 w 12192000"/>
              <a:gd name="connsiteY39" fmla="*/ 615553 h 615553"/>
              <a:gd name="connsiteX40" fmla="*/ 0 w 12192000"/>
              <a:gd name="connsiteY40" fmla="*/ 615553 h 615553"/>
              <a:gd name="connsiteX41" fmla="*/ 0 w 12192000"/>
              <a:gd name="connsiteY41" fmla="*/ 0 h 615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2000" h="615553" extrusionOk="0">
                <a:moveTo>
                  <a:pt x="0" y="0"/>
                </a:moveTo>
                <a:cubicBezTo>
                  <a:pt x="172476" y="-1237"/>
                  <a:pt x="362690" y="-25324"/>
                  <a:pt x="555413" y="0"/>
                </a:cubicBezTo>
                <a:cubicBezTo>
                  <a:pt x="748136" y="25324"/>
                  <a:pt x="771955" y="-1228"/>
                  <a:pt x="866987" y="0"/>
                </a:cubicBezTo>
                <a:cubicBezTo>
                  <a:pt x="962019" y="1228"/>
                  <a:pt x="1600613" y="23388"/>
                  <a:pt x="1788160" y="0"/>
                </a:cubicBezTo>
                <a:cubicBezTo>
                  <a:pt x="1975707" y="-23388"/>
                  <a:pt x="2108729" y="-1887"/>
                  <a:pt x="2343573" y="0"/>
                </a:cubicBezTo>
                <a:cubicBezTo>
                  <a:pt x="2578417" y="1887"/>
                  <a:pt x="2752949" y="-24220"/>
                  <a:pt x="2898987" y="0"/>
                </a:cubicBezTo>
                <a:cubicBezTo>
                  <a:pt x="3045025" y="24220"/>
                  <a:pt x="3491919" y="21338"/>
                  <a:pt x="3820160" y="0"/>
                </a:cubicBezTo>
                <a:cubicBezTo>
                  <a:pt x="4148401" y="-21338"/>
                  <a:pt x="4081710" y="-3640"/>
                  <a:pt x="4253653" y="0"/>
                </a:cubicBezTo>
                <a:cubicBezTo>
                  <a:pt x="4425596" y="3640"/>
                  <a:pt x="4811390" y="16743"/>
                  <a:pt x="5174827" y="0"/>
                </a:cubicBezTo>
                <a:cubicBezTo>
                  <a:pt x="5538264" y="-16743"/>
                  <a:pt x="5741154" y="19844"/>
                  <a:pt x="6096000" y="0"/>
                </a:cubicBezTo>
                <a:cubicBezTo>
                  <a:pt x="6450846" y="-19844"/>
                  <a:pt x="6619865" y="-29521"/>
                  <a:pt x="6773333" y="0"/>
                </a:cubicBezTo>
                <a:cubicBezTo>
                  <a:pt x="6926801" y="29521"/>
                  <a:pt x="7451435" y="28560"/>
                  <a:pt x="7694507" y="0"/>
                </a:cubicBezTo>
                <a:cubicBezTo>
                  <a:pt x="7937579" y="-28560"/>
                  <a:pt x="8048651" y="20071"/>
                  <a:pt x="8249920" y="0"/>
                </a:cubicBezTo>
                <a:cubicBezTo>
                  <a:pt x="8451189" y="-20071"/>
                  <a:pt x="8573630" y="25711"/>
                  <a:pt x="8805333" y="0"/>
                </a:cubicBezTo>
                <a:cubicBezTo>
                  <a:pt x="9037036" y="-25711"/>
                  <a:pt x="9234701" y="-9987"/>
                  <a:pt x="9604587" y="0"/>
                </a:cubicBezTo>
                <a:cubicBezTo>
                  <a:pt x="9974473" y="9987"/>
                  <a:pt x="9998347" y="7806"/>
                  <a:pt x="10160000" y="0"/>
                </a:cubicBezTo>
                <a:cubicBezTo>
                  <a:pt x="10321653" y="-7806"/>
                  <a:pt x="10669739" y="-24619"/>
                  <a:pt x="11081173" y="0"/>
                </a:cubicBezTo>
                <a:cubicBezTo>
                  <a:pt x="11492607" y="24619"/>
                  <a:pt x="11649370" y="3326"/>
                  <a:pt x="12192000" y="0"/>
                </a:cubicBezTo>
                <a:cubicBezTo>
                  <a:pt x="12193353" y="181846"/>
                  <a:pt x="12215854" y="430640"/>
                  <a:pt x="12192000" y="615553"/>
                </a:cubicBezTo>
                <a:cubicBezTo>
                  <a:pt x="12020805" y="646419"/>
                  <a:pt x="11594423" y="587709"/>
                  <a:pt x="11392747" y="615553"/>
                </a:cubicBezTo>
                <a:cubicBezTo>
                  <a:pt x="11191071" y="643397"/>
                  <a:pt x="11053915" y="632886"/>
                  <a:pt x="10959253" y="615553"/>
                </a:cubicBezTo>
                <a:cubicBezTo>
                  <a:pt x="10864591" y="598220"/>
                  <a:pt x="10369258" y="629878"/>
                  <a:pt x="10038080" y="615553"/>
                </a:cubicBezTo>
                <a:cubicBezTo>
                  <a:pt x="9706902" y="601228"/>
                  <a:pt x="9630385" y="598949"/>
                  <a:pt x="9360747" y="615553"/>
                </a:cubicBezTo>
                <a:cubicBezTo>
                  <a:pt x="9091109" y="632157"/>
                  <a:pt x="9076667" y="634370"/>
                  <a:pt x="8927253" y="615553"/>
                </a:cubicBezTo>
                <a:cubicBezTo>
                  <a:pt x="8777839" y="596736"/>
                  <a:pt x="8413967" y="612048"/>
                  <a:pt x="8249920" y="615553"/>
                </a:cubicBezTo>
                <a:cubicBezTo>
                  <a:pt x="8085873" y="619058"/>
                  <a:pt x="8075056" y="615350"/>
                  <a:pt x="7938347" y="615553"/>
                </a:cubicBezTo>
                <a:cubicBezTo>
                  <a:pt x="7801638" y="615756"/>
                  <a:pt x="7749777" y="630996"/>
                  <a:pt x="7626773" y="615553"/>
                </a:cubicBezTo>
                <a:cubicBezTo>
                  <a:pt x="7503769" y="600110"/>
                  <a:pt x="7095462" y="642021"/>
                  <a:pt x="6949440" y="615553"/>
                </a:cubicBezTo>
                <a:cubicBezTo>
                  <a:pt x="6803418" y="589085"/>
                  <a:pt x="6644725" y="597012"/>
                  <a:pt x="6515947" y="615553"/>
                </a:cubicBezTo>
                <a:cubicBezTo>
                  <a:pt x="6387169" y="634094"/>
                  <a:pt x="5941428" y="611048"/>
                  <a:pt x="5716693" y="615553"/>
                </a:cubicBezTo>
                <a:cubicBezTo>
                  <a:pt x="5491958" y="620058"/>
                  <a:pt x="5395864" y="624069"/>
                  <a:pt x="5283200" y="615553"/>
                </a:cubicBezTo>
                <a:cubicBezTo>
                  <a:pt x="5170536" y="607037"/>
                  <a:pt x="4782035" y="645400"/>
                  <a:pt x="4483947" y="615553"/>
                </a:cubicBezTo>
                <a:cubicBezTo>
                  <a:pt x="4185859" y="585706"/>
                  <a:pt x="4279449" y="614862"/>
                  <a:pt x="4172373" y="615553"/>
                </a:cubicBezTo>
                <a:cubicBezTo>
                  <a:pt x="4065297" y="616244"/>
                  <a:pt x="3755654" y="613527"/>
                  <a:pt x="3373120" y="615553"/>
                </a:cubicBezTo>
                <a:cubicBezTo>
                  <a:pt x="2990586" y="617579"/>
                  <a:pt x="3113127" y="622094"/>
                  <a:pt x="2939627" y="615553"/>
                </a:cubicBezTo>
                <a:cubicBezTo>
                  <a:pt x="2766127" y="609012"/>
                  <a:pt x="2746942" y="605641"/>
                  <a:pt x="2628053" y="615553"/>
                </a:cubicBezTo>
                <a:cubicBezTo>
                  <a:pt x="2509164" y="625465"/>
                  <a:pt x="2346483" y="610575"/>
                  <a:pt x="2194560" y="615553"/>
                </a:cubicBezTo>
                <a:cubicBezTo>
                  <a:pt x="2042637" y="620531"/>
                  <a:pt x="1580466" y="623074"/>
                  <a:pt x="1395307" y="615553"/>
                </a:cubicBezTo>
                <a:cubicBezTo>
                  <a:pt x="1210148" y="608032"/>
                  <a:pt x="1154769" y="610799"/>
                  <a:pt x="961813" y="615553"/>
                </a:cubicBezTo>
                <a:cubicBezTo>
                  <a:pt x="768857" y="620307"/>
                  <a:pt x="767400" y="614989"/>
                  <a:pt x="650240" y="615553"/>
                </a:cubicBezTo>
                <a:cubicBezTo>
                  <a:pt x="533080" y="616117"/>
                  <a:pt x="316546" y="595935"/>
                  <a:pt x="0" y="615553"/>
                </a:cubicBezTo>
                <a:cubicBezTo>
                  <a:pt x="-7981" y="324085"/>
                  <a:pt x="-18890" y="280249"/>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noAutofit/>
          </a:bodyPr>
          <a:lstStyle/>
          <a:p>
            <a:pPr algn="ctr"/>
            <a:r>
              <a:rPr lang="da-DK" sz="4000" b="1">
                <a:solidFill>
                  <a:schemeClr val="tx1"/>
                </a:solidFill>
                <a:latin typeface="Amatic SC" panose="00000500000000000000" pitchFamily="2" charset="-79"/>
                <a:cs typeface="Amatic SC" panose="00000500000000000000" pitchFamily="2" charset="-79"/>
              </a:rPr>
              <a:t>prøvehandling: Sammenhængscirkel </a:t>
            </a:r>
          </a:p>
        </p:txBody>
      </p:sp>
      <p:grpSp>
        <p:nvGrpSpPr>
          <p:cNvPr id="26" name="Shape 98">
            <a:extLst>
              <a:ext uri="{FF2B5EF4-FFF2-40B4-BE49-F238E27FC236}">
                <a16:creationId xmlns:a16="http://schemas.microsoft.com/office/drawing/2014/main" id="{45639D39-F00C-5170-1653-5432ADDD3F37}"/>
              </a:ext>
            </a:extLst>
          </p:cNvPr>
          <p:cNvGrpSpPr/>
          <p:nvPr/>
        </p:nvGrpSpPr>
        <p:grpSpPr>
          <a:xfrm rot="310810">
            <a:off x="4329430" y="2137895"/>
            <a:ext cx="434028" cy="386914"/>
            <a:chOff x="271125" y="812725"/>
            <a:chExt cx="766525" cy="221725"/>
          </a:xfrm>
          <a:solidFill>
            <a:srgbClr val="A3A196"/>
          </a:solidFill>
        </p:grpSpPr>
        <p:sp>
          <p:nvSpPr>
            <p:cNvPr id="27" name="Shape 99">
              <a:extLst>
                <a:ext uri="{FF2B5EF4-FFF2-40B4-BE49-F238E27FC236}">
                  <a16:creationId xmlns:a16="http://schemas.microsoft.com/office/drawing/2014/main" id="{8D087EC2-3089-B771-F6D4-41E84D623FE8}"/>
                </a:ext>
              </a:extLst>
            </p:cNvPr>
            <p:cNvSpPr/>
            <p:nvPr/>
          </p:nvSpPr>
          <p:spPr>
            <a:xfrm>
              <a:off x="271125" y="921200"/>
              <a:ext cx="695775" cy="70775"/>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sp>
          <p:nvSpPr>
            <p:cNvPr id="28" name="Shape 100">
              <a:extLst>
                <a:ext uri="{FF2B5EF4-FFF2-40B4-BE49-F238E27FC236}">
                  <a16:creationId xmlns:a16="http://schemas.microsoft.com/office/drawing/2014/main" id="{94448102-B318-4CB9-B877-727F3DB3568F}"/>
                </a:ext>
              </a:extLst>
            </p:cNvPr>
            <p:cNvSpPr/>
            <p:nvPr/>
          </p:nvSpPr>
          <p:spPr>
            <a:xfrm>
              <a:off x="858375" y="812725"/>
              <a:ext cx="179275" cy="221725"/>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grpSp>
      <p:grpSp>
        <p:nvGrpSpPr>
          <p:cNvPr id="34" name="Shape 98">
            <a:extLst>
              <a:ext uri="{FF2B5EF4-FFF2-40B4-BE49-F238E27FC236}">
                <a16:creationId xmlns:a16="http://schemas.microsoft.com/office/drawing/2014/main" id="{B8CB954C-8882-A158-6DE3-7D3535B24046}"/>
              </a:ext>
            </a:extLst>
          </p:cNvPr>
          <p:cNvGrpSpPr/>
          <p:nvPr/>
        </p:nvGrpSpPr>
        <p:grpSpPr>
          <a:xfrm rot="310810">
            <a:off x="7387949" y="2118019"/>
            <a:ext cx="434028" cy="386914"/>
            <a:chOff x="271125" y="812725"/>
            <a:chExt cx="766525" cy="221725"/>
          </a:xfrm>
          <a:solidFill>
            <a:srgbClr val="A3A196"/>
          </a:solidFill>
        </p:grpSpPr>
        <p:sp>
          <p:nvSpPr>
            <p:cNvPr id="35" name="Shape 99">
              <a:extLst>
                <a:ext uri="{FF2B5EF4-FFF2-40B4-BE49-F238E27FC236}">
                  <a16:creationId xmlns:a16="http://schemas.microsoft.com/office/drawing/2014/main" id="{D696FFA6-4D3D-DF38-13DC-43E69554A7F2}"/>
                </a:ext>
              </a:extLst>
            </p:cNvPr>
            <p:cNvSpPr/>
            <p:nvPr/>
          </p:nvSpPr>
          <p:spPr>
            <a:xfrm>
              <a:off x="271125" y="921200"/>
              <a:ext cx="695775" cy="70775"/>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sp>
          <p:nvSpPr>
            <p:cNvPr id="38" name="Shape 100">
              <a:extLst>
                <a:ext uri="{FF2B5EF4-FFF2-40B4-BE49-F238E27FC236}">
                  <a16:creationId xmlns:a16="http://schemas.microsoft.com/office/drawing/2014/main" id="{80AD1722-56D5-2F4D-92C5-DE76C7943FB1}"/>
                </a:ext>
              </a:extLst>
            </p:cNvPr>
            <p:cNvSpPr/>
            <p:nvPr/>
          </p:nvSpPr>
          <p:spPr>
            <a:xfrm>
              <a:off x="858375" y="812725"/>
              <a:ext cx="179275" cy="221725"/>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grpSp>
      <p:grpSp>
        <p:nvGrpSpPr>
          <p:cNvPr id="39" name="Group 38">
            <a:extLst>
              <a:ext uri="{FF2B5EF4-FFF2-40B4-BE49-F238E27FC236}">
                <a16:creationId xmlns:a16="http://schemas.microsoft.com/office/drawing/2014/main" id="{8B49E1EC-1089-D8D8-04A2-7AB6AA0E9304}"/>
              </a:ext>
            </a:extLst>
          </p:cNvPr>
          <p:cNvGrpSpPr/>
          <p:nvPr/>
        </p:nvGrpSpPr>
        <p:grpSpPr>
          <a:xfrm>
            <a:off x="8841216" y="1474227"/>
            <a:ext cx="616927" cy="618408"/>
            <a:chOff x="8814517" y="1435625"/>
            <a:chExt cx="616927" cy="618408"/>
          </a:xfrm>
        </p:grpSpPr>
        <p:sp>
          <p:nvSpPr>
            <p:cNvPr id="46" name="Oval 45">
              <a:extLst>
                <a:ext uri="{FF2B5EF4-FFF2-40B4-BE49-F238E27FC236}">
                  <a16:creationId xmlns:a16="http://schemas.microsoft.com/office/drawing/2014/main" id="{92E881E1-0AC9-85E0-9AC2-6CF3AFA5D715}"/>
                </a:ext>
              </a:extLst>
            </p:cNvPr>
            <p:cNvSpPr/>
            <p:nvPr/>
          </p:nvSpPr>
          <p:spPr>
            <a:xfrm>
              <a:off x="8814517" y="1435625"/>
              <a:ext cx="616927" cy="61840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47" name="Graphic 46" descr="Bullseye outline">
              <a:extLst>
                <a:ext uri="{FF2B5EF4-FFF2-40B4-BE49-F238E27FC236}">
                  <a16:creationId xmlns:a16="http://schemas.microsoft.com/office/drawing/2014/main" id="{91BD7604-C081-31D3-C78D-EE0AAE998CB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85298" y="1514124"/>
              <a:ext cx="475364" cy="475364"/>
            </a:xfrm>
            <a:prstGeom prst="rect">
              <a:avLst/>
            </a:prstGeom>
          </p:spPr>
        </p:pic>
      </p:grpSp>
      <p:grpSp>
        <p:nvGrpSpPr>
          <p:cNvPr id="48" name="Group 47">
            <a:extLst>
              <a:ext uri="{FF2B5EF4-FFF2-40B4-BE49-F238E27FC236}">
                <a16:creationId xmlns:a16="http://schemas.microsoft.com/office/drawing/2014/main" id="{9FD3CEA1-6BF6-81CC-264C-D12791B339BB}"/>
              </a:ext>
            </a:extLst>
          </p:cNvPr>
          <p:cNvGrpSpPr/>
          <p:nvPr/>
        </p:nvGrpSpPr>
        <p:grpSpPr>
          <a:xfrm>
            <a:off x="2743606" y="1467451"/>
            <a:ext cx="616927" cy="625184"/>
            <a:chOff x="2792332" y="1558205"/>
            <a:chExt cx="616927" cy="625184"/>
          </a:xfrm>
        </p:grpSpPr>
        <p:sp>
          <p:nvSpPr>
            <p:cNvPr id="49" name="Oval 48">
              <a:extLst>
                <a:ext uri="{FF2B5EF4-FFF2-40B4-BE49-F238E27FC236}">
                  <a16:creationId xmlns:a16="http://schemas.microsoft.com/office/drawing/2014/main" id="{1652686B-485B-EF79-A02C-D1E86EFC546D}"/>
                </a:ext>
              </a:extLst>
            </p:cNvPr>
            <p:cNvSpPr/>
            <p:nvPr/>
          </p:nvSpPr>
          <p:spPr>
            <a:xfrm>
              <a:off x="2792332" y="1564981"/>
              <a:ext cx="616927" cy="6184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50" name="Graphic 49" descr="Dim (Smaller Sun) outline">
              <a:extLst>
                <a:ext uri="{FF2B5EF4-FFF2-40B4-BE49-F238E27FC236}">
                  <a16:creationId xmlns:a16="http://schemas.microsoft.com/office/drawing/2014/main" id="{460951AC-2252-61A9-41D0-31AA533F574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92332" y="1558205"/>
              <a:ext cx="616927" cy="616927"/>
            </a:xfrm>
            <a:prstGeom prst="rect">
              <a:avLst/>
            </a:prstGeom>
          </p:spPr>
        </p:pic>
      </p:grpSp>
      <p:sp>
        <p:nvSpPr>
          <p:cNvPr id="65" name="Rectangle 64">
            <a:extLst>
              <a:ext uri="{FF2B5EF4-FFF2-40B4-BE49-F238E27FC236}">
                <a16:creationId xmlns:a16="http://schemas.microsoft.com/office/drawing/2014/main" id="{EF491DB3-5D6F-196C-894B-765172C3E20B}"/>
              </a:ext>
            </a:extLst>
          </p:cNvPr>
          <p:cNvSpPr/>
          <p:nvPr/>
        </p:nvSpPr>
        <p:spPr>
          <a:xfrm>
            <a:off x="7969669" y="2064599"/>
            <a:ext cx="2360023" cy="458236"/>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Det opnår de</a:t>
            </a:r>
          </a:p>
        </p:txBody>
      </p:sp>
      <p:sp>
        <p:nvSpPr>
          <p:cNvPr id="66" name="Rectangle 65">
            <a:extLst>
              <a:ext uri="{FF2B5EF4-FFF2-40B4-BE49-F238E27FC236}">
                <a16:creationId xmlns:a16="http://schemas.microsoft.com/office/drawing/2014/main" id="{D2864C30-3F9C-B608-02F2-EDB5D68A23B4}"/>
              </a:ext>
            </a:extLst>
          </p:cNvPr>
          <p:cNvSpPr/>
          <p:nvPr/>
        </p:nvSpPr>
        <p:spPr>
          <a:xfrm>
            <a:off x="7969669" y="2518176"/>
            <a:ext cx="2360024" cy="2915963"/>
          </a:xfrm>
          <a:prstGeom prst="rect">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spcAft>
                <a:spcPts val="900"/>
              </a:spcAft>
              <a:buClr>
                <a:schemeClr val="accent2"/>
              </a:buClr>
              <a:buSzPct val="150000"/>
            </a:pPr>
            <a:r>
              <a:rPr lang="da-DK" sz="1100" b="0" i="0">
                <a:solidFill>
                  <a:schemeClr val="tx1"/>
                </a:solidFill>
                <a:effectLst/>
                <a:latin typeface="Quicksand" panose="020B0604020202020204"/>
              </a:rPr>
              <a:t>Som en fast del af lærernes teammøde, fulgte de op på prøvehandlingen. </a:t>
            </a:r>
            <a:r>
              <a:rPr lang="da-DK" sz="1100">
                <a:solidFill>
                  <a:schemeClr val="tx1"/>
                </a:solidFill>
                <a:latin typeface="Quicksand" panose="020B0604020202020204"/>
              </a:rPr>
              <a:t>Det klare fokus på at engagere pigerne havde ikke blot en positiv effekt på deres deltagelse, men også på andre af de mere tilbageholdende elever i klassen. Derfor udvidede lærerne fokusområdet for prøvehandlingen, så den vedrørte flere elever. </a:t>
            </a:r>
            <a:endParaRPr lang="da-DK" sz="1100" b="1">
              <a:solidFill>
                <a:schemeClr val="tx1"/>
              </a:solidFill>
              <a:latin typeface="Quicksand" panose="020B0604020202020204"/>
            </a:endParaRPr>
          </a:p>
        </p:txBody>
      </p:sp>
      <p:sp>
        <p:nvSpPr>
          <p:cNvPr id="69" name="Rectangle 68">
            <a:extLst>
              <a:ext uri="{FF2B5EF4-FFF2-40B4-BE49-F238E27FC236}">
                <a16:creationId xmlns:a16="http://schemas.microsoft.com/office/drawing/2014/main" id="{5D290E0A-AFF9-35FE-2697-6BB816E53804}"/>
              </a:ext>
            </a:extLst>
          </p:cNvPr>
          <p:cNvSpPr/>
          <p:nvPr/>
        </p:nvSpPr>
        <p:spPr>
          <a:xfrm>
            <a:off x="4916422" y="2061095"/>
            <a:ext cx="2360024" cy="45823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Sådan gør de</a:t>
            </a:r>
          </a:p>
        </p:txBody>
      </p:sp>
      <p:sp>
        <p:nvSpPr>
          <p:cNvPr id="70" name="Rectangle 69">
            <a:extLst>
              <a:ext uri="{FF2B5EF4-FFF2-40B4-BE49-F238E27FC236}">
                <a16:creationId xmlns:a16="http://schemas.microsoft.com/office/drawing/2014/main" id="{347BC2EA-7E89-229B-725D-A979CF0B6145}"/>
              </a:ext>
            </a:extLst>
          </p:cNvPr>
          <p:cNvSpPr/>
          <p:nvPr/>
        </p:nvSpPr>
        <p:spPr>
          <a:xfrm>
            <a:off x="4917526" y="2514672"/>
            <a:ext cx="2360024" cy="2915963"/>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1100" b="0" i="0">
                <a:solidFill>
                  <a:schemeClr val="tx1"/>
                </a:solidFill>
                <a:effectLst/>
                <a:latin typeface="Quicksand" panose="020B0604020202020204"/>
              </a:rPr>
              <a:t>Lærerne skabte en sammenhængscirkel for hver elev, som bestod af en række mål og områder, som pigerne hver især skulle arbejde med. Et mål kunne eksempelvis være, at en elev skulle række hånden op et par gange i timerne. Forældrene og resten af klassen blev desuden informeret om pigernes mål for at støtte dem i processen. I timerne holdt lærerne særligt øje med pigernes mål og var </a:t>
            </a:r>
          </a:p>
          <a:p>
            <a:r>
              <a:rPr lang="da-DK" sz="1100" b="0" i="0">
                <a:solidFill>
                  <a:schemeClr val="tx1"/>
                </a:solidFill>
                <a:effectLst/>
                <a:latin typeface="Quicksand" panose="020B0604020202020204"/>
              </a:rPr>
              <a:t>ekstra opmærksomme på deres kontakt til pigerne (fx ved at </a:t>
            </a:r>
            <a:r>
              <a:rPr lang="da-DK" sz="1100">
                <a:solidFill>
                  <a:schemeClr val="tx1"/>
                </a:solidFill>
                <a:latin typeface="Quicksand" panose="020B0604020202020204"/>
              </a:rPr>
              <a:t>hilse personligt på dem hver morgen).</a:t>
            </a:r>
            <a:endParaRPr lang="da-DK" sz="1100" noProof="0">
              <a:solidFill>
                <a:schemeClr val="tx1"/>
              </a:solidFill>
              <a:latin typeface="Quicksand" panose="020B0604020202020204"/>
            </a:endParaRPr>
          </a:p>
        </p:txBody>
      </p:sp>
      <p:grpSp>
        <p:nvGrpSpPr>
          <p:cNvPr id="71" name="Group 70">
            <a:extLst>
              <a:ext uri="{FF2B5EF4-FFF2-40B4-BE49-F238E27FC236}">
                <a16:creationId xmlns:a16="http://schemas.microsoft.com/office/drawing/2014/main" id="{0FF58FB6-0F71-53C1-4C99-134DB1117659}"/>
              </a:ext>
            </a:extLst>
          </p:cNvPr>
          <p:cNvGrpSpPr/>
          <p:nvPr/>
        </p:nvGrpSpPr>
        <p:grpSpPr>
          <a:xfrm>
            <a:off x="5790178" y="1474227"/>
            <a:ext cx="616927" cy="618408"/>
            <a:chOff x="5768721" y="1600573"/>
            <a:chExt cx="616927" cy="618408"/>
          </a:xfrm>
        </p:grpSpPr>
        <p:sp>
          <p:nvSpPr>
            <p:cNvPr id="72" name="Oval 71">
              <a:extLst>
                <a:ext uri="{FF2B5EF4-FFF2-40B4-BE49-F238E27FC236}">
                  <a16:creationId xmlns:a16="http://schemas.microsoft.com/office/drawing/2014/main" id="{FB1863CF-E086-658B-A3D2-8C302E531CC4}"/>
                </a:ext>
              </a:extLst>
            </p:cNvPr>
            <p:cNvSpPr/>
            <p:nvPr/>
          </p:nvSpPr>
          <p:spPr>
            <a:xfrm>
              <a:off x="5768721" y="1600573"/>
              <a:ext cx="616927" cy="61840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73" name="Graphic 72" descr="Blueprint outline">
              <a:extLst>
                <a:ext uri="{FF2B5EF4-FFF2-40B4-BE49-F238E27FC236}">
                  <a16:creationId xmlns:a16="http://schemas.microsoft.com/office/drawing/2014/main" id="{81FC6CE6-1BAE-284D-694F-E36501D47F4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43267" y="1675860"/>
              <a:ext cx="467834" cy="467834"/>
            </a:xfrm>
            <a:prstGeom prst="rect">
              <a:avLst/>
            </a:prstGeom>
          </p:spPr>
        </p:pic>
      </p:grpSp>
    </p:spTree>
    <p:extLst>
      <p:ext uri="{BB962C8B-B14F-4D97-AF65-F5344CB8AC3E}">
        <p14:creationId xmlns:p14="http://schemas.microsoft.com/office/powerpoint/2010/main" val="27383177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DE378429-0D90-3DD5-8FDC-014652E0D73F}"/>
              </a:ext>
            </a:extLst>
          </p:cNvPr>
          <p:cNvSpPr/>
          <p:nvPr/>
        </p:nvSpPr>
        <p:spPr>
          <a:xfrm>
            <a:off x="1080810" y="2063815"/>
            <a:ext cx="2360024" cy="458236"/>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Baggrund og formål</a:t>
            </a:r>
          </a:p>
        </p:txBody>
      </p:sp>
      <p:sp>
        <p:nvSpPr>
          <p:cNvPr id="33" name="Rectangle 32">
            <a:extLst>
              <a:ext uri="{FF2B5EF4-FFF2-40B4-BE49-F238E27FC236}">
                <a16:creationId xmlns:a16="http://schemas.microsoft.com/office/drawing/2014/main" id="{E9610F5E-5284-7E5E-317A-018E590AC769}"/>
              </a:ext>
            </a:extLst>
          </p:cNvPr>
          <p:cNvSpPr/>
          <p:nvPr/>
        </p:nvSpPr>
        <p:spPr>
          <a:xfrm>
            <a:off x="1080810" y="2517392"/>
            <a:ext cx="2360024" cy="2924171"/>
          </a:xfrm>
          <a:prstGeom prst="rect">
            <a:avLst/>
          </a:prstGeom>
          <a:solidFill>
            <a:schemeClr val="accent6">
              <a:lumMod val="20000"/>
              <a:lumOff val="8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l"/>
            <a:r>
              <a:rPr lang="da-DK" sz="1100" b="0" i="0">
                <a:solidFill>
                  <a:schemeClr val="tx1"/>
                </a:solidFill>
                <a:effectLst/>
                <a:latin typeface="Quicksand" panose="020B0604020202020204"/>
              </a:rPr>
              <a:t>I Hjørring Kommune har personalet i samtlige børnehaveklasser arbejdet på at øge inddragelse og deltagelse af forældre ved forældremøder med henblik på at styrke relationerne blandt de voksne.</a:t>
            </a:r>
          </a:p>
          <a:p>
            <a:pPr algn="l"/>
            <a:endParaRPr lang="da-DK" sz="1100" b="0" i="0">
              <a:solidFill>
                <a:schemeClr val="tx1"/>
              </a:solidFill>
              <a:effectLst/>
              <a:latin typeface="Quicksand" panose="020B0604020202020204"/>
            </a:endParaRPr>
          </a:p>
          <a:p>
            <a:pPr algn="l"/>
            <a:r>
              <a:rPr lang="da-DK" sz="1100" b="0" i="0">
                <a:solidFill>
                  <a:schemeClr val="tx1"/>
                </a:solidFill>
                <a:effectLst/>
                <a:latin typeface="Quicksand" panose="020B0604020202020204"/>
              </a:rPr>
              <a:t>Ambitionen er at styrke samarbejde blandt det pædagogiske personale og forældre og på tværs af forældre, med det formål at styrke alle elevers muligheder for deltagelse både i skolen og uden for skolen.</a:t>
            </a:r>
          </a:p>
        </p:txBody>
      </p:sp>
      <p:sp>
        <p:nvSpPr>
          <p:cNvPr id="40" name="Rectangle 39">
            <a:extLst>
              <a:ext uri="{FF2B5EF4-FFF2-40B4-BE49-F238E27FC236}">
                <a16:creationId xmlns:a16="http://schemas.microsoft.com/office/drawing/2014/main" id="{6EAAA55B-D22A-9480-1DAE-40342510547C}"/>
              </a:ext>
            </a:extLst>
          </p:cNvPr>
          <p:cNvSpPr/>
          <p:nvPr/>
        </p:nvSpPr>
        <p:spPr>
          <a:xfrm>
            <a:off x="8745769" y="2021376"/>
            <a:ext cx="2360023" cy="458236"/>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Det opnår de</a:t>
            </a:r>
          </a:p>
        </p:txBody>
      </p:sp>
      <p:sp>
        <p:nvSpPr>
          <p:cNvPr id="41" name="Rectangle 40">
            <a:extLst>
              <a:ext uri="{FF2B5EF4-FFF2-40B4-BE49-F238E27FC236}">
                <a16:creationId xmlns:a16="http://schemas.microsoft.com/office/drawing/2014/main" id="{8F03E3B9-ECC6-3071-3B43-4551019D1EEF}"/>
              </a:ext>
            </a:extLst>
          </p:cNvPr>
          <p:cNvSpPr/>
          <p:nvPr/>
        </p:nvSpPr>
        <p:spPr>
          <a:xfrm>
            <a:off x="8745769" y="2474953"/>
            <a:ext cx="2360024" cy="2924171"/>
          </a:xfrm>
          <a:prstGeom prst="rect">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1100" dirty="0">
                <a:solidFill>
                  <a:schemeClr val="tx1"/>
                </a:solidFill>
                <a:latin typeface="Quicksand" panose="020B0604020202020204"/>
              </a:rPr>
              <a:t>D</a:t>
            </a:r>
            <a:r>
              <a:rPr lang="da-DK" sz="1100" b="0" i="0" dirty="0">
                <a:solidFill>
                  <a:schemeClr val="tx1"/>
                </a:solidFill>
                <a:effectLst/>
                <a:latin typeface="Quicksand" panose="020B0604020202020204"/>
              </a:rPr>
              <a:t>et</a:t>
            </a:r>
            <a:r>
              <a:rPr lang="da-DK" sz="1100" b="0" i="0">
                <a:solidFill>
                  <a:schemeClr val="tx1"/>
                </a:solidFill>
                <a:effectLst/>
                <a:latin typeface="Quicksand" panose="020B0604020202020204"/>
              </a:rPr>
              <a:t> pædagogiske personale bemærkede et forbedret samarbejde mellem forældrene, hvor for eksempel konflikter mellem børn blev løst af forældre i stedet for af det pædagogiske personale. Det styrkede samarbejde blandt forældrene bidrog også til, at eleverne fik flere deltagelsesmuligheder uden for skolen, da forældrene blev mere tilbøjelige til at inkludere alle elever i børnefødselsdage og udvise hensyntagen til elever med særlige behov.</a:t>
            </a:r>
            <a:endParaRPr lang="da-DK" sz="1100">
              <a:solidFill>
                <a:schemeClr val="tx1"/>
              </a:solidFill>
              <a:latin typeface="Quicksand" panose="020B0604020202020204"/>
              <a:cs typeface="Amatic SC" panose="00000500000000000000" pitchFamily="2" charset="-79"/>
            </a:endParaRPr>
          </a:p>
        </p:txBody>
      </p:sp>
      <p:sp>
        <p:nvSpPr>
          <p:cNvPr id="14" name="TextBox 13">
            <a:extLst>
              <a:ext uri="{FF2B5EF4-FFF2-40B4-BE49-F238E27FC236}">
                <a16:creationId xmlns:a16="http://schemas.microsoft.com/office/drawing/2014/main" id="{0ACF40EE-333F-46E8-2386-5428340A8D4C}"/>
              </a:ext>
            </a:extLst>
          </p:cNvPr>
          <p:cNvSpPr txBox="1"/>
          <p:nvPr/>
        </p:nvSpPr>
        <p:spPr>
          <a:xfrm>
            <a:off x="0" y="433644"/>
            <a:ext cx="12192000" cy="615553"/>
          </a:xfrm>
          <a:custGeom>
            <a:avLst/>
            <a:gdLst>
              <a:gd name="connsiteX0" fmla="*/ 0 w 12192000"/>
              <a:gd name="connsiteY0" fmla="*/ 0 h 615553"/>
              <a:gd name="connsiteX1" fmla="*/ 555413 w 12192000"/>
              <a:gd name="connsiteY1" fmla="*/ 0 h 615553"/>
              <a:gd name="connsiteX2" fmla="*/ 866987 w 12192000"/>
              <a:gd name="connsiteY2" fmla="*/ 0 h 615553"/>
              <a:gd name="connsiteX3" fmla="*/ 1788160 w 12192000"/>
              <a:gd name="connsiteY3" fmla="*/ 0 h 615553"/>
              <a:gd name="connsiteX4" fmla="*/ 2343573 w 12192000"/>
              <a:gd name="connsiteY4" fmla="*/ 0 h 615553"/>
              <a:gd name="connsiteX5" fmla="*/ 2898987 w 12192000"/>
              <a:gd name="connsiteY5" fmla="*/ 0 h 615553"/>
              <a:gd name="connsiteX6" fmla="*/ 3820160 w 12192000"/>
              <a:gd name="connsiteY6" fmla="*/ 0 h 615553"/>
              <a:gd name="connsiteX7" fmla="*/ 4253653 w 12192000"/>
              <a:gd name="connsiteY7" fmla="*/ 0 h 615553"/>
              <a:gd name="connsiteX8" fmla="*/ 5174827 w 12192000"/>
              <a:gd name="connsiteY8" fmla="*/ 0 h 615553"/>
              <a:gd name="connsiteX9" fmla="*/ 6096000 w 12192000"/>
              <a:gd name="connsiteY9" fmla="*/ 0 h 615553"/>
              <a:gd name="connsiteX10" fmla="*/ 6773333 w 12192000"/>
              <a:gd name="connsiteY10" fmla="*/ 0 h 615553"/>
              <a:gd name="connsiteX11" fmla="*/ 7694507 w 12192000"/>
              <a:gd name="connsiteY11" fmla="*/ 0 h 615553"/>
              <a:gd name="connsiteX12" fmla="*/ 8249920 w 12192000"/>
              <a:gd name="connsiteY12" fmla="*/ 0 h 615553"/>
              <a:gd name="connsiteX13" fmla="*/ 8805333 w 12192000"/>
              <a:gd name="connsiteY13" fmla="*/ 0 h 615553"/>
              <a:gd name="connsiteX14" fmla="*/ 9604587 w 12192000"/>
              <a:gd name="connsiteY14" fmla="*/ 0 h 615553"/>
              <a:gd name="connsiteX15" fmla="*/ 10160000 w 12192000"/>
              <a:gd name="connsiteY15" fmla="*/ 0 h 615553"/>
              <a:gd name="connsiteX16" fmla="*/ 11081173 w 12192000"/>
              <a:gd name="connsiteY16" fmla="*/ 0 h 615553"/>
              <a:gd name="connsiteX17" fmla="*/ 12192000 w 12192000"/>
              <a:gd name="connsiteY17" fmla="*/ 0 h 615553"/>
              <a:gd name="connsiteX18" fmla="*/ 12192000 w 12192000"/>
              <a:gd name="connsiteY18" fmla="*/ 615553 h 615553"/>
              <a:gd name="connsiteX19" fmla="*/ 11392747 w 12192000"/>
              <a:gd name="connsiteY19" fmla="*/ 615553 h 615553"/>
              <a:gd name="connsiteX20" fmla="*/ 10959253 w 12192000"/>
              <a:gd name="connsiteY20" fmla="*/ 615553 h 615553"/>
              <a:gd name="connsiteX21" fmla="*/ 10038080 w 12192000"/>
              <a:gd name="connsiteY21" fmla="*/ 615553 h 615553"/>
              <a:gd name="connsiteX22" fmla="*/ 9360747 w 12192000"/>
              <a:gd name="connsiteY22" fmla="*/ 615553 h 615553"/>
              <a:gd name="connsiteX23" fmla="*/ 8927253 w 12192000"/>
              <a:gd name="connsiteY23" fmla="*/ 615553 h 615553"/>
              <a:gd name="connsiteX24" fmla="*/ 8249920 w 12192000"/>
              <a:gd name="connsiteY24" fmla="*/ 615553 h 615553"/>
              <a:gd name="connsiteX25" fmla="*/ 7938347 w 12192000"/>
              <a:gd name="connsiteY25" fmla="*/ 615553 h 615553"/>
              <a:gd name="connsiteX26" fmla="*/ 7626773 w 12192000"/>
              <a:gd name="connsiteY26" fmla="*/ 615553 h 615553"/>
              <a:gd name="connsiteX27" fmla="*/ 6949440 w 12192000"/>
              <a:gd name="connsiteY27" fmla="*/ 615553 h 615553"/>
              <a:gd name="connsiteX28" fmla="*/ 6515947 w 12192000"/>
              <a:gd name="connsiteY28" fmla="*/ 615553 h 615553"/>
              <a:gd name="connsiteX29" fmla="*/ 5716693 w 12192000"/>
              <a:gd name="connsiteY29" fmla="*/ 615553 h 615553"/>
              <a:gd name="connsiteX30" fmla="*/ 5283200 w 12192000"/>
              <a:gd name="connsiteY30" fmla="*/ 615553 h 615553"/>
              <a:gd name="connsiteX31" fmla="*/ 4483947 w 12192000"/>
              <a:gd name="connsiteY31" fmla="*/ 615553 h 615553"/>
              <a:gd name="connsiteX32" fmla="*/ 4172373 w 12192000"/>
              <a:gd name="connsiteY32" fmla="*/ 615553 h 615553"/>
              <a:gd name="connsiteX33" fmla="*/ 3373120 w 12192000"/>
              <a:gd name="connsiteY33" fmla="*/ 615553 h 615553"/>
              <a:gd name="connsiteX34" fmla="*/ 2939627 w 12192000"/>
              <a:gd name="connsiteY34" fmla="*/ 615553 h 615553"/>
              <a:gd name="connsiteX35" fmla="*/ 2628053 w 12192000"/>
              <a:gd name="connsiteY35" fmla="*/ 615553 h 615553"/>
              <a:gd name="connsiteX36" fmla="*/ 2194560 w 12192000"/>
              <a:gd name="connsiteY36" fmla="*/ 615553 h 615553"/>
              <a:gd name="connsiteX37" fmla="*/ 1395307 w 12192000"/>
              <a:gd name="connsiteY37" fmla="*/ 615553 h 615553"/>
              <a:gd name="connsiteX38" fmla="*/ 961813 w 12192000"/>
              <a:gd name="connsiteY38" fmla="*/ 615553 h 615553"/>
              <a:gd name="connsiteX39" fmla="*/ 650240 w 12192000"/>
              <a:gd name="connsiteY39" fmla="*/ 615553 h 615553"/>
              <a:gd name="connsiteX40" fmla="*/ 0 w 12192000"/>
              <a:gd name="connsiteY40" fmla="*/ 615553 h 615553"/>
              <a:gd name="connsiteX41" fmla="*/ 0 w 12192000"/>
              <a:gd name="connsiteY41" fmla="*/ 0 h 615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2000" h="615553" extrusionOk="0">
                <a:moveTo>
                  <a:pt x="0" y="0"/>
                </a:moveTo>
                <a:cubicBezTo>
                  <a:pt x="172476" y="-1237"/>
                  <a:pt x="362690" y="-25324"/>
                  <a:pt x="555413" y="0"/>
                </a:cubicBezTo>
                <a:cubicBezTo>
                  <a:pt x="748136" y="25324"/>
                  <a:pt x="771955" y="-1228"/>
                  <a:pt x="866987" y="0"/>
                </a:cubicBezTo>
                <a:cubicBezTo>
                  <a:pt x="962019" y="1228"/>
                  <a:pt x="1600613" y="23388"/>
                  <a:pt x="1788160" y="0"/>
                </a:cubicBezTo>
                <a:cubicBezTo>
                  <a:pt x="1975707" y="-23388"/>
                  <a:pt x="2108729" y="-1887"/>
                  <a:pt x="2343573" y="0"/>
                </a:cubicBezTo>
                <a:cubicBezTo>
                  <a:pt x="2578417" y="1887"/>
                  <a:pt x="2752949" y="-24220"/>
                  <a:pt x="2898987" y="0"/>
                </a:cubicBezTo>
                <a:cubicBezTo>
                  <a:pt x="3045025" y="24220"/>
                  <a:pt x="3491919" y="21338"/>
                  <a:pt x="3820160" y="0"/>
                </a:cubicBezTo>
                <a:cubicBezTo>
                  <a:pt x="4148401" y="-21338"/>
                  <a:pt x="4081710" y="-3640"/>
                  <a:pt x="4253653" y="0"/>
                </a:cubicBezTo>
                <a:cubicBezTo>
                  <a:pt x="4425596" y="3640"/>
                  <a:pt x="4811390" y="16743"/>
                  <a:pt x="5174827" y="0"/>
                </a:cubicBezTo>
                <a:cubicBezTo>
                  <a:pt x="5538264" y="-16743"/>
                  <a:pt x="5741154" y="19844"/>
                  <a:pt x="6096000" y="0"/>
                </a:cubicBezTo>
                <a:cubicBezTo>
                  <a:pt x="6450846" y="-19844"/>
                  <a:pt x="6619865" y="-29521"/>
                  <a:pt x="6773333" y="0"/>
                </a:cubicBezTo>
                <a:cubicBezTo>
                  <a:pt x="6926801" y="29521"/>
                  <a:pt x="7451435" y="28560"/>
                  <a:pt x="7694507" y="0"/>
                </a:cubicBezTo>
                <a:cubicBezTo>
                  <a:pt x="7937579" y="-28560"/>
                  <a:pt x="8048651" y="20071"/>
                  <a:pt x="8249920" y="0"/>
                </a:cubicBezTo>
                <a:cubicBezTo>
                  <a:pt x="8451189" y="-20071"/>
                  <a:pt x="8573630" y="25711"/>
                  <a:pt x="8805333" y="0"/>
                </a:cubicBezTo>
                <a:cubicBezTo>
                  <a:pt x="9037036" y="-25711"/>
                  <a:pt x="9234701" y="-9987"/>
                  <a:pt x="9604587" y="0"/>
                </a:cubicBezTo>
                <a:cubicBezTo>
                  <a:pt x="9974473" y="9987"/>
                  <a:pt x="9998347" y="7806"/>
                  <a:pt x="10160000" y="0"/>
                </a:cubicBezTo>
                <a:cubicBezTo>
                  <a:pt x="10321653" y="-7806"/>
                  <a:pt x="10669739" y="-24619"/>
                  <a:pt x="11081173" y="0"/>
                </a:cubicBezTo>
                <a:cubicBezTo>
                  <a:pt x="11492607" y="24619"/>
                  <a:pt x="11649370" y="3326"/>
                  <a:pt x="12192000" y="0"/>
                </a:cubicBezTo>
                <a:cubicBezTo>
                  <a:pt x="12193353" y="181846"/>
                  <a:pt x="12215854" y="430640"/>
                  <a:pt x="12192000" y="615553"/>
                </a:cubicBezTo>
                <a:cubicBezTo>
                  <a:pt x="12020805" y="646419"/>
                  <a:pt x="11594423" y="587709"/>
                  <a:pt x="11392747" y="615553"/>
                </a:cubicBezTo>
                <a:cubicBezTo>
                  <a:pt x="11191071" y="643397"/>
                  <a:pt x="11053915" y="632886"/>
                  <a:pt x="10959253" y="615553"/>
                </a:cubicBezTo>
                <a:cubicBezTo>
                  <a:pt x="10864591" y="598220"/>
                  <a:pt x="10369258" y="629878"/>
                  <a:pt x="10038080" y="615553"/>
                </a:cubicBezTo>
                <a:cubicBezTo>
                  <a:pt x="9706902" y="601228"/>
                  <a:pt x="9630385" y="598949"/>
                  <a:pt x="9360747" y="615553"/>
                </a:cubicBezTo>
                <a:cubicBezTo>
                  <a:pt x="9091109" y="632157"/>
                  <a:pt x="9076667" y="634370"/>
                  <a:pt x="8927253" y="615553"/>
                </a:cubicBezTo>
                <a:cubicBezTo>
                  <a:pt x="8777839" y="596736"/>
                  <a:pt x="8413967" y="612048"/>
                  <a:pt x="8249920" y="615553"/>
                </a:cubicBezTo>
                <a:cubicBezTo>
                  <a:pt x="8085873" y="619058"/>
                  <a:pt x="8075056" y="615350"/>
                  <a:pt x="7938347" y="615553"/>
                </a:cubicBezTo>
                <a:cubicBezTo>
                  <a:pt x="7801638" y="615756"/>
                  <a:pt x="7749777" y="630996"/>
                  <a:pt x="7626773" y="615553"/>
                </a:cubicBezTo>
                <a:cubicBezTo>
                  <a:pt x="7503769" y="600110"/>
                  <a:pt x="7095462" y="642021"/>
                  <a:pt x="6949440" y="615553"/>
                </a:cubicBezTo>
                <a:cubicBezTo>
                  <a:pt x="6803418" y="589085"/>
                  <a:pt x="6644725" y="597012"/>
                  <a:pt x="6515947" y="615553"/>
                </a:cubicBezTo>
                <a:cubicBezTo>
                  <a:pt x="6387169" y="634094"/>
                  <a:pt x="5941428" y="611048"/>
                  <a:pt x="5716693" y="615553"/>
                </a:cubicBezTo>
                <a:cubicBezTo>
                  <a:pt x="5491958" y="620058"/>
                  <a:pt x="5395864" y="624069"/>
                  <a:pt x="5283200" y="615553"/>
                </a:cubicBezTo>
                <a:cubicBezTo>
                  <a:pt x="5170536" y="607037"/>
                  <a:pt x="4782035" y="645400"/>
                  <a:pt x="4483947" y="615553"/>
                </a:cubicBezTo>
                <a:cubicBezTo>
                  <a:pt x="4185859" y="585706"/>
                  <a:pt x="4279449" y="614862"/>
                  <a:pt x="4172373" y="615553"/>
                </a:cubicBezTo>
                <a:cubicBezTo>
                  <a:pt x="4065297" y="616244"/>
                  <a:pt x="3755654" y="613527"/>
                  <a:pt x="3373120" y="615553"/>
                </a:cubicBezTo>
                <a:cubicBezTo>
                  <a:pt x="2990586" y="617579"/>
                  <a:pt x="3113127" y="622094"/>
                  <a:pt x="2939627" y="615553"/>
                </a:cubicBezTo>
                <a:cubicBezTo>
                  <a:pt x="2766127" y="609012"/>
                  <a:pt x="2746942" y="605641"/>
                  <a:pt x="2628053" y="615553"/>
                </a:cubicBezTo>
                <a:cubicBezTo>
                  <a:pt x="2509164" y="625465"/>
                  <a:pt x="2346483" y="610575"/>
                  <a:pt x="2194560" y="615553"/>
                </a:cubicBezTo>
                <a:cubicBezTo>
                  <a:pt x="2042637" y="620531"/>
                  <a:pt x="1580466" y="623074"/>
                  <a:pt x="1395307" y="615553"/>
                </a:cubicBezTo>
                <a:cubicBezTo>
                  <a:pt x="1210148" y="608032"/>
                  <a:pt x="1154769" y="610799"/>
                  <a:pt x="961813" y="615553"/>
                </a:cubicBezTo>
                <a:cubicBezTo>
                  <a:pt x="768857" y="620307"/>
                  <a:pt x="767400" y="614989"/>
                  <a:pt x="650240" y="615553"/>
                </a:cubicBezTo>
                <a:cubicBezTo>
                  <a:pt x="533080" y="616117"/>
                  <a:pt x="316546" y="595935"/>
                  <a:pt x="0" y="615553"/>
                </a:cubicBezTo>
                <a:cubicBezTo>
                  <a:pt x="-7981" y="324085"/>
                  <a:pt x="-18890" y="280249"/>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noAutofit/>
          </a:bodyPr>
          <a:lstStyle/>
          <a:p>
            <a:pPr algn="ctr"/>
            <a:r>
              <a:rPr lang="da-DK" sz="4000" b="1">
                <a:solidFill>
                  <a:schemeClr val="tx1"/>
                </a:solidFill>
                <a:latin typeface="Amatic SC" panose="00000500000000000000" pitchFamily="2" charset="-79"/>
                <a:cs typeface="Amatic SC" panose="00000500000000000000" pitchFamily="2" charset="-79"/>
              </a:rPr>
              <a:t>prøvehandling: Deltagelsesmuligheder for forældre </a:t>
            </a:r>
          </a:p>
        </p:txBody>
      </p:sp>
      <p:grpSp>
        <p:nvGrpSpPr>
          <p:cNvPr id="34" name="Group 33">
            <a:extLst>
              <a:ext uri="{FF2B5EF4-FFF2-40B4-BE49-F238E27FC236}">
                <a16:creationId xmlns:a16="http://schemas.microsoft.com/office/drawing/2014/main" id="{D50FC2F3-FFEB-5E87-80FD-B30B45CE70ED}"/>
              </a:ext>
            </a:extLst>
          </p:cNvPr>
          <p:cNvGrpSpPr/>
          <p:nvPr/>
        </p:nvGrpSpPr>
        <p:grpSpPr>
          <a:xfrm>
            <a:off x="1952358" y="1467451"/>
            <a:ext cx="616927" cy="625184"/>
            <a:chOff x="2792332" y="1558205"/>
            <a:chExt cx="616927" cy="625184"/>
          </a:xfrm>
        </p:grpSpPr>
        <p:sp>
          <p:nvSpPr>
            <p:cNvPr id="35" name="Oval 34">
              <a:extLst>
                <a:ext uri="{FF2B5EF4-FFF2-40B4-BE49-F238E27FC236}">
                  <a16:creationId xmlns:a16="http://schemas.microsoft.com/office/drawing/2014/main" id="{8B797E52-B649-05B7-14FB-CED8AFF18A6D}"/>
                </a:ext>
              </a:extLst>
            </p:cNvPr>
            <p:cNvSpPr/>
            <p:nvPr/>
          </p:nvSpPr>
          <p:spPr>
            <a:xfrm>
              <a:off x="2792332" y="1564981"/>
              <a:ext cx="616927" cy="6184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38" name="Graphic 37" descr="Dim (Smaller Sun) outline">
              <a:extLst>
                <a:ext uri="{FF2B5EF4-FFF2-40B4-BE49-F238E27FC236}">
                  <a16:creationId xmlns:a16="http://schemas.microsoft.com/office/drawing/2014/main" id="{A81EB9EF-8AB9-930F-CFDA-B60F235C95F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92332" y="1558205"/>
              <a:ext cx="616927" cy="616927"/>
            </a:xfrm>
            <a:prstGeom prst="rect">
              <a:avLst/>
            </a:prstGeom>
          </p:spPr>
        </p:pic>
      </p:grpSp>
      <p:grpSp>
        <p:nvGrpSpPr>
          <p:cNvPr id="54" name="Group 53">
            <a:extLst>
              <a:ext uri="{FF2B5EF4-FFF2-40B4-BE49-F238E27FC236}">
                <a16:creationId xmlns:a16="http://schemas.microsoft.com/office/drawing/2014/main" id="{444CAB9F-5730-3E32-F860-D5BC4DA06E06}"/>
              </a:ext>
            </a:extLst>
          </p:cNvPr>
          <p:cNvGrpSpPr/>
          <p:nvPr/>
        </p:nvGrpSpPr>
        <p:grpSpPr>
          <a:xfrm>
            <a:off x="9617316" y="1474227"/>
            <a:ext cx="616927" cy="618408"/>
            <a:chOff x="8814517" y="1435625"/>
            <a:chExt cx="616927" cy="618408"/>
          </a:xfrm>
        </p:grpSpPr>
        <p:sp>
          <p:nvSpPr>
            <p:cNvPr id="55" name="Oval 54">
              <a:extLst>
                <a:ext uri="{FF2B5EF4-FFF2-40B4-BE49-F238E27FC236}">
                  <a16:creationId xmlns:a16="http://schemas.microsoft.com/office/drawing/2014/main" id="{3E48D70D-755A-CBA8-910B-EF4C5AF36B69}"/>
                </a:ext>
              </a:extLst>
            </p:cNvPr>
            <p:cNvSpPr/>
            <p:nvPr/>
          </p:nvSpPr>
          <p:spPr>
            <a:xfrm>
              <a:off x="8814517" y="1435625"/>
              <a:ext cx="616927" cy="61840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56" name="Graphic 55" descr="Bullseye outline">
              <a:extLst>
                <a:ext uri="{FF2B5EF4-FFF2-40B4-BE49-F238E27FC236}">
                  <a16:creationId xmlns:a16="http://schemas.microsoft.com/office/drawing/2014/main" id="{ACB487B1-68E0-4BBF-677C-75AF53189A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885298" y="1514124"/>
              <a:ext cx="475364" cy="475364"/>
            </a:xfrm>
            <a:prstGeom prst="rect">
              <a:avLst/>
            </a:prstGeom>
          </p:spPr>
        </p:pic>
      </p:grpSp>
      <p:grpSp>
        <p:nvGrpSpPr>
          <p:cNvPr id="58" name="Shape 98">
            <a:extLst>
              <a:ext uri="{FF2B5EF4-FFF2-40B4-BE49-F238E27FC236}">
                <a16:creationId xmlns:a16="http://schemas.microsoft.com/office/drawing/2014/main" id="{744B6379-C599-AF0A-D21F-F64061C956CF}"/>
              </a:ext>
            </a:extLst>
          </p:cNvPr>
          <p:cNvGrpSpPr/>
          <p:nvPr/>
        </p:nvGrpSpPr>
        <p:grpSpPr>
          <a:xfrm rot="310810">
            <a:off x="3541728" y="2137894"/>
            <a:ext cx="434028" cy="386914"/>
            <a:chOff x="271125" y="812725"/>
            <a:chExt cx="766525" cy="221725"/>
          </a:xfrm>
          <a:solidFill>
            <a:srgbClr val="A3A196"/>
          </a:solidFill>
        </p:grpSpPr>
        <p:sp>
          <p:nvSpPr>
            <p:cNvPr id="59" name="Shape 99">
              <a:extLst>
                <a:ext uri="{FF2B5EF4-FFF2-40B4-BE49-F238E27FC236}">
                  <a16:creationId xmlns:a16="http://schemas.microsoft.com/office/drawing/2014/main" id="{E8903EC7-F509-261D-61AD-E99FE88814B4}"/>
                </a:ext>
              </a:extLst>
            </p:cNvPr>
            <p:cNvSpPr/>
            <p:nvPr/>
          </p:nvSpPr>
          <p:spPr>
            <a:xfrm>
              <a:off x="271125" y="921200"/>
              <a:ext cx="695775" cy="70775"/>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sp>
          <p:nvSpPr>
            <p:cNvPr id="60" name="Shape 100">
              <a:extLst>
                <a:ext uri="{FF2B5EF4-FFF2-40B4-BE49-F238E27FC236}">
                  <a16:creationId xmlns:a16="http://schemas.microsoft.com/office/drawing/2014/main" id="{84CD15DB-94E4-A1FA-963E-7517A9C998B6}"/>
                </a:ext>
              </a:extLst>
            </p:cNvPr>
            <p:cNvSpPr/>
            <p:nvPr/>
          </p:nvSpPr>
          <p:spPr>
            <a:xfrm>
              <a:off x="858375" y="812725"/>
              <a:ext cx="179275" cy="221725"/>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grpSp>
      <p:grpSp>
        <p:nvGrpSpPr>
          <p:cNvPr id="61" name="Shape 98">
            <a:extLst>
              <a:ext uri="{FF2B5EF4-FFF2-40B4-BE49-F238E27FC236}">
                <a16:creationId xmlns:a16="http://schemas.microsoft.com/office/drawing/2014/main" id="{FB803B8C-87D8-4D3B-08B1-FB3150AE9423}"/>
              </a:ext>
            </a:extLst>
          </p:cNvPr>
          <p:cNvGrpSpPr/>
          <p:nvPr/>
        </p:nvGrpSpPr>
        <p:grpSpPr>
          <a:xfrm rot="310810">
            <a:off x="8190180" y="2118019"/>
            <a:ext cx="434028" cy="386914"/>
            <a:chOff x="271125" y="812725"/>
            <a:chExt cx="766525" cy="221725"/>
          </a:xfrm>
          <a:solidFill>
            <a:srgbClr val="A3A196"/>
          </a:solidFill>
        </p:grpSpPr>
        <p:sp>
          <p:nvSpPr>
            <p:cNvPr id="62" name="Shape 99">
              <a:extLst>
                <a:ext uri="{FF2B5EF4-FFF2-40B4-BE49-F238E27FC236}">
                  <a16:creationId xmlns:a16="http://schemas.microsoft.com/office/drawing/2014/main" id="{89F251A3-5478-5573-DC05-21ECA24B39B0}"/>
                </a:ext>
              </a:extLst>
            </p:cNvPr>
            <p:cNvSpPr/>
            <p:nvPr/>
          </p:nvSpPr>
          <p:spPr>
            <a:xfrm>
              <a:off x="271125" y="921200"/>
              <a:ext cx="695775" cy="70775"/>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sp>
          <p:nvSpPr>
            <p:cNvPr id="63" name="Shape 100">
              <a:extLst>
                <a:ext uri="{FF2B5EF4-FFF2-40B4-BE49-F238E27FC236}">
                  <a16:creationId xmlns:a16="http://schemas.microsoft.com/office/drawing/2014/main" id="{72743E2E-5B9D-51C9-3300-1F98D0B3D70A}"/>
                </a:ext>
              </a:extLst>
            </p:cNvPr>
            <p:cNvSpPr/>
            <p:nvPr/>
          </p:nvSpPr>
          <p:spPr>
            <a:xfrm>
              <a:off x="858375" y="812725"/>
              <a:ext cx="179275" cy="221725"/>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grpSp>
      <p:sp>
        <p:nvSpPr>
          <p:cNvPr id="74" name="Rectangle 73">
            <a:extLst>
              <a:ext uri="{FF2B5EF4-FFF2-40B4-BE49-F238E27FC236}">
                <a16:creationId xmlns:a16="http://schemas.microsoft.com/office/drawing/2014/main" id="{9B32D8CA-4F9A-DE36-9975-D269D29BC21F}"/>
              </a:ext>
            </a:extLst>
          </p:cNvPr>
          <p:cNvSpPr/>
          <p:nvPr/>
        </p:nvSpPr>
        <p:spPr>
          <a:xfrm>
            <a:off x="4123378" y="2061095"/>
            <a:ext cx="3945242" cy="45823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Sådan gør de</a:t>
            </a:r>
          </a:p>
        </p:txBody>
      </p:sp>
      <p:sp>
        <p:nvSpPr>
          <p:cNvPr id="75" name="Rectangle 74">
            <a:extLst>
              <a:ext uri="{FF2B5EF4-FFF2-40B4-BE49-F238E27FC236}">
                <a16:creationId xmlns:a16="http://schemas.microsoft.com/office/drawing/2014/main" id="{4CB6494C-8FB9-A38C-18AB-1D67CCD1A7B9}"/>
              </a:ext>
            </a:extLst>
          </p:cNvPr>
          <p:cNvSpPr/>
          <p:nvPr/>
        </p:nvSpPr>
        <p:spPr>
          <a:xfrm>
            <a:off x="4123379" y="2514672"/>
            <a:ext cx="3945242" cy="2915963"/>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1100" b="0" i="0">
                <a:solidFill>
                  <a:schemeClr val="tx1"/>
                </a:solidFill>
                <a:effectLst/>
                <a:latin typeface="Quicksand" panose="020B0604020202020204"/>
              </a:rPr>
              <a:t>På en skole arrangerede klasseteamet en begivenhed kaldet "Sammen om klassen", hvor forældre blev inviteret via en video, som introducerede forældrene til arrangementet. Formålet med den anderledes invitation var at skabe en mere uformel atmosfære og nå ud til forældre, der måske har udfordringer med ordblindhed. Derudover arbejdede det pædagogiske personale sammen med SFO’en for at sikre, at eleverne og deres søskende kunne blive passet i SFO'en for at fjerne børnepasningsproblemer som barriere for deltagelse. </a:t>
            </a:r>
          </a:p>
          <a:p>
            <a:r>
              <a:rPr lang="da-DK" sz="1100" b="0" i="0">
                <a:solidFill>
                  <a:schemeClr val="tx1"/>
                </a:solidFill>
                <a:effectLst/>
                <a:latin typeface="Quicksand" panose="020B0604020202020204"/>
              </a:rPr>
              <a:t>På mødet anvendte det pædagogiske personale flere greb til at styrke sammenholdet på tværs og undgå gamle ‘vaner’. Ved ankomst til mødet trak forældrene fx et nummer og satte sig ved det tilsvarende nummer for at sikre tilfældige siddepladser. Forældrene blev også bedt om at notere, hvad de tog med sig fra mødet, samt hvilke emner de gerne ville vide mere om, og overlevere det til personalet.</a:t>
            </a:r>
            <a:endParaRPr lang="da-DK" sz="1100" noProof="0">
              <a:solidFill>
                <a:schemeClr val="tx1"/>
              </a:solidFill>
              <a:latin typeface="Quicksand" panose="020B0604020202020204"/>
            </a:endParaRPr>
          </a:p>
        </p:txBody>
      </p:sp>
      <p:grpSp>
        <p:nvGrpSpPr>
          <p:cNvPr id="76" name="Group 75">
            <a:extLst>
              <a:ext uri="{FF2B5EF4-FFF2-40B4-BE49-F238E27FC236}">
                <a16:creationId xmlns:a16="http://schemas.microsoft.com/office/drawing/2014/main" id="{56587B81-A13C-2858-240D-D6A3DBBC6E42}"/>
              </a:ext>
            </a:extLst>
          </p:cNvPr>
          <p:cNvGrpSpPr/>
          <p:nvPr/>
        </p:nvGrpSpPr>
        <p:grpSpPr>
          <a:xfrm>
            <a:off x="5790178" y="1474227"/>
            <a:ext cx="616927" cy="618408"/>
            <a:chOff x="5768721" y="1600573"/>
            <a:chExt cx="616927" cy="618408"/>
          </a:xfrm>
        </p:grpSpPr>
        <p:sp>
          <p:nvSpPr>
            <p:cNvPr id="77" name="Oval 76">
              <a:extLst>
                <a:ext uri="{FF2B5EF4-FFF2-40B4-BE49-F238E27FC236}">
                  <a16:creationId xmlns:a16="http://schemas.microsoft.com/office/drawing/2014/main" id="{A4C85998-D229-F35E-B111-8E9501AD112D}"/>
                </a:ext>
              </a:extLst>
            </p:cNvPr>
            <p:cNvSpPr/>
            <p:nvPr/>
          </p:nvSpPr>
          <p:spPr>
            <a:xfrm>
              <a:off x="5768721" y="1600573"/>
              <a:ext cx="616927" cy="61840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78" name="Graphic 77" descr="Blueprint outline">
              <a:extLst>
                <a:ext uri="{FF2B5EF4-FFF2-40B4-BE49-F238E27FC236}">
                  <a16:creationId xmlns:a16="http://schemas.microsoft.com/office/drawing/2014/main" id="{8FFFB70C-904E-69C9-B136-455B3DEF2AC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43267" y="1675860"/>
              <a:ext cx="467834" cy="467834"/>
            </a:xfrm>
            <a:prstGeom prst="rect">
              <a:avLst/>
            </a:prstGeom>
          </p:spPr>
        </p:pic>
      </p:grpSp>
    </p:spTree>
    <p:extLst>
      <p:ext uri="{BB962C8B-B14F-4D97-AF65-F5344CB8AC3E}">
        <p14:creationId xmlns:p14="http://schemas.microsoft.com/office/powerpoint/2010/main" val="36665661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66D8682F-4401-E04B-BEFE-3D25FDFFCB54}"/>
              </a:ext>
            </a:extLst>
          </p:cNvPr>
          <p:cNvSpPr txBox="1"/>
          <p:nvPr/>
        </p:nvSpPr>
        <p:spPr>
          <a:xfrm>
            <a:off x="0" y="428773"/>
            <a:ext cx="12192000" cy="615553"/>
          </a:xfrm>
          <a:custGeom>
            <a:avLst/>
            <a:gdLst>
              <a:gd name="connsiteX0" fmla="*/ 0 w 12192000"/>
              <a:gd name="connsiteY0" fmla="*/ 0 h 615553"/>
              <a:gd name="connsiteX1" fmla="*/ 555413 w 12192000"/>
              <a:gd name="connsiteY1" fmla="*/ 0 h 615553"/>
              <a:gd name="connsiteX2" fmla="*/ 866987 w 12192000"/>
              <a:gd name="connsiteY2" fmla="*/ 0 h 615553"/>
              <a:gd name="connsiteX3" fmla="*/ 1788160 w 12192000"/>
              <a:gd name="connsiteY3" fmla="*/ 0 h 615553"/>
              <a:gd name="connsiteX4" fmla="*/ 2343573 w 12192000"/>
              <a:gd name="connsiteY4" fmla="*/ 0 h 615553"/>
              <a:gd name="connsiteX5" fmla="*/ 2898987 w 12192000"/>
              <a:gd name="connsiteY5" fmla="*/ 0 h 615553"/>
              <a:gd name="connsiteX6" fmla="*/ 3820160 w 12192000"/>
              <a:gd name="connsiteY6" fmla="*/ 0 h 615553"/>
              <a:gd name="connsiteX7" fmla="*/ 4253653 w 12192000"/>
              <a:gd name="connsiteY7" fmla="*/ 0 h 615553"/>
              <a:gd name="connsiteX8" fmla="*/ 5174827 w 12192000"/>
              <a:gd name="connsiteY8" fmla="*/ 0 h 615553"/>
              <a:gd name="connsiteX9" fmla="*/ 6096000 w 12192000"/>
              <a:gd name="connsiteY9" fmla="*/ 0 h 615553"/>
              <a:gd name="connsiteX10" fmla="*/ 6773333 w 12192000"/>
              <a:gd name="connsiteY10" fmla="*/ 0 h 615553"/>
              <a:gd name="connsiteX11" fmla="*/ 7694507 w 12192000"/>
              <a:gd name="connsiteY11" fmla="*/ 0 h 615553"/>
              <a:gd name="connsiteX12" fmla="*/ 8249920 w 12192000"/>
              <a:gd name="connsiteY12" fmla="*/ 0 h 615553"/>
              <a:gd name="connsiteX13" fmla="*/ 8805333 w 12192000"/>
              <a:gd name="connsiteY13" fmla="*/ 0 h 615553"/>
              <a:gd name="connsiteX14" fmla="*/ 9604587 w 12192000"/>
              <a:gd name="connsiteY14" fmla="*/ 0 h 615553"/>
              <a:gd name="connsiteX15" fmla="*/ 10160000 w 12192000"/>
              <a:gd name="connsiteY15" fmla="*/ 0 h 615553"/>
              <a:gd name="connsiteX16" fmla="*/ 11081173 w 12192000"/>
              <a:gd name="connsiteY16" fmla="*/ 0 h 615553"/>
              <a:gd name="connsiteX17" fmla="*/ 12192000 w 12192000"/>
              <a:gd name="connsiteY17" fmla="*/ 0 h 615553"/>
              <a:gd name="connsiteX18" fmla="*/ 12192000 w 12192000"/>
              <a:gd name="connsiteY18" fmla="*/ 615553 h 615553"/>
              <a:gd name="connsiteX19" fmla="*/ 11392747 w 12192000"/>
              <a:gd name="connsiteY19" fmla="*/ 615553 h 615553"/>
              <a:gd name="connsiteX20" fmla="*/ 10959253 w 12192000"/>
              <a:gd name="connsiteY20" fmla="*/ 615553 h 615553"/>
              <a:gd name="connsiteX21" fmla="*/ 10038080 w 12192000"/>
              <a:gd name="connsiteY21" fmla="*/ 615553 h 615553"/>
              <a:gd name="connsiteX22" fmla="*/ 9360747 w 12192000"/>
              <a:gd name="connsiteY22" fmla="*/ 615553 h 615553"/>
              <a:gd name="connsiteX23" fmla="*/ 8927253 w 12192000"/>
              <a:gd name="connsiteY23" fmla="*/ 615553 h 615553"/>
              <a:gd name="connsiteX24" fmla="*/ 8249920 w 12192000"/>
              <a:gd name="connsiteY24" fmla="*/ 615553 h 615553"/>
              <a:gd name="connsiteX25" fmla="*/ 7938347 w 12192000"/>
              <a:gd name="connsiteY25" fmla="*/ 615553 h 615553"/>
              <a:gd name="connsiteX26" fmla="*/ 7626773 w 12192000"/>
              <a:gd name="connsiteY26" fmla="*/ 615553 h 615553"/>
              <a:gd name="connsiteX27" fmla="*/ 6949440 w 12192000"/>
              <a:gd name="connsiteY27" fmla="*/ 615553 h 615553"/>
              <a:gd name="connsiteX28" fmla="*/ 6515947 w 12192000"/>
              <a:gd name="connsiteY28" fmla="*/ 615553 h 615553"/>
              <a:gd name="connsiteX29" fmla="*/ 5716693 w 12192000"/>
              <a:gd name="connsiteY29" fmla="*/ 615553 h 615553"/>
              <a:gd name="connsiteX30" fmla="*/ 5283200 w 12192000"/>
              <a:gd name="connsiteY30" fmla="*/ 615553 h 615553"/>
              <a:gd name="connsiteX31" fmla="*/ 4483947 w 12192000"/>
              <a:gd name="connsiteY31" fmla="*/ 615553 h 615553"/>
              <a:gd name="connsiteX32" fmla="*/ 4172373 w 12192000"/>
              <a:gd name="connsiteY32" fmla="*/ 615553 h 615553"/>
              <a:gd name="connsiteX33" fmla="*/ 3373120 w 12192000"/>
              <a:gd name="connsiteY33" fmla="*/ 615553 h 615553"/>
              <a:gd name="connsiteX34" fmla="*/ 2939627 w 12192000"/>
              <a:gd name="connsiteY34" fmla="*/ 615553 h 615553"/>
              <a:gd name="connsiteX35" fmla="*/ 2628053 w 12192000"/>
              <a:gd name="connsiteY35" fmla="*/ 615553 h 615553"/>
              <a:gd name="connsiteX36" fmla="*/ 2194560 w 12192000"/>
              <a:gd name="connsiteY36" fmla="*/ 615553 h 615553"/>
              <a:gd name="connsiteX37" fmla="*/ 1395307 w 12192000"/>
              <a:gd name="connsiteY37" fmla="*/ 615553 h 615553"/>
              <a:gd name="connsiteX38" fmla="*/ 961813 w 12192000"/>
              <a:gd name="connsiteY38" fmla="*/ 615553 h 615553"/>
              <a:gd name="connsiteX39" fmla="*/ 650240 w 12192000"/>
              <a:gd name="connsiteY39" fmla="*/ 615553 h 615553"/>
              <a:gd name="connsiteX40" fmla="*/ 0 w 12192000"/>
              <a:gd name="connsiteY40" fmla="*/ 615553 h 615553"/>
              <a:gd name="connsiteX41" fmla="*/ 0 w 12192000"/>
              <a:gd name="connsiteY41" fmla="*/ 0 h 615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2000" h="615553" extrusionOk="0">
                <a:moveTo>
                  <a:pt x="0" y="0"/>
                </a:moveTo>
                <a:cubicBezTo>
                  <a:pt x="172476" y="-1237"/>
                  <a:pt x="362690" y="-25324"/>
                  <a:pt x="555413" y="0"/>
                </a:cubicBezTo>
                <a:cubicBezTo>
                  <a:pt x="748136" y="25324"/>
                  <a:pt x="771955" y="-1228"/>
                  <a:pt x="866987" y="0"/>
                </a:cubicBezTo>
                <a:cubicBezTo>
                  <a:pt x="962019" y="1228"/>
                  <a:pt x="1600613" y="23388"/>
                  <a:pt x="1788160" y="0"/>
                </a:cubicBezTo>
                <a:cubicBezTo>
                  <a:pt x="1975707" y="-23388"/>
                  <a:pt x="2108729" y="-1887"/>
                  <a:pt x="2343573" y="0"/>
                </a:cubicBezTo>
                <a:cubicBezTo>
                  <a:pt x="2578417" y="1887"/>
                  <a:pt x="2752949" y="-24220"/>
                  <a:pt x="2898987" y="0"/>
                </a:cubicBezTo>
                <a:cubicBezTo>
                  <a:pt x="3045025" y="24220"/>
                  <a:pt x="3491919" y="21338"/>
                  <a:pt x="3820160" y="0"/>
                </a:cubicBezTo>
                <a:cubicBezTo>
                  <a:pt x="4148401" y="-21338"/>
                  <a:pt x="4081710" y="-3640"/>
                  <a:pt x="4253653" y="0"/>
                </a:cubicBezTo>
                <a:cubicBezTo>
                  <a:pt x="4425596" y="3640"/>
                  <a:pt x="4811390" y="16743"/>
                  <a:pt x="5174827" y="0"/>
                </a:cubicBezTo>
                <a:cubicBezTo>
                  <a:pt x="5538264" y="-16743"/>
                  <a:pt x="5741154" y="19844"/>
                  <a:pt x="6096000" y="0"/>
                </a:cubicBezTo>
                <a:cubicBezTo>
                  <a:pt x="6450846" y="-19844"/>
                  <a:pt x="6619865" y="-29521"/>
                  <a:pt x="6773333" y="0"/>
                </a:cubicBezTo>
                <a:cubicBezTo>
                  <a:pt x="6926801" y="29521"/>
                  <a:pt x="7451435" y="28560"/>
                  <a:pt x="7694507" y="0"/>
                </a:cubicBezTo>
                <a:cubicBezTo>
                  <a:pt x="7937579" y="-28560"/>
                  <a:pt x="8048651" y="20071"/>
                  <a:pt x="8249920" y="0"/>
                </a:cubicBezTo>
                <a:cubicBezTo>
                  <a:pt x="8451189" y="-20071"/>
                  <a:pt x="8573630" y="25711"/>
                  <a:pt x="8805333" y="0"/>
                </a:cubicBezTo>
                <a:cubicBezTo>
                  <a:pt x="9037036" y="-25711"/>
                  <a:pt x="9234701" y="-9987"/>
                  <a:pt x="9604587" y="0"/>
                </a:cubicBezTo>
                <a:cubicBezTo>
                  <a:pt x="9974473" y="9987"/>
                  <a:pt x="9998347" y="7806"/>
                  <a:pt x="10160000" y="0"/>
                </a:cubicBezTo>
                <a:cubicBezTo>
                  <a:pt x="10321653" y="-7806"/>
                  <a:pt x="10669739" y="-24619"/>
                  <a:pt x="11081173" y="0"/>
                </a:cubicBezTo>
                <a:cubicBezTo>
                  <a:pt x="11492607" y="24619"/>
                  <a:pt x="11649370" y="3326"/>
                  <a:pt x="12192000" y="0"/>
                </a:cubicBezTo>
                <a:cubicBezTo>
                  <a:pt x="12193353" y="181846"/>
                  <a:pt x="12215854" y="430640"/>
                  <a:pt x="12192000" y="615553"/>
                </a:cubicBezTo>
                <a:cubicBezTo>
                  <a:pt x="12020805" y="646419"/>
                  <a:pt x="11594423" y="587709"/>
                  <a:pt x="11392747" y="615553"/>
                </a:cubicBezTo>
                <a:cubicBezTo>
                  <a:pt x="11191071" y="643397"/>
                  <a:pt x="11053915" y="632886"/>
                  <a:pt x="10959253" y="615553"/>
                </a:cubicBezTo>
                <a:cubicBezTo>
                  <a:pt x="10864591" y="598220"/>
                  <a:pt x="10369258" y="629878"/>
                  <a:pt x="10038080" y="615553"/>
                </a:cubicBezTo>
                <a:cubicBezTo>
                  <a:pt x="9706902" y="601228"/>
                  <a:pt x="9630385" y="598949"/>
                  <a:pt x="9360747" y="615553"/>
                </a:cubicBezTo>
                <a:cubicBezTo>
                  <a:pt x="9091109" y="632157"/>
                  <a:pt x="9076667" y="634370"/>
                  <a:pt x="8927253" y="615553"/>
                </a:cubicBezTo>
                <a:cubicBezTo>
                  <a:pt x="8777839" y="596736"/>
                  <a:pt x="8413967" y="612048"/>
                  <a:pt x="8249920" y="615553"/>
                </a:cubicBezTo>
                <a:cubicBezTo>
                  <a:pt x="8085873" y="619058"/>
                  <a:pt x="8075056" y="615350"/>
                  <a:pt x="7938347" y="615553"/>
                </a:cubicBezTo>
                <a:cubicBezTo>
                  <a:pt x="7801638" y="615756"/>
                  <a:pt x="7749777" y="630996"/>
                  <a:pt x="7626773" y="615553"/>
                </a:cubicBezTo>
                <a:cubicBezTo>
                  <a:pt x="7503769" y="600110"/>
                  <a:pt x="7095462" y="642021"/>
                  <a:pt x="6949440" y="615553"/>
                </a:cubicBezTo>
                <a:cubicBezTo>
                  <a:pt x="6803418" y="589085"/>
                  <a:pt x="6644725" y="597012"/>
                  <a:pt x="6515947" y="615553"/>
                </a:cubicBezTo>
                <a:cubicBezTo>
                  <a:pt x="6387169" y="634094"/>
                  <a:pt x="5941428" y="611048"/>
                  <a:pt x="5716693" y="615553"/>
                </a:cubicBezTo>
                <a:cubicBezTo>
                  <a:pt x="5491958" y="620058"/>
                  <a:pt x="5395864" y="624069"/>
                  <a:pt x="5283200" y="615553"/>
                </a:cubicBezTo>
                <a:cubicBezTo>
                  <a:pt x="5170536" y="607037"/>
                  <a:pt x="4782035" y="645400"/>
                  <a:pt x="4483947" y="615553"/>
                </a:cubicBezTo>
                <a:cubicBezTo>
                  <a:pt x="4185859" y="585706"/>
                  <a:pt x="4279449" y="614862"/>
                  <a:pt x="4172373" y="615553"/>
                </a:cubicBezTo>
                <a:cubicBezTo>
                  <a:pt x="4065297" y="616244"/>
                  <a:pt x="3755654" y="613527"/>
                  <a:pt x="3373120" y="615553"/>
                </a:cubicBezTo>
                <a:cubicBezTo>
                  <a:pt x="2990586" y="617579"/>
                  <a:pt x="3113127" y="622094"/>
                  <a:pt x="2939627" y="615553"/>
                </a:cubicBezTo>
                <a:cubicBezTo>
                  <a:pt x="2766127" y="609012"/>
                  <a:pt x="2746942" y="605641"/>
                  <a:pt x="2628053" y="615553"/>
                </a:cubicBezTo>
                <a:cubicBezTo>
                  <a:pt x="2509164" y="625465"/>
                  <a:pt x="2346483" y="610575"/>
                  <a:pt x="2194560" y="615553"/>
                </a:cubicBezTo>
                <a:cubicBezTo>
                  <a:pt x="2042637" y="620531"/>
                  <a:pt x="1580466" y="623074"/>
                  <a:pt x="1395307" y="615553"/>
                </a:cubicBezTo>
                <a:cubicBezTo>
                  <a:pt x="1210148" y="608032"/>
                  <a:pt x="1154769" y="610799"/>
                  <a:pt x="961813" y="615553"/>
                </a:cubicBezTo>
                <a:cubicBezTo>
                  <a:pt x="768857" y="620307"/>
                  <a:pt x="767400" y="614989"/>
                  <a:pt x="650240" y="615553"/>
                </a:cubicBezTo>
                <a:cubicBezTo>
                  <a:pt x="533080" y="616117"/>
                  <a:pt x="316546" y="595935"/>
                  <a:pt x="0" y="615553"/>
                </a:cubicBezTo>
                <a:cubicBezTo>
                  <a:pt x="-7981" y="324085"/>
                  <a:pt x="-18890" y="280249"/>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da-DK" sz="4000" b="1">
                <a:solidFill>
                  <a:schemeClr val="tx1"/>
                </a:solidFill>
                <a:latin typeface="Amatic SC" panose="00000500000000000000" pitchFamily="2" charset="-79"/>
                <a:cs typeface="Amatic SC" panose="00000500000000000000" pitchFamily="2" charset="-79"/>
              </a:rPr>
              <a:t>prøvehandling: Inddragelse via opstart og afslutning af timen</a:t>
            </a:r>
          </a:p>
        </p:txBody>
      </p:sp>
      <p:sp>
        <p:nvSpPr>
          <p:cNvPr id="10" name="Rectangle 9">
            <a:extLst>
              <a:ext uri="{FF2B5EF4-FFF2-40B4-BE49-F238E27FC236}">
                <a16:creationId xmlns:a16="http://schemas.microsoft.com/office/drawing/2014/main" id="{3B7CE942-9301-FB52-EC0B-9ABA5470418B}"/>
              </a:ext>
            </a:extLst>
          </p:cNvPr>
          <p:cNvSpPr/>
          <p:nvPr/>
        </p:nvSpPr>
        <p:spPr>
          <a:xfrm>
            <a:off x="1080810" y="2063815"/>
            <a:ext cx="2360024" cy="458236"/>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Baggrund og formål</a:t>
            </a:r>
          </a:p>
        </p:txBody>
      </p:sp>
      <p:sp>
        <p:nvSpPr>
          <p:cNvPr id="11" name="Rectangle 10">
            <a:extLst>
              <a:ext uri="{FF2B5EF4-FFF2-40B4-BE49-F238E27FC236}">
                <a16:creationId xmlns:a16="http://schemas.microsoft.com/office/drawing/2014/main" id="{B8080758-065C-53DB-6236-4E7FDDD9FE4D}"/>
              </a:ext>
            </a:extLst>
          </p:cNvPr>
          <p:cNvSpPr/>
          <p:nvPr/>
        </p:nvSpPr>
        <p:spPr>
          <a:xfrm>
            <a:off x="1080810" y="2517392"/>
            <a:ext cx="2360024" cy="2924171"/>
          </a:xfrm>
          <a:prstGeom prst="rect">
            <a:avLst/>
          </a:prstGeom>
          <a:solidFill>
            <a:schemeClr val="accent6">
              <a:lumMod val="20000"/>
              <a:lumOff val="8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l"/>
            <a:r>
              <a:rPr lang="da-DK" sz="1100" b="0" i="0">
                <a:solidFill>
                  <a:schemeClr val="tx1"/>
                </a:solidFill>
                <a:effectLst/>
                <a:latin typeface="Quicksand" panose="020B0604020202020204"/>
              </a:rPr>
              <a:t>Formålet med prøvehandlingen er at styrke inddragelsen af eleverne ved at lytte til deres perspektiver og være nysgerrig på, hvad de har lært og arbejdet med i løbet af undervisningen.</a:t>
            </a:r>
            <a:br>
              <a:rPr lang="da-DK" sz="1100" b="0" i="0">
                <a:solidFill>
                  <a:schemeClr val="tx1"/>
                </a:solidFill>
                <a:effectLst/>
                <a:latin typeface="Quicksand" panose="020B0604020202020204"/>
              </a:rPr>
            </a:br>
            <a:endParaRPr lang="da-DK" sz="1100" b="0" i="0">
              <a:solidFill>
                <a:schemeClr val="tx1"/>
              </a:solidFill>
              <a:effectLst/>
              <a:latin typeface="Quicksand" panose="020B0604020202020204"/>
            </a:endParaRPr>
          </a:p>
          <a:p>
            <a:pPr algn="l"/>
            <a:r>
              <a:rPr lang="da-DK" sz="1100" b="0" i="0">
                <a:solidFill>
                  <a:schemeClr val="tx1"/>
                </a:solidFill>
                <a:effectLst/>
                <a:latin typeface="Quicksand" panose="020B0604020202020204"/>
              </a:rPr>
              <a:t>Formålet er at indsamle data, der kan anvendes til at forbedre undervisningen fremadrettet. Derudover skal øvelsen i indledningen og afslutningen af timen bidrage til at skabe en bedre struktur for undervisningen.</a:t>
            </a:r>
          </a:p>
        </p:txBody>
      </p:sp>
      <p:grpSp>
        <p:nvGrpSpPr>
          <p:cNvPr id="12" name="Group 11">
            <a:extLst>
              <a:ext uri="{FF2B5EF4-FFF2-40B4-BE49-F238E27FC236}">
                <a16:creationId xmlns:a16="http://schemas.microsoft.com/office/drawing/2014/main" id="{5B99523C-F8E7-9F90-FDA0-9B70C74EE9DE}"/>
              </a:ext>
            </a:extLst>
          </p:cNvPr>
          <p:cNvGrpSpPr/>
          <p:nvPr/>
        </p:nvGrpSpPr>
        <p:grpSpPr>
          <a:xfrm>
            <a:off x="1952358" y="1467451"/>
            <a:ext cx="616927" cy="625184"/>
            <a:chOff x="2792332" y="1558205"/>
            <a:chExt cx="616927" cy="625184"/>
          </a:xfrm>
        </p:grpSpPr>
        <p:sp>
          <p:nvSpPr>
            <p:cNvPr id="13" name="Oval 12">
              <a:extLst>
                <a:ext uri="{FF2B5EF4-FFF2-40B4-BE49-F238E27FC236}">
                  <a16:creationId xmlns:a16="http://schemas.microsoft.com/office/drawing/2014/main" id="{ECD14ACC-38E3-BFFD-2D80-D3BE0816B471}"/>
                </a:ext>
              </a:extLst>
            </p:cNvPr>
            <p:cNvSpPr/>
            <p:nvPr/>
          </p:nvSpPr>
          <p:spPr>
            <a:xfrm>
              <a:off x="2792332" y="1564981"/>
              <a:ext cx="616927" cy="6184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14" name="Graphic 13" descr="Dim (Smaller Sun) outline">
              <a:extLst>
                <a:ext uri="{FF2B5EF4-FFF2-40B4-BE49-F238E27FC236}">
                  <a16:creationId xmlns:a16="http://schemas.microsoft.com/office/drawing/2014/main" id="{E2D6D051-2185-9DDB-7307-D8FB622F993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92332" y="1558205"/>
              <a:ext cx="616927" cy="616927"/>
            </a:xfrm>
            <a:prstGeom prst="rect">
              <a:avLst/>
            </a:prstGeom>
          </p:spPr>
        </p:pic>
      </p:grpSp>
      <p:grpSp>
        <p:nvGrpSpPr>
          <p:cNvPr id="17" name="Group 16">
            <a:extLst>
              <a:ext uri="{FF2B5EF4-FFF2-40B4-BE49-F238E27FC236}">
                <a16:creationId xmlns:a16="http://schemas.microsoft.com/office/drawing/2014/main" id="{2AAA48B4-CD6B-DFF2-9BA2-94BB3B9E6AE4}"/>
              </a:ext>
            </a:extLst>
          </p:cNvPr>
          <p:cNvGrpSpPr/>
          <p:nvPr/>
        </p:nvGrpSpPr>
        <p:grpSpPr>
          <a:xfrm>
            <a:off x="5790178" y="1474227"/>
            <a:ext cx="616927" cy="618408"/>
            <a:chOff x="5768721" y="1600573"/>
            <a:chExt cx="616927" cy="618408"/>
          </a:xfrm>
        </p:grpSpPr>
        <p:sp>
          <p:nvSpPr>
            <p:cNvPr id="18" name="Oval 17">
              <a:extLst>
                <a:ext uri="{FF2B5EF4-FFF2-40B4-BE49-F238E27FC236}">
                  <a16:creationId xmlns:a16="http://schemas.microsoft.com/office/drawing/2014/main" id="{BAF648CF-071D-C2C7-6E75-5E199A9A7F19}"/>
                </a:ext>
              </a:extLst>
            </p:cNvPr>
            <p:cNvSpPr/>
            <p:nvPr/>
          </p:nvSpPr>
          <p:spPr>
            <a:xfrm>
              <a:off x="5768721" y="1600573"/>
              <a:ext cx="616927" cy="61840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19" name="Graphic 18" descr="Blueprint outline">
              <a:extLst>
                <a:ext uri="{FF2B5EF4-FFF2-40B4-BE49-F238E27FC236}">
                  <a16:creationId xmlns:a16="http://schemas.microsoft.com/office/drawing/2014/main" id="{B0DBBDC2-0C22-DF13-5CF7-2D2053B6F39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43267" y="1675860"/>
              <a:ext cx="467834" cy="467834"/>
            </a:xfrm>
            <a:prstGeom prst="rect">
              <a:avLst/>
            </a:prstGeom>
          </p:spPr>
        </p:pic>
      </p:grpSp>
      <p:sp>
        <p:nvSpPr>
          <p:cNvPr id="20" name="Rectangle 19">
            <a:extLst>
              <a:ext uri="{FF2B5EF4-FFF2-40B4-BE49-F238E27FC236}">
                <a16:creationId xmlns:a16="http://schemas.microsoft.com/office/drawing/2014/main" id="{457A1C27-4BA2-0A8E-41C5-139E8717D3A2}"/>
              </a:ext>
            </a:extLst>
          </p:cNvPr>
          <p:cNvSpPr/>
          <p:nvPr/>
        </p:nvSpPr>
        <p:spPr>
          <a:xfrm>
            <a:off x="8745769" y="2021376"/>
            <a:ext cx="2360023" cy="458236"/>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Det opnår de</a:t>
            </a:r>
          </a:p>
        </p:txBody>
      </p:sp>
      <p:sp>
        <p:nvSpPr>
          <p:cNvPr id="21" name="Rectangle 20">
            <a:extLst>
              <a:ext uri="{FF2B5EF4-FFF2-40B4-BE49-F238E27FC236}">
                <a16:creationId xmlns:a16="http://schemas.microsoft.com/office/drawing/2014/main" id="{D18685F2-BB70-F5B1-3B12-96B1A4EBA2EE}"/>
              </a:ext>
            </a:extLst>
          </p:cNvPr>
          <p:cNvSpPr/>
          <p:nvPr/>
        </p:nvSpPr>
        <p:spPr>
          <a:xfrm>
            <a:off x="8745769" y="2474953"/>
            <a:ext cx="2360024" cy="2924171"/>
          </a:xfrm>
          <a:prstGeom prst="rect">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1100" b="0" i="0">
                <a:solidFill>
                  <a:schemeClr val="tx1"/>
                </a:solidFill>
                <a:effectLst/>
                <a:latin typeface="Quicksand" panose="020B0604020202020204"/>
              </a:rPr>
              <a:t>Aktiviteten bidrager til, at flere elever deltager aktivt, og at flere får chancen for at påvirke undervisningen. Eleverne bliver mere opmærksomme på deres egen indsats og læringsresultater, og deres evne til at reflektere over deres egen forståelse af god læring styrkes. Derudover styrkes elevernes refleksion over læring, når de i plenum hører klassekammeraternes tanker om undervisningen. Samtidig får læreren mange inputs til, hvordan undervisningen kan styrkes.</a:t>
            </a:r>
            <a:endParaRPr lang="da-DK" sz="1100">
              <a:solidFill>
                <a:schemeClr val="tx1"/>
              </a:solidFill>
              <a:latin typeface="Quicksand" panose="020B0604020202020204"/>
              <a:cs typeface="Amatic SC" panose="00000500000000000000" pitchFamily="2" charset="-79"/>
            </a:endParaRPr>
          </a:p>
        </p:txBody>
      </p:sp>
      <p:grpSp>
        <p:nvGrpSpPr>
          <p:cNvPr id="22" name="Group 21">
            <a:extLst>
              <a:ext uri="{FF2B5EF4-FFF2-40B4-BE49-F238E27FC236}">
                <a16:creationId xmlns:a16="http://schemas.microsoft.com/office/drawing/2014/main" id="{14E28306-931D-901E-DD16-7442C79FDDF1}"/>
              </a:ext>
            </a:extLst>
          </p:cNvPr>
          <p:cNvGrpSpPr/>
          <p:nvPr/>
        </p:nvGrpSpPr>
        <p:grpSpPr>
          <a:xfrm>
            <a:off x="9617316" y="1474227"/>
            <a:ext cx="616927" cy="618408"/>
            <a:chOff x="8814517" y="1435625"/>
            <a:chExt cx="616927" cy="618408"/>
          </a:xfrm>
        </p:grpSpPr>
        <p:sp>
          <p:nvSpPr>
            <p:cNvPr id="23" name="Oval 22">
              <a:extLst>
                <a:ext uri="{FF2B5EF4-FFF2-40B4-BE49-F238E27FC236}">
                  <a16:creationId xmlns:a16="http://schemas.microsoft.com/office/drawing/2014/main" id="{8F1DE268-67D0-B1C2-9F3D-AA54F1A9C1D4}"/>
                </a:ext>
              </a:extLst>
            </p:cNvPr>
            <p:cNvSpPr/>
            <p:nvPr/>
          </p:nvSpPr>
          <p:spPr>
            <a:xfrm>
              <a:off x="8814517" y="1435625"/>
              <a:ext cx="616927" cy="61840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24" name="Graphic 23" descr="Bullseye outline">
              <a:extLst>
                <a:ext uri="{FF2B5EF4-FFF2-40B4-BE49-F238E27FC236}">
                  <a16:creationId xmlns:a16="http://schemas.microsoft.com/office/drawing/2014/main" id="{0664A5A7-2602-5289-62F8-D566ABC2ECA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885298" y="1514124"/>
              <a:ext cx="475364" cy="475364"/>
            </a:xfrm>
            <a:prstGeom prst="rect">
              <a:avLst/>
            </a:prstGeom>
          </p:spPr>
        </p:pic>
      </p:grpSp>
      <p:sp>
        <p:nvSpPr>
          <p:cNvPr id="25" name="Rectangle 24">
            <a:extLst>
              <a:ext uri="{FF2B5EF4-FFF2-40B4-BE49-F238E27FC236}">
                <a16:creationId xmlns:a16="http://schemas.microsoft.com/office/drawing/2014/main" id="{6C60DAE6-D936-4999-BF4B-9B63AB0CD689}"/>
              </a:ext>
            </a:extLst>
          </p:cNvPr>
          <p:cNvSpPr/>
          <p:nvPr/>
        </p:nvSpPr>
        <p:spPr>
          <a:xfrm>
            <a:off x="4123378" y="2061095"/>
            <a:ext cx="3945242" cy="45823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Sådan gør de</a:t>
            </a:r>
          </a:p>
        </p:txBody>
      </p:sp>
      <p:sp>
        <p:nvSpPr>
          <p:cNvPr id="26" name="Rectangle 25">
            <a:extLst>
              <a:ext uri="{FF2B5EF4-FFF2-40B4-BE49-F238E27FC236}">
                <a16:creationId xmlns:a16="http://schemas.microsoft.com/office/drawing/2014/main" id="{985121D1-D055-1D93-FD79-D011B562FE33}"/>
              </a:ext>
            </a:extLst>
          </p:cNvPr>
          <p:cNvSpPr/>
          <p:nvPr/>
        </p:nvSpPr>
        <p:spPr>
          <a:xfrm>
            <a:off x="4123379" y="2514672"/>
            <a:ext cx="3945242" cy="2915963"/>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l"/>
            <a:r>
              <a:rPr lang="da-DK" sz="1100" dirty="0">
                <a:solidFill>
                  <a:schemeClr val="tx1"/>
                </a:solidFill>
                <a:latin typeface="Quicksand" panose="020B0604020202020204"/>
              </a:rPr>
              <a:t>D</a:t>
            </a:r>
            <a:r>
              <a:rPr lang="da-DK" sz="1100" b="0" i="0" dirty="0">
                <a:solidFill>
                  <a:schemeClr val="tx1"/>
                </a:solidFill>
                <a:effectLst/>
                <a:latin typeface="Quicksand" panose="020B0604020202020204"/>
              </a:rPr>
              <a:t>et</a:t>
            </a:r>
            <a:r>
              <a:rPr lang="da-DK" sz="1100" b="0" i="0">
                <a:solidFill>
                  <a:schemeClr val="tx1"/>
                </a:solidFill>
                <a:effectLst/>
                <a:latin typeface="Quicksand" panose="020B0604020202020204"/>
              </a:rPr>
              <a:t> pædagogiske personale præsenterer i begyndelsen af timen en klar dagsorden for eleverne. Derudover afsluttes hver time med en evaluering ved hjælp af 2-3 spørgsmål, som læreren udvælger (der er syv i alt, så lærerne kan udvælge de spørgsmål, som giver mest mening for dem). Spørgsmålene diskuteres efterfølgende i klassen. Spørgsmålene kan eksempelvis være: "Hvad har jeg lært i dag, som jeg ikke vidste før?" eller "Hvad er jeg blevet mere nysgerrig på efter i dag?".</a:t>
            </a:r>
          </a:p>
          <a:p>
            <a:pPr algn="l"/>
            <a:endParaRPr lang="da-DK" sz="1100" b="0" i="0">
              <a:solidFill>
                <a:schemeClr val="tx1"/>
              </a:solidFill>
              <a:effectLst/>
              <a:latin typeface="Quicksand" panose="020B0604020202020204"/>
            </a:endParaRPr>
          </a:p>
          <a:p>
            <a:pPr algn="l"/>
            <a:r>
              <a:rPr lang="da-DK" sz="1100" b="0" i="0">
                <a:solidFill>
                  <a:schemeClr val="tx1"/>
                </a:solidFill>
                <a:effectLst/>
                <a:latin typeface="Quicksand" panose="020B0604020202020204"/>
              </a:rPr>
              <a:t>Det pædagogiske personale noterer herefter elevernes svar løbende for at blive klogere på deres ønsker og behov for læring. Herfra kan det pædagogiske personale anvende denne viden til at tilrettelægge deres undervisning efter elevernes refleksioner.</a:t>
            </a:r>
          </a:p>
          <a:p>
            <a:endParaRPr lang="da-DK" sz="1100" noProof="0">
              <a:solidFill>
                <a:schemeClr val="tx1"/>
              </a:solidFill>
              <a:latin typeface="Quicksand" panose="020B0604020202020204"/>
            </a:endParaRPr>
          </a:p>
        </p:txBody>
      </p:sp>
      <p:grpSp>
        <p:nvGrpSpPr>
          <p:cNvPr id="27" name="Shape 98">
            <a:extLst>
              <a:ext uri="{FF2B5EF4-FFF2-40B4-BE49-F238E27FC236}">
                <a16:creationId xmlns:a16="http://schemas.microsoft.com/office/drawing/2014/main" id="{525441FB-9142-54FB-B1AA-865E8CDAAD3A}"/>
              </a:ext>
            </a:extLst>
          </p:cNvPr>
          <p:cNvGrpSpPr/>
          <p:nvPr/>
        </p:nvGrpSpPr>
        <p:grpSpPr>
          <a:xfrm rot="310810">
            <a:off x="3541728" y="2137894"/>
            <a:ext cx="434028" cy="386914"/>
            <a:chOff x="271125" y="812725"/>
            <a:chExt cx="766525" cy="221725"/>
          </a:xfrm>
          <a:solidFill>
            <a:srgbClr val="A3A196"/>
          </a:solidFill>
        </p:grpSpPr>
        <p:sp>
          <p:nvSpPr>
            <p:cNvPr id="28" name="Shape 99">
              <a:extLst>
                <a:ext uri="{FF2B5EF4-FFF2-40B4-BE49-F238E27FC236}">
                  <a16:creationId xmlns:a16="http://schemas.microsoft.com/office/drawing/2014/main" id="{DD33FDC4-B0BB-04F7-03CD-ED92075AEEDC}"/>
                </a:ext>
              </a:extLst>
            </p:cNvPr>
            <p:cNvSpPr/>
            <p:nvPr/>
          </p:nvSpPr>
          <p:spPr>
            <a:xfrm>
              <a:off x="271125" y="921200"/>
              <a:ext cx="695775" cy="70775"/>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sp>
          <p:nvSpPr>
            <p:cNvPr id="34" name="Shape 100">
              <a:extLst>
                <a:ext uri="{FF2B5EF4-FFF2-40B4-BE49-F238E27FC236}">
                  <a16:creationId xmlns:a16="http://schemas.microsoft.com/office/drawing/2014/main" id="{D5D4D425-46E8-9ECE-A61D-770857B41B75}"/>
                </a:ext>
              </a:extLst>
            </p:cNvPr>
            <p:cNvSpPr/>
            <p:nvPr/>
          </p:nvSpPr>
          <p:spPr>
            <a:xfrm>
              <a:off x="858375" y="812725"/>
              <a:ext cx="179275" cy="221725"/>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grpSp>
      <p:grpSp>
        <p:nvGrpSpPr>
          <p:cNvPr id="35" name="Shape 98">
            <a:extLst>
              <a:ext uri="{FF2B5EF4-FFF2-40B4-BE49-F238E27FC236}">
                <a16:creationId xmlns:a16="http://schemas.microsoft.com/office/drawing/2014/main" id="{E5ADAC69-D606-04AB-668B-1456C10117EE}"/>
              </a:ext>
            </a:extLst>
          </p:cNvPr>
          <p:cNvGrpSpPr/>
          <p:nvPr/>
        </p:nvGrpSpPr>
        <p:grpSpPr>
          <a:xfrm rot="310810">
            <a:off x="8190180" y="2118019"/>
            <a:ext cx="434028" cy="386914"/>
            <a:chOff x="271125" y="812725"/>
            <a:chExt cx="766525" cy="221725"/>
          </a:xfrm>
          <a:solidFill>
            <a:srgbClr val="A3A196"/>
          </a:solidFill>
        </p:grpSpPr>
        <p:sp>
          <p:nvSpPr>
            <p:cNvPr id="38" name="Shape 99">
              <a:extLst>
                <a:ext uri="{FF2B5EF4-FFF2-40B4-BE49-F238E27FC236}">
                  <a16:creationId xmlns:a16="http://schemas.microsoft.com/office/drawing/2014/main" id="{3A6D175D-59B3-DB82-F422-13C5F36CBC99}"/>
                </a:ext>
              </a:extLst>
            </p:cNvPr>
            <p:cNvSpPr/>
            <p:nvPr/>
          </p:nvSpPr>
          <p:spPr>
            <a:xfrm>
              <a:off x="271125" y="921200"/>
              <a:ext cx="695775" cy="70775"/>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sp>
          <p:nvSpPr>
            <p:cNvPr id="39" name="Shape 100">
              <a:extLst>
                <a:ext uri="{FF2B5EF4-FFF2-40B4-BE49-F238E27FC236}">
                  <a16:creationId xmlns:a16="http://schemas.microsoft.com/office/drawing/2014/main" id="{1515DC17-4A10-84C7-46A5-63231AC956A7}"/>
                </a:ext>
              </a:extLst>
            </p:cNvPr>
            <p:cNvSpPr/>
            <p:nvPr/>
          </p:nvSpPr>
          <p:spPr>
            <a:xfrm>
              <a:off x="858375" y="812725"/>
              <a:ext cx="179275" cy="221725"/>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grpSp>
    </p:spTree>
    <p:extLst>
      <p:ext uri="{BB962C8B-B14F-4D97-AF65-F5344CB8AC3E}">
        <p14:creationId xmlns:p14="http://schemas.microsoft.com/office/powerpoint/2010/main" val="12328068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1EA2670-BE83-45AD-6B34-0F46454D663A}"/>
              </a:ext>
            </a:extLst>
          </p:cNvPr>
          <p:cNvSpPr>
            <a:spLocks noGrp="1"/>
          </p:cNvSpPr>
          <p:nvPr>
            <p:ph type="sldNum" sz="quarter" idx="17"/>
          </p:nvPr>
        </p:nvSpPr>
        <p:spPr/>
        <p:txBody>
          <a:bodyPr/>
          <a:lstStyle/>
          <a:p>
            <a:fld id="{23AA811B-2EBD-4900-905E-5BE206449611}" type="slidenum">
              <a:rPr lang="da-DK" smtClean="0"/>
              <a:pPr/>
              <a:t>46</a:t>
            </a:fld>
            <a:endParaRPr lang="da-DK"/>
          </a:p>
        </p:txBody>
      </p:sp>
      <p:sp>
        <p:nvSpPr>
          <p:cNvPr id="2" name="Title 1">
            <a:extLst>
              <a:ext uri="{FF2B5EF4-FFF2-40B4-BE49-F238E27FC236}">
                <a16:creationId xmlns:a16="http://schemas.microsoft.com/office/drawing/2014/main" id="{4DD2E10C-5495-4678-18E7-9A0054A0C6C1}"/>
              </a:ext>
            </a:extLst>
          </p:cNvPr>
          <p:cNvSpPr>
            <a:spLocks noGrp="1"/>
          </p:cNvSpPr>
          <p:nvPr>
            <p:ph type="ctrTitle"/>
          </p:nvPr>
        </p:nvSpPr>
        <p:spPr>
          <a:xfrm>
            <a:off x="3084830" y="2352640"/>
            <a:ext cx="6022340" cy="1984631"/>
          </a:xfrm>
        </p:spPr>
        <p:txBody>
          <a:bodyPr anchor="ctr"/>
          <a:lstStyle/>
          <a:p>
            <a:pPr algn="ctr"/>
            <a:r>
              <a:rPr lang="da-DK" sz="4800" b="1">
                <a:latin typeface="Amatic SC" panose="00000500000000000000" pitchFamily="2" charset="-79"/>
                <a:cs typeface="Amatic SC" panose="00000500000000000000" pitchFamily="2" charset="-79"/>
              </a:rPr>
              <a:t>Bilag til arbejdet med resultater på jeres skole</a:t>
            </a:r>
            <a:endParaRPr lang="da-DK" sz="4800"/>
          </a:p>
        </p:txBody>
      </p:sp>
    </p:spTree>
    <p:extLst>
      <p:ext uri="{BB962C8B-B14F-4D97-AF65-F5344CB8AC3E}">
        <p14:creationId xmlns:p14="http://schemas.microsoft.com/office/powerpoint/2010/main" val="40315279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Shape 397">
            <a:extLst>
              <a:ext uri="{FF2B5EF4-FFF2-40B4-BE49-F238E27FC236}">
                <a16:creationId xmlns:a16="http://schemas.microsoft.com/office/drawing/2014/main" id="{30B119FE-39A4-AF51-5505-F8FBE6EB1CAE}"/>
              </a:ext>
            </a:extLst>
          </p:cNvPr>
          <p:cNvSpPr>
            <a:spLocks noChangeAspect="1"/>
          </p:cNvSpPr>
          <p:nvPr/>
        </p:nvSpPr>
        <p:spPr>
          <a:xfrm>
            <a:off x="6877616" y="380246"/>
            <a:ext cx="4978610" cy="2650977"/>
          </a:xfrm>
          <a:custGeom>
            <a:avLst/>
            <a:gdLst/>
            <a:ahLst/>
            <a:cxnLst/>
            <a:rect l="0" t="0" r="0" b="0"/>
            <a:pathLst>
              <a:path w="65189" h="62358" extrusionOk="0">
                <a:moveTo>
                  <a:pt x="40283" y="1525"/>
                </a:moveTo>
                <a:lnTo>
                  <a:pt x="40000" y="1541"/>
                </a:lnTo>
                <a:lnTo>
                  <a:pt x="40000" y="1541"/>
                </a:lnTo>
                <a:lnTo>
                  <a:pt x="39811" y="1604"/>
                </a:lnTo>
                <a:lnTo>
                  <a:pt x="40283" y="1525"/>
                </a:lnTo>
                <a:close/>
                <a:moveTo>
                  <a:pt x="22547" y="1793"/>
                </a:moveTo>
                <a:lnTo>
                  <a:pt x="22359" y="1887"/>
                </a:lnTo>
                <a:lnTo>
                  <a:pt x="21981" y="2359"/>
                </a:lnTo>
                <a:lnTo>
                  <a:pt x="24057" y="1981"/>
                </a:lnTo>
                <a:lnTo>
                  <a:pt x="23208" y="2076"/>
                </a:lnTo>
                <a:lnTo>
                  <a:pt x="22925" y="1981"/>
                </a:lnTo>
                <a:lnTo>
                  <a:pt x="22642" y="1887"/>
                </a:lnTo>
                <a:lnTo>
                  <a:pt x="22642" y="1793"/>
                </a:lnTo>
                <a:close/>
                <a:moveTo>
                  <a:pt x="64528" y="13585"/>
                </a:moveTo>
                <a:lnTo>
                  <a:pt x="64528" y="13679"/>
                </a:lnTo>
                <a:lnTo>
                  <a:pt x="64551" y="13679"/>
                </a:lnTo>
                <a:lnTo>
                  <a:pt x="64528" y="13585"/>
                </a:lnTo>
                <a:close/>
                <a:moveTo>
                  <a:pt x="33868" y="58678"/>
                </a:moveTo>
                <a:lnTo>
                  <a:pt x="34057" y="58772"/>
                </a:lnTo>
                <a:lnTo>
                  <a:pt x="34057" y="58772"/>
                </a:lnTo>
                <a:lnTo>
                  <a:pt x="33962" y="58678"/>
                </a:lnTo>
                <a:close/>
                <a:moveTo>
                  <a:pt x="30849" y="58678"/>
                </a:moveTo>
                <a:lnTo>
                  <a:pt x="30943" y="58772"/>
                </a:lnTo>
                <a:lnTo>
                  <a:pt x="30283" y="58867"/>
                </a:lnTo>
                <a:lnTo>
                  <a:pt x="30472" y="58772"/>
                </a:lnTo>
                <a:lnTo>
                  <a:pt x="30849" y="58678"/>
                </a:lnTo>
                <a:close/>
                <a:moveTo>
                  <a:pt x="32264" y="59056"/>
                </a:moveTo>
                <a:lnTo>
                  <a:pt x="33113" y="59244"/>
                </a:lnTo>
                <a:lnTo>
                  <a:pt x="31698" y="59339"/>
                </a:lnTo>
                <a:lnTo>
                  <a:pt x="31415" y="59339"/>
                </a:lnTo>
                <a:lnTo>
                  <a:pt x="32264" y="59056"/>
                </a:lnTo>
                <a:close/>
                <a:moveTo>
                  <a:pt x="60849" y="0"/>
                </a:moveTo>
                <a:lnTo>
                  <a:pt x="58679" y="95"/>
                </a:lnTo>
                <a:lnTo>
                  <a:pt x="56792" y="189"/>
                </a:lnTo>
                <a:lnTo>
                  <a:pt x="58584" y="378"/>
                </a:lnTo>
                <a:lnTo>
                  <a:pt x="58301" y="189"/>
                </a:lnTo>
                <a:lnTo>
                  <a:pt x="59151" y="378"/>
                </a:lnTo>
                <a:lnTo>
                  <a:pt x="58679" y="472"/>
                </a:lnTo>
                <a:lnTo>
                  <a:pt x="58018" y="472"/>
                </a:lnTo>
                <a:lnTo>
                  <a:pt x="56792" y="283"/>
                </a:lnTo>
                <a:lnTo>
                  <a:pt x="55943" y="283"/>
                </a:lnTo>
                <a:lnTo>
                  <a:pt x="54528" y="378"/>
                </a:lnTo>
                <a:lnTo>
                  <a:pt x="50660" y="378"/>
                </a:lnTo>
                <a:lnTo>
                  <a:pt x="48585" y="472"/>
                </a:lnTo>
                <a:lnTo>
                  <a:pt x="46226" y="472"/>
                </a:lnTo>
                <a:lnTo>
                  <a:pt x="43868" y="283"/>
                </a:lnTo>
                <a:lnTo>
                  <a:pt x="44056" y="472"/>
                </a:lnTo>
                <a:lnTo>
                  <a:pt x="44339" y="472"/>
                </a:lnTo>
                <a:lnTo>
                  <a:pt x="43396" y="661"/>
                </a:lnTo>
                <a:lnTo>
                  <a:pt x="42170" y="849"/>
                </a:lnTo>
                <a:lnTo>
                  <a:pt x="40849" y="755"/>
                </a:lnTo>
                <a:lnTo>
                  <a:pt x="40377" y="661"/>
                </a:lnTo>
                <a:lnTo>
                  <a:pt x="39906" y="566"/>
                </a:lnTo>
                <a:lnTo>
                  <a:pt x="39717" y="566"/>
                </a:lnTo>
                <a:lnTo>
                  <a:pt x="38207" y="661"/>
                </a:lnTo>
                <a:lnTo>
                  <a:pt x="36509" y="944"/>
                </a:lnTo>
                <a:lnTo>
                  <a:pt x="34906" y="1132"/>
                </a:lnTo>
                <a:lnTo>
                  <a:pt x="33585" y="1132"/>
                </a:lnTo>
                <a:lnTo>
                  <a:pt x="33962" y="1038"/>
                </a:lnTo>
                <a:lnTo>
                  <a:pt x="33774" y="944"/>
                </a:lnTo>
                <a:lnTo>
                  <a:pt x="33396" y="944"/>
                </a:lnTo>
                <a:lnTo>
                  <a:pt x="32453" y="1038"/>
                </a:lnTo>
                <a:lnTo>
                  <a:pt x="30283" y="1321"/>
                </a:lnTo>
                <a:lnTo>
                  <a:pt x="30472" y="1415"/>
                </a:lnTo>
                <a:lnTo>
                  <a:pt x="30566" y="1510"/>
                </a:lnTo>
                <a:lnTo>
                  <a:pt x="29151" y="1604"/>
                </a:lnTo>
                <a:lnTo>
                  <a:pt x="29057" y="1698"/>
                </a:lnTo>
                <a:lnTo>
                  <a:pt x="29717" y="1698"/>
                </a:lnTo>
                <a:lnTo>
                  <a:pt x="28208" y="1793"/>
                </a:lnTo>
                <a:lnTo>
                  <a:pt x="27547" y="1793"/>
                </a:lnTo>
                <a:lnTo>
                  <a:pt x="27642" y="1698"/>
                </a:lnTo>
                <a:lnTo>
                  <a:pt x="28585" y="1510"/>
                </a:lnTo>
                <a:lnTo>
                  <a:pt x="27736" y="1604"/>
                </a:lnTo>
                <a:lnTo>
                  <a:pt x="26887" y="1698"/>
                </a:lnTo>
                <a:lnTo>
                  <a:pt x="26038" y="1698"/>
                </a:lnTo>
                <a:lnTo>
                  <a:pt x="25189" y="1793"/>
                </a:lnTo>
                <a:lnTo>
                  <a:pt x="25189" y="1793"/>
                </a:lnTo>
                <a:lnTo>
                  <a:pt x="25755" y="1698"/>
                </a:lnTo>
                <a:lnTo>
                  <a:pt x="24906" y="1793"/>
                </a:lnTo>
                <a:lnTo>
                  <a:pt x="24057" y="1981"/>
                </a:lnTo>
                <a:lnTo>
                  <a:pt x="25094" y="1887"/>
                </a:lnTo>
                <a:lnTo>
                  <a:pt x="26132" y="1981"/>
                </a:lnTo>
                <a:lnTo>
                  <a:pt x="24906" y="2264"/>
                </a:lnTo>
                <a:lnTo>
                  <a:pt x="23585" y="2359"/>
                </a:lnTo>
                <a:lnTo>
                  <a:pt x="23585" y="2453"/>
                </a:lnTo>
                <a:lnTo>
                  <a:pt x="23585" y="2547"/>
                </a:lnTo>
                <a:lnTo>
                  <a:pt x="25566" y="2359"/>
                </a:lnTo>
                <a:lnTo>
                  <a:pt x="27547" y="2264"/>
                </a:lnTo>
                <a:lnTo>
                  <a:pt x="29434" y="1981"/>
                </a:lnTo>
                <a:lnTo>
                  <a:pt x="30377" y="1793"/>
                </a:lnTo>
                <a:lnTo>
                  <a:pt x="31321" y="1604"/>
                </a:lnTo>
                <a:lnTo>
                  <a:pt x="30472" y="1887"/>
                </a:lnTo>
                <a:lnTo>
                  <a:pt x="30660" y="1981"/>
                </a:lnTo>
                <a:lnTo>
                  <a:pt x="31038" y="2076"/>
                </a:lnTo>
                <a:lnTo>
                  <a:pt x="31981" y="2170"/>
                </a:lnTo>
                <a:lnTo>
                  <a:pt x="33302" y="2170"/>
                </a:lnTo>
                <a:lnTo>
                  <a:pt x="34717" y="2076"/>
                </a:lnTo>
                <a:lnTo>
                  <a:pt x="37075" y="1887"/>
                </a:lnTo>
                <a:lnTo>
                  <a:pt x="37830" y="1793"/>
                </a:lnTo>
                <a:lnTo>
                  <a:pt x="37924" y="1698"/>
                </a:lnTo>
                <a:lnTo>
                  <a:pt x="38868" y="1604"/>
                </a:lnTo>
                <a:lnTo>
                  <a:pt x="38962" y="1510"/>
                </a:lnTo>
                <a:lnTo>
                  <a:pt x="38868" y="1510"/>
                </a:lnTo>
                <a:lnTo>
                  <a:pt x="38113" y="1415"/>
                </a:lnTo>
                <a:lnTo>
                  <a:pt x="40000" y="1510"/>
                </a:lnTo>
                <a:lnTo>
                  <a:pt x="38868" y="1604"/>
                </a:lnTo>
                <a:lnTo>
                  <a:pt x="40000" y="1541"/>
                </a:lnTo>
                <a:lnTo>
                  <a:pt x="40000" y="1541"/>
                </a:lnTo>
                <a:lnTo>
                  <a:pt x="40094" y="1510"/>
                </a:lnTo>
                <a:lnTo>
                  <a:pt x="40377" y="1510"/>
                </a:lnTo>
                <a:lnTo>
                  <a:pt x="40283" y="1525"/>
                </a:lnTo>
                <a:lnTo>
                  <a:pt x="40283" y="1525"/>
                </a:lnTo>
                <a:lnTo>
                  <a:pt x="40566" y="1510"/>
                </a:lnTo>
                <a:lnTo>
                  <a:pt x="41509" y="1604"/>
                </a:lnTo>
                <a:lnTo>
                  <a:pt x="44151" y="1415"/>
                </a:lnTo>
                <a:lnTo>
                  <a:pt x="45000" y="1321"/>
                </a:lnTo>
                <a:lnTo>
                  <a:pt x="44434" y="1321"/>
                </a:lnTo>
                <a:lnTo>
                  <a:pt x="45188" y="1132"/>
                </a:lnTo>
                <a:lnTo>
                  <a:pt x="45660" y="1227"/>
                </a:lnTo>
                <a:lnTo>
                  <a:pt x="45755" y="1227"/>
                </a:lnTo>
                <a:lnTo>
                  <a:pt x="45755" y="1321"/>
                </a:lnTo>
                <a:lnTo>
                  <a:pt x="45377" y="1321"/>
                </a:lnTo>
                <a:lnTo>
                  <a:pt x="46038" y="1415"/>
                </a:lnTo>
                <a:lnTo>
                  <a:pt x="46792" y="1321"/>
                </a:lnTo>
                <a:lnTo>
                  <a:pt x="46792" y="1227"/>
                </a:lnTo>
                <a:lnTo>
                  <a:pt x="46981" y="1321"/>
                </a:lnTo>
                <a:lnTo>
                  <a:pt x="47547" y="1321"/>
                </a:lnTo>
                <a:lnTo>
                  <a:pt x="47358" y="1510"/>
                </a:lnTo>
                <a:lnTo>
                  <a:pt x="46981" y="1510"/>
                </a:lnTo>
                <a:lnTo>
                  <a:pt x="46792" y="1415"/>
                </a:lnTo>
                <a:lnTo>
                  <a:pt x="43868" y="1698"/>
                </a:lnTo>
                <a:lnTo>
                  <a:pt x="45566" y="1698"/>
                </a:lnTo>
                <a:lnTo>
                  <a:pt x="47264" y="1604"/>
                </a:lnTo>
                <a:lnTo>
                  <a:pt x="50566" y="1321"/>
                </a:lnTo>
                <a:lnTo>
                  <a:pt x="52169" y="1227"/>
                </a:lnTo>
                <a:lnTo>
                  <a:pt x="55471" y="1227"/>
                </a:lnTo>
                <a:lnTo>
                  <a:pt x="57075" y="1415"/>
                </a:lnTo>
                <a:lnTo>
                  <a:pt x="56603" y="1321"/>
                </a:lnTo>
                <a:lnTo>
                  <a:pt x="56509" y="1227"/>
                </a:lnTo>
                <a:lnTo>
                  <a:pt x="57264" y="1132"/>
                </a:lnTo>
                <a:lnTo>
                  <a:pt x="58396" y="1227"/>
                </a:lnTo>
                <a:lnTo>
                  <a:pt x="58773" y="1227"/>
                </a:lnTo>
                <a:lnTo>
                  <a:pt x="58962" y="1321"/>
                </a:lnTo>
                <a:lnTo>
                  <a:pt x="59905" y="1321"/>
                </a:lnTo>
                <a:lnTo>
                  <a:pt x="61037" y="1510"/>
                </a:lnTo>
                <a:lnTo>
                  <a:pt x="61603" y="1698"/>
                </a:lnTo>
                <a:lnTo>
                  <a:pt x="62075" y="1887"/>
                </a:lnTo>
                <a:lnTo>
                  <a:pt x="62452" y="2076"/>
                </a:lnTo>
                <a:lnTo>
                  <a:pt x="62547" y="2359"/>
                </a:lnTo>
                <a:lnTo>
                  <a:pt x="62641" y="4528"/>
                </a:lnTo>
                <a:lnTo>
                  <a:pt x="62641" y="8113"/>
                </a:lnTo>
                <a:lnTo>
                  <a:pt x="62547" y="17547"/>
                </a:lnTo>
                <a:lnTo>
                  <a:pt x="62547" y="22547"/>
                </a:lnTo>
                <a:lnTo>
                  <a:pt x="62641" y="27075"/>
                </a:lnTo>
                <a:lnTo>
                  <a:pt x="62830" y="30849"/>
                </a:lnTo>
                <a:lnTo>
                  <a:pt x="62924" y="32169"/>
                </a:lnTo>
                <a:lnTo>
                  <a:pt x="63113" y="33207"/>
                </a:lnTo>
                <a:lnTo>
                  <a:pt x="63113" y="34528"/>
                </a:lnTo>
                <a:lnTo>
                  <a:pt x="63207" y="35943"/>
                </a:lnTo>
                <a:lnTo>
                  <a:pt x="63207" y="36886"/>
                </a:lnTo>
                <a:lnTo>
                  <a:pt x="63113" y="38396"/>
                </a:lnTo>
                <a:lnTo>
                  <a:pt x="62830" y="42358"/>
                </a:lnTo>
                <a:lnTo>
                  <a:pt x="62547" y="46509"/>
                </a:lnTo>
                <a:lnTo>
                  <a:pt x="62452" y="48207"/>
                </a:lnTo>
                <a:lnTo>
                  <a:pt x="62547" y="49527"/>
                </a:lnTo>
                <a:lnTo>
                  <a:pt x="62547" y="51131"/>
                </a:lnTo>
                <a:lnTo>
                  <a:pt x="62547" y="52735"/>
                </a:lnTo>
                <a:lnTo>
                  <a:pt x="62358" y="53584"/>
                </a:lnTo>
                <a:lnTo>
                  <a:pt x="62264" y="54339"/>
                </a:lnTo>
                <a:lnTo>
                  <a:pt x="61981" y="55093"/>
                </a:lnTo>
                <a:lnTo>
                  <a:pt x="61603" y="55754"/>
                </a:lnTo>
                <a:lnTo>
                  <a:pt x="61792" y="55754"/>
                </a:lnTo>
                <a:lnTo>
                  <a:pt x="61886" y="55565"/>
                </a:lnTo>
                <a:lnTo>
                  <a:pt x="62169" y="55376"/>
                </a:lnTo>
                <a:lnTo>
                  <a:pt x="62264" y="55565"/>
                </a:lnTo>
                <a:lnTo>
                  <a:pt x="62169" y="55754"/>
                </a:lnTo>
                <a:lnTo>
                  <a:pt x="61981" y="56225"/>
                </a:lnTo>
                <a:lnTo>
                  <a:pt x="61792" y="56037"/>
                </a:lnTo>
                <a:lnTo>
                  <a:pt x="61509" y="55754"/>
                </a:lnTo>
                <a:lnTo>
                  <a:pt x="61603" y="55942"/>
                </a:lnTo>
                <a:lnTo>
                  <a:pt x="61509" y="55942"/>
                </a:lnTo>
                <a:lnTo>
                  <a:pt x="61603" y="56037"/>
                </a:lnTo>
                <a:lnTo>
                  <a:pt x="60094" y="56320"/>
                </a:lnTo>
                <a:lnTo>
                  <a:pt x="58773" y="56414"/>
                </a:lnTo>
                <a:lnTo>
                  <a:pt x="57547" y="56508"/>
                </a:lnTo>
                <a:lnTo>
                  <a:pt x="56415" y="56508"/>
                </a:lnTo>
                <a:lnTo>
                  <a:pt x="56698" y="56320"/>
                </a:lnTo>
                <a:lnTo>
                  <a:pt x="56698" y="56320"/>
                </a:lnTo>
                <a:lnTo>
                  <a:pt x="56037" y="56508"/>
                </a:lnTo>
                <a:lnTo>
                  <a:pt x="54811" y="56886"/>
                </a:lnTo>
                <a:lnTo>
                  <a:pt x="53679" y="57074"/>
                </a:lnTo>
                <a:lnTo>
                  <a:pt x="53868" y="56791"/>
                </a:lnTo>
                <a:lnTo>
                  <a:pt x="54245" y="56697"/>
                </a:lnTo>
                <a:lnTo>
                  <a:pt x="53019" y="56886"/>
                </a:lnTo>
                <a:lnTo>
                  <a:pt x="51698" y="56980"/>
                </a:lnTo>
                <a:lnTo>
                  <a:pt x="50943" y="57074"/>
                </a:lnTo>
                <a:lnTo>
                  <a:pt x="51132" y="57169"/>
                </a:lnTo>
                <a:lnTo>
                  <a:pt x="48962" y="57452"/>
                </a:lnTo>
                <a:lnTo>
                  <a:pt x="48962" y="57357"/>
                </a:lnTo>
                <a:lnTo>
                  <a:pt x="48019" y="57452"/>
                </a:lnTo>
                <a:lnTo>
                  <a:pt x="47641" y="57452"/>
                </a:lnTo>
                <a:lnTo>
                  <a:pt x="46604" y="57546"/>
                </a:lnTo>
                <a:lnTo>
                  <a:pt x="44717" y="57546"/>
                </a:lnTo>
                <a:lnTo>
                  <a:pt x="44339" y="57452"/>
                </a:lnTo>
                <a:lnTo>
                  <a:pt x="45000" y="57263"/>
                </a:lnTo>
                <a:lnTo>
                  <a:pt x="40000" y="57829"/>
                </a:lnTo>
                <a:lnTo>
                  <a:pt x="38019" y="58206"/>
                </a:lnTo>
                <a:lnTo>
                  <a:pt x="37547" y="58018"/>
                </a:lnTo>
                <a:lnTo>
                  <a:pt x="37075" y="58018"/>
                </a:lnTo>
                <a:lnTo>
                  <a:pt x="36698" y="58112"/>
                </a:lnTo>
                <a:lnTo>
                  <a:pt x="36415" y="58301"/>
                </a:lnTo>
                <a:lnTo>
                  <a:pt x="36038" y="58301"/>
                </a:lnTo>
                <a:lnTo>
                  <a:pt x="36038" y="58395"/>
                </a:lnTo>
                <a:lnTo>
                  <a:pt x="36321" y="58395"/>
                </a:lnTo>
                <a:lnTo>
                  <a:pt x="36132" y="58678"/>
                </a:lnTo>
                <a:lnTo>
                  <a:pt x="37075" y="58678"/>
                </a:lnTo>
                <a:lnTo>
                  <a:pt x="37830" y="58584"/>
                </a:lnTo>
                <a:lnTo>
                  <a:pt x="38585" y="58489"/>
                </a:lnTo>
                <a:lnTo>
                  <a:pt x="39434" y="58489"/>
                </a:lnTo>
                <a:lnTo>
                  <a:pt x="38585" y="58867"/>
                </a:lnTo>
                <a:lnTo>
                  <a:pt x="37358" y="59244"/>
                </a:lnTo>
                <a:lnTo>
                  <a:pt x="36792" y="59339"/>
                </a:lnTo>
                <a:lnTo>
                  <a:pt x="36226" y="59339"/>
                </a:lnTo>
                <a:lnTo>
                  <a:pt x="35755" y="59244"/>
                </a:lnTo>
                <a:lnTo>
                  <a:pt x="35566" y="59056"/>
                </a:lnTo>
                <a:lnTo>
                  <a:pt x="35472" y="58867"/>
                </a:lnTo>
                <a:lnTo>
                  <a:pt x="36509" y="58772"/>
                </a:lnTo>
                <a:lnTo>
                  <a:pt x="35377" y="58678"/>
                </a:lnTo>
                <a:lnTo>
                  <a:pt x="34151" y="58772"/>
                </a:lnTo>
                <a:lnTo>
                  <a:pt x="34057" y="58772"/>
                </a:lnTo>
                <a:lnTo>
                  <a:pt x="33208" y="58961"/>
                </a:lnTo>
                <a:lnTo>
                  <a:pt x="32264" y="59056"/>
                </a:lnTo>
                <a:lnTo>
                  <a:pt x="32264" y="59056"/>
                </a:lnTo>
                <a:lnTo>
                  <a:pt x="33113" y="58867"/>
                </a:lnTo>
                <a:lnTo>
                  <a:pt x="31887" y="58489"/>
                </a:lnTo>
                <a:lnTo>
                  <a:pt x="31132" y="58395"/>
                </a:lnTo>
                <a:lnTo>
                  <a:pt x="31038" y="58301"/>
                </a:lnTo>
                <a:lnTo>
                  <a:pt x="31132" y="58301"/>
                </a:lnTo>
                <a:lnTo>
                  <a:pt x="31509" y="58206"/>
                </a:lnTo>
                <a:lnTo>
                  <a:pt x="30660" y="58206"/>
                </a:lnTo>
                <a:lnTo>
                  <a:pt x="30283" y="58301"/>
                </a:lnTo>
                <a:lnTo>
                  <a:pt x="29906" y="58489"/>
                </a:lnTo>
                <a:lnTo>
                  <a:pt x="29151" y="58678"/>
                </a:lnTo>
                <a:lnTo>
                  <a:pt x="29340" y="58584"/>
                </a:lnTo>
                <a:lnTo>
                  <a:pt x="29434" y="58395"/>
                </a:lnTo>
                <a:lnTo>
                  <a:pt x="29434" y="58395"/>
                </a:lnTo>
                <a:lnTo>
                  <a:pt x="28585" y="58489"/>
                </a:lnTo>
                <a:lnTo>
                  <a:pt x="28491" y="58584"/>
                </a:lnTo>
                <a:lnTo>
                  <a:pt x="28396" y="58678"/>
                </a:lnTo>
                <a:lnTo>
                  <a:pt x="27736" y="58867"/>
                </a:lnTo>
                <a:lnTo>
                  <a:pt x="25660" y="59150"/>
                </a:lnTo>
                <a:lnTo>
                  <a:pt x="22170" y="59622"/>
                </a:lnTo>
                <a:lnTo>
                  <a:pt x="22359" y="59527"/>
                </a:lnTo>
                <a:lnTo>
                  <a:pt x="22359" y="59433"/>
                </a:lnTo>
                <a:lnTo>
                  <a:pt x="22264" y="59433"/>
                </a:lnTo>
                <a:lnTo>
                  <a:pt x="22453" y="59244"/>
                </a:lnTo>
                <a:lnTo>
                  <a:pt x="22453" y="59056"/>
                </a:lnTo>
                <a:lnTo>
                  <a:pt x="21132" y="59339"/>
                </a:lnTo>
                <a:lnTo>
                  <a:pt x="19246" y="59716"/>
                </a:lnTo>
                <a:lnTo>
                  <a:pt x="18208" y="59810"/>
                </a:lnTo>
                <a:lnTo>
                  <a:pt x="17264" y="59905"/>
                </a:lnTo>
                <a:lnTo>
                  <a:pt x="16415" y="59905"/>
                </a:lnTo>
                <a:lnTo>
                  <a:pt x="15849" y="59810"/>
                </a:lnTo>
                <a:lnTo>
                  <a:pt x="14246" y="59810"/>
                </a:lnTo>
                <a:lnTo>
                  <a:pt x="11981" y="59999"/>
                </a:lnTo>
                <a:lnTo>
                  <a:pt x="11981" y="59999"/>
                </a:lnTo>
                <a:lnTo>
                  <a:pt x="12359" y="59905"/>
                </a:lnTo>
                <a:lnTo>
                  <a:pt x="12736" y="59716"/>
                </a:lnTo>
                <a:lnTo>
                  <a:pt x="11415" y="59905"/>
                </a:lnTo>
                <a:lnTo>
                  <a:pt x="10000" y="60093"/>
                </a:lnTo>
                <a:lnTo>
                  <a:pt x="7076" y="60188"/>
                </a:lnTo>
                <a:lnTo>
                  <a:pt x="4151" y="60376"/>
                </a:lnTo>
                <a:lnTo>
                  <a:pt x="2831" y="60471"/>
                </a:lnTo>
                <a:lnTo>
                  <a:pt x="1604" y="60659"/>
                </a:lnTo>
                <a:lnTo>
                  <a:pt x="1227" y="59244"/>
                </a:lnTo>
                <a:lnTo>
                  <a:pt x="1038" y="57735"/>
                </a:lnTo>
                <a:lnTo>
                  <a:pt x="850" y="56131"/>
                </a:lnTo>
                <a:lnTo>
                  <a:pt x="755" y="54433"/>
                </a:lnTo>
                <a:lnTo>
                  <a:pt x="755" y="52735"/>
                </a:lnTo>
                <a:lnTo>
                  <a:pt x="755" y="50942"/>
                </a:lnTo>
                <a:lnTo>
                  <a:pt x="1038" y="47263"/>
                </a:lnTo>
                <a:lnTo>
                  <a:pt x="1321" y="43678"/>
                </a:lnTo>
                <a:lnTo>
                  <a:pt x="1699" y="39999"/>
                </a:lnTo>
                <a:lnTo>
                  <a:pt x="2453" y="33301"/>
                </a:lnTo>
                <a:lnTo>
                  <a:pt x="2548" y="33962"/>
                </a:lnTo>
                <a:lnTo>
                  <a:pt x="2642" y="34622"/>
                </a:lnTo>
                <a:lnTo>
                  <a:pt x="2642" y="33018"/>
                </a:lnTo>
                <a:lnTo>
                  <a:pt x="2551" y="32287"/>
                </a:lnTo>
                <a:lnTo>
                  <a:pt x="2642" y="30000"/>
                </a:lnTo>
                <a:lnTo>
                  <a:pt x="2453" y="30377"/>
                </a:lnTo>
                <a:lnTo>
                  <a:pt x="2453" y="29245"/>
                </a:lnTo>
                <a:lnTo>
                  <a:pt x="2453" y="27830"/>
                </a:lnTo>
                <a:lnTo>
                  <a:pt x="2642" y="28301"/>
                </a:lnTo>
                <a:lnTo>
                  <a:pt x="2736" y="28018"/>
                </a:lnTo>
                <a:lnTo>
                  <a:pt x="2831" y="28018"/>
                </a:lnTo>
                <a:lnTo>
                  <a:pt x="2925" y="28207"/>
                </a:lnTo>
                <a:lnTo>
                  <a:pt x="3019" y="26415"/>
                </a:lnTo>
                <a:lnTo>
                  <a:pt x="3019" y="24811"/>
                </a:lnTo>
                <a:lnTo>
                  <a:pt x="3019" y="23113"/>
                </a:lnTo>
                <a:lnTo>
                  <a:pt x="3019" y="22170"/>
                </a:lnTo>
                <a:lnTo>
                  <a:pt x="3208" y="21320"/>
                </a:lnTo>
                <a:lnTo>
                  <a:pt x="3302" y="19528"/>
                </a:lnTo>
                <a:lnTo>
                  <a:pt x="3302" y="17641"/>
                </a:lnTo>
                <a:lnTo>
                  <a:pt x="3302" y="16887"/>
                </a:lnTo>
                <a:lnTo>
                  <a:pt x="3208" y="16321"/>
                </a:lnTo>
                <a:lnTo>
                  <a:pt x="3397" y="16415"/>
                </a:lnTo>
                <a:lnTo>
                  <a:pt x="3585" y="11981"/>
                </a:lnTo>
                <a:lnTo>
                  <a:pt x="3680" y="11415"/>
                </a:lnTo>
                <a:lnTo>
                  <a:pt x="3680" y="11698"/>
                </a:lnTo>
                <a:lnTo>
                  <a:pt x="3774" y="11132"/>
                </a:lnTo>
                <a:lnTo>
                  <a:pt x="3868" y="10660"/>
                </a:lnTo>
                <a:lnTo>
                  <a:pt x="3774" y="10094"/>
                </a:lnTo>
                <a:lnTo>
                  <a:pt x="3680" y="9623"/>
                </a:lnTo>
                <a:lnTo>
                  <a:pt x="3774" y="9434"/>
                </a:lnTo>
                <a:lnTo>
                  <a:pt x="3868" y="9245"/>
                </a:lnTo>
                <a:lnTo>
                  <a:pt x="4057" y="8491"/>
                </a:lnTo>
                <a:lnTo>
                  <a:pt x="4340" y="6321"/>
                </a:lnTo>
                <a:lnTo>
                  <a:pt x="4623" y="2264"/>
                </a:lnTo>
                <a:lnTo>
                  <a:pt x="3491" y="7170"/>
                </a:lnTo>
                <a:lnTo>
                  <a:pt x="2925" y="9906"/>
                </a:lnTo>
                <a:lnTo>
                  <a:pt x="2359" y="12736"/>
                </a:lnTo>
                <a:lnTo>
                  <a:pt x="1982" y="15377"/>
                </a:lnTo>
                <a:lnTo>
                  <a:pt x="1699" y="17830"/>
                </a:lnTo>
                <a:lnTo>
                  <a:pt x="1510" y="19905"/>
                </a:lnTo>
                <a:lnTo>
                  <a:pt x="1604" y="20754"/>
                </a:lnTo>
                <a:lnTo>
                  <a:pt x="1699" y="21509"/>
                </a:lnTo>
                <a:lnTo>
                  <a:pt x="1321" y="22453"/>
                </a:lnTo>
                <a:lnTo>
                  <a:pt x="1133" y="23585"/>
                </a:lnTo>
                <a:lnTo>
                  <a:pt x="1038" y="24905"/>
                </a:lnTo>
                <a:lnTo>
                  <a:pt x="1038" y="26226"/>
                </a:lnTo>
                <a:lnTo>
                  <a:pt x="1038" y="28962"/>
                </a:lnTo>
                <a:lnTo>
                  <a:pt x="1038" y="31415"/>
                </a:lnTo>
                <a:lnTo>
                  <a:pt x="661" y="40188"/>
                </a:lnTo>
                <a:lnTo>
                  <a:pt x="472" y="44999"/>
                </a:lnTo>
                <a:lnTo>
                  <a:pt x="378" y="49622"/>
                </a:lnTo>
                <a:lnTo>
                  <a:pt x="472" y="51603"/>
                </a:lnTo>
                <a:lnTo>
                  <a:pt x="378" y="53961"/>
                </a:lnTo>
                <a:lnTo>
                  <a:pt x="189" y="53301"/>
                </a:lnTo>
                <a:lnTo>
                  <a:pt x="95" y="52641"/>
                </a:lnTo>
                <a:lnTo>
                  <a:pt x="189" y="53867"/>
                </a:lnTo>
                <a:lnTo>
                  <a:pt x="189" y="55093"/>
                </a:lnTo>
                <a:lnTo>
                  <a:pt x="378" y="55188"/>
                </a:lnTo>
                <a:lnTo>
                  <a:pt x="284" y="56508"/>
                </a:lnTo>
                <a:lnTo>
                  <a:pt x="95" y="54905"/>
                </a:lnTo>
                <a:lnTo>
                  <a:pt x="1" y="58489"/>
                </a:lnTo>
                <a:lnTo>
                  <a:pt x="1" y="62357"/>
                </a:lnTo>
                <a:lnTo>
                  <a:pt x="6038" y="61886"/>
                </a:lnTo>
                <a:lnTo>
                  <a:pt x="8963" y="61697"/>
                </a:lnTo>
                <a:lnTo>
                  <a:pt x="11698" y="61603"/>
                </a:lnTo>
                <a:lnTo>
                  <a:pt x="11698" y="61414"/>
                </a:lnTo>
                <a:lnTo>
                  <a:pt x="11887" y="61225"/>
                </a:lnTo>
                <a:lnTo>
                  <a:pt x="12264" y="61225"/>
                </a:lnTo>
                <a:lnTo>
                  <a:pt x="12548" y="61320"/>
                </a:lnTo>
                <a:lnTo>
                  <a:pt x="12736" y="61414"/>
                </a:lnTo>
                <a:lnTo>
                  <a:pt x="12642" y="61320"/>
                </a:lnTo>
                <a:lnTo>
                  <a:pt x="13302" y="61508"/>
                </a:lnTo>
                <a:lnTo>
                  <a:pt x="13302" y="61508"/>
                </a:lnTo>
                <a:lnTo>
                  <a:pt x="12736" y="61414"/>
                </a:lnTo>
                <a:lnTo>
                  <a:pt x="13019" y="61508"/>
                </a:lnTo>
                <a:lnTo>
                  <a:pt x="12736" y="61603"/>
                </a:lnTo>
                <a:lnTo>
                  <a:pt x="12831" y="61697"/>
                </a:lnTo>
                <a:lnTo>
                  <a:pt x="14246" y="61508"/>
                </a:lnTo>
                <a:lnTo>
                  <a:pt x="13491" y="61508"/>
                </a:lnTo>
                <a:lnTo>
                  <a:pt x="14717" y="61225"/>
                </a:lnTo>
                <a:lnTo>
                  <a:pt x="16038" y="61131"/>
                </a:lnTo>
                <a:lnTo>
                  <a:pt x="18962" y="61131"/>
                </a:lnTo>
                <a:lnTo>
                  <a:pt x="19151" y="61225"/>
                </a:lnTo>
                <a:lnTo>
                  <a:pt x="19623" y="61320"/>
                </a:lnTo>
                <a:lnTo>
                  <a:pt x="21227" y="61320"/>
                </a:lnTo>
                <a:lnTo>
                  <a:pt x="23302" y="61225"/>
                </a:lnTo>
                <a:lnTo>
                  <a:pt x="24245" y="61131"/>
                </a:lnTo>
                <a:lnTo>
                  <a:pt x="25094" y="60942"/>
                </a:lnTo>
                <a:lnTo>
                  <a:pt x="28868" y="60848"/>
                </a:lnTo>
                <a:lnTo>
                  <a:pt x="32642" y="60659"/>
                </a:lnTo>
                <a:lnTo>
                  <a:pt x="36415" y="60376"/>
                </a:lnTo>
                <a:lnTo>
                  <a:pt x="40283" y="60093"/>
                </a:lnTo>
                <a:lnTo>
                  <a:pt x="47830" y="59339"/>
                </a:lnTo>
                <a:lnTo>
                  <a:pt x="55377" y="58678"/>
                </a:lnTo>
                <a:lnTo>
                  <a:pt x="61037" y="58678"/>
                </a:lnTo>
                <a:lnTo>
                  <a:pt x="62264" y="58584"/>
                </a:lnTo>
                <a:lnTo>
                  <a:pt x="63207" y="58395"/>
                </a:lnTo>
                <a:lnTo>
                  <a:pt x="63490" y="58206"/>
                </a:lnTo>
                <a:lnTo>
                  <a:pt x="63773" y="58018"/>
                </a:lnTo>
                <a:lnTo>
                  <a:pt x="63962" y="57735"/>
                </a:lnTo>
                <a:lnTo>
                  <a:pt x="64150" y="57357"/>
                </a:lnTo>
                <a:lnTo>
                  <a:pt x="64339" y="56225"/>
                </a:lnTo>
                <a:lnTo>
                  <a:pt x="64528" y="54716"/>
                </a:lnTo>
                <a:lnTo>
                  <a:pt x="64528" y="53018"/>
                </a:lnTo>
                <a:lnTo>
                  <a:pt x="64622" y="49810"/>
                </a:lnTo>
                <a:lnTo>
                  <a:pt x="64622" y="47546"/>
                </a:lnTo>
                <a:lnTo>
                  <a:pt x="64905" y="40848"/>
                </a:lnTo>
                <a:lnTo>
                  <a:pt x="64999" y="36320"/>
                </a:lnTo>
                <a:lnTo>
                  <a:pt x="65094" y="33301"/>
                </a:lnTo>
                <a:lnTo>
                  <a:pt x="65188" y="33396"/>
                </a:lnTo>
                <a:lnTo>
                  <a:pt x="65188" y="31603"/>
                </a:lnTo>
                <a:lnTo>
                  <a:pt x="65188" y="29811"/>
                </a:lnTo>
                <a:lnTo>
                  <a:pt x="65094" y="30660"/>
                </a:lnTo>
                <a:lnTo>
                  <a:pt x="64905" y="28301"/>
                </a:lnTo>
                <a:lnTo>
                  <a:pt x="64811" y="25849"/>
                </a:lnTo>
                <a:lnTo>
                  <a:pt x="64716" y="23302"/>
                </a:lnTo>
                <a:lnTo>
                  <a:pt x="64622" y="20849"/>
                </a:lnTo>
                <a:lnTo>
                  <a:pt x="64811" y="22075"/>
                </a:lnTo>
                <a:lnTo>
                  <a:pt x="64811" y="20754"/>
                </a:lnTo>
                <a:lnTo>
                  <a:pt x="64811" y="18962"/>
                </a:lnTo>
                <a:lnTo>
                  <a:pt x="64811" y="18868"/>
                </a:lnTo>
                <a:lnTo>
                  <a:pt x="64716" y="17358"/>
                </a:lnTo>
                <a:lnTo>
                  <a:pt x="64811" y="18113"/>
                </a:lnTo>
                <a:lnTo>
                  <a:pt x="64999" y="16981"/>
                </a:lnTo>
                <a:lnTo>
                  <a:pt x="64905" y="15755"/>
                </a:lnTo>
                <a:lnTo>
                  <a:pt x="64811" y="14528"/>
                </a:lnTo>
                <a:lnTo>
                  <a:pt x="64716" y="13396"/>
                </a:lnTo>
                <a:lnTo>
                  <a:pt x="64622" y="13679"/>
                </a:lnTo>
                <a:lnTo>
                  <a:pt x="64551" y="13679"/>
                </a:lnTo>
                <a:lnTo>
                  <a:pt x="64622" y="13962"/>
                </a:lnTo>
                <a:lnTo>
                  <a:pt x="64716" y="15000"/>
                </a:lnTo>
                <a:lnTo>
                  <a:pt x="64528" y="14623"/>
                </a:lnTo>
                <a:lnTo>
                  <a:pt x="64528" y="15094"/>
                </a:lnTo>
                <a:lnTo>
                  <a:pt x="64339" y="12736"/>
                </a:lnTo>
                <a:lnTo>
                  <a:pt x="64150" y="11698"/>
                </a:lnTo>
                <a:lnTo>
                  <a:pt x="64056" y="11604"/>
                </a:lnTo>
                <a:lnTo>
                  <a:pt x="64056" y="11226"/>
                </a:lnTo>
                <a:lnTo>
                  <a:pt x="64245" y="10566"/>
                </a:lnTo>
                <a:lnTo>
                  <a:pt x="64245" y="9811"/>
                </a:lnTo>
                <a:lnTo>
                  <a:pt x="64245" y="9560"/>
                </a:lnTo>
                <a:lnTo>
                  <a:pt x="64433" y="10189"/>
                </a:lnTo>
                <a:lnTo>
                  <a:pt x="64622" y="11604"/>
                </a:lnTo>
                <a:lnTo>
                  <a:pt x="64811" y="13019"/>
                </a:lnTo>
                <a:lnTo>
                  <a:pt x="64905" y="14151"/>
                </a:lnTo>
                <a:lnTo>
                  <a:pt x="64905" y="12830"/>
                </a:lnTo>
                <a:lnTo>
                  <a:pt x="64811" y="11698"/>
                </a:lnTo>
                <a:lnTo>
                  <a:pt x="64528" y="9340"/>
                </a:lnTo>
                <a:lnTo>
                  <a:pt x="64433" y="9528"/>
                </a:lnTo>
                <a:lnTo>
                  <a:pt x="64433" y="9340"/>
                </a:lnTo>
                <a:lnTo>
                  <a:pt x="64245" y="8585"/>
                </a:lnTo>
                <a:lnTo>
                  <a:pt x="64150" y="7264"/>
                </a:lnTo>
                <a:lnTo>
                  <a:pt x="64056" y="9434"/>
                </a:lnTo>
                <a:lnTo>
                  <a:pt x="63773" y="8868"/>
                </a:lnTo>
                <a:lnTo>
                  <a:pt x="63679" y="7925"/>
                </a:lnTo>
                <a:lnTo>
                  <a:pt x="63584" y="6792"/>
                </a:lnTo>
                <a:lnTo>
                  <a:pt x="63490" y="5566"/>
                </a:lnTo>
                <a:lnTo>
                  <a:pt x="63490" y="1227"/>
                </a:lnTo>
                <a:lnTo>
                  <a:pt x="63490" y="661"/>
                </a:lnTo>
                <a:lnTo>
                  <a:pt x="63396" y="566"/>
                </a:lnTo>
                <a:lnTo>
                  <a:pt x="63207" y="378"/>
                </a:lnTo>
                <a:lnTo>
                  <a:pt x="62641" y="189"/>
                </a:lnTo>
                <a:lnTo>
                  <a:pt x="61792" y="95"/>
                </a:lnTo>
                <a:lnTo>
                  <a:pt x="60849" y="0"/>
                </a:lnTo>
                <a:close/>
              </a:path>
            </a:pathLst>
          </a:custGeom>
          <a:solidFill>
            <a:schemeClr val="accent5"/>
          </a:solidFill>
          <a:ln>
            <a:noFill/>
          </a:ln>
        </p:spPr>
        <p:txBody>
          <a:bodyPr spcFirstLastPara="1" wrap="square" lIns="302702" tIns="302702" rIns="302702" bIns="302702" anchor="ctr" anchorCtr="0">
            <a:noAutofit/>
          </a:bodyPr>
          <a:lstStyle/>
          <a:p>
            <a:pPr defTabSz="3027425" fontAlgn="auto">
              <a:spcBef>
                <a:spcPts val="0"/>
              </a:spcBef>
              <a:spcAft>
                <a:spcPts val="0"/>
              </a:spcAft>
              <a:buClr>
                <a:srgbClr val="000000"/>
              </a:buClr>
              <a:buNone/>
            </a:pPr>
            <a:endParaRPr sz="4635" kern="0" spc="0">
              <a:solidFill>
                <a:srgbClr val="000000"/>
              </a:solidFill>
              <a:latin typeface="Arial"/>
              <a:cs typeface="Arial"/>
              <a:sym typeface="Arial"/>
            </a:endParaRPr>
          </a:p>
        </p:txBody>
      </p:sp>
      <p:sp>
        <p:nvSpPr>
          <p:cNvPr id="35" name="Shape 397">
            <a:extLst>
              <a:ext uri="{FF2B5EF4-FFF2-40B4-BE49-F238E27FC236}">
                <a16:creationId xmlns:a16="http://schemas.microsoft.com/office/drawing/2014/main" id="{737F0402-A836-5B93-FA1D-4D50E652A4E5}"/>
              </a:ext>
            </a:extLst>
          </p:cNvPr>
          <p:cNvSpPr>
            <a:spLocks noChangeAspect="1"/>
          </p:cNvSpPr>
          <p:nvPr/>
        </p:nvSpPr>
        <p:spPr>
          <a:xfrm>
            <a:off x="335774" y="3429000"/>
            <a:ext cx="4978610" cy="2650977"/>
          </a:xfrm>
          <a:custGeom>
            <a:avLst/>
            <a:gdLst/>
            <a:ahLst/>
            <a:cxnLst/>
            <a:rect l="0" t="0" r="0" b="0"/>
            <a:pathLst>
              <a:path w="65189" h="62358" extrusionOk="0">
                <a:moveTo>
                  <a:pt x="40283" y="1525"/>
                </a:moveTo>
                <a:lnTo>
                  <a:pt x="40000" y="1541"/>
                </a:lnTo>
                <a:lnTo>
                  <a:pt x="40000" y="1541"/>
                </a:lnTo>
                <a:lnTo>
                  <a:pt x="39811" y="1604"/>
                </a:lnTo>
                <a:lnTo>
                  <a:pt x="40283" y="1525"/>
                </a:lnTo>
                <a:close/>
                <a:moveTo>
                  <a:pt x="22547" y="1793"/>
                </a:moveTo>
                <a:lnTo>
                  <a:pt x="22359" y="1887"/>
                </a:lnTo>
                <a:lnTo>
                  <a:pt x="21981" y="2359"/>
                </a:lnTo>
                <a:lnTo>
                  <a:pt x="24057" y="1981"/>
                </a:lnTo>
                <a:lnTo>
                  <a:pt x="23208" y="2076"/>
                </a:lnTo>
                <a:lnTo>
                  <a:pt x="22925" y="1981"/>
                </a:lnTo>
                <a:lnTo>
                  <a:pt x="22642" y="1887"/>
                </a:lnTo>
                <a:lnTo>
                  <a:pt x="22642" y="1793"/>
                </a:lnTo>
                <a:close/>
                <a:moveTo>
                  <a:pt x="64528" y="13585"/>
                </a:moveTo>
                <a:lnTo>
                  <a:pt x="64528" y="13679"/>
                </a:lnTo>
                <a:lnTo>
                  <a:pt x="64551" y="13679"/>
                </a:lnTo>
                <a:lnTo>
                  <a:pt x="64528" y="13585"/>
                </a:lnTo>
                <a:close/>
                <a:moveTo>
                  <a:pt x="33868" y="58678"/>
                </a:moveTo>
                <a:lnTo>
                  <a:pt x="34057" y="58772"/>
                </a:lnTo>
                <a:lnTo>
                  <a:pt x="34057" y="58772"/>
                </a:lnTo>
                <a:lnTo>
                  <a:pt x="33962" y="58678"/>
                </a:lnTo>
                <a:close/>
                <a:moveTo>
                  <a:pt x="30849" y="58678"/>
                </a:moveTo>
                <a:lnTo>
                  <a:pt x="30943" y="58772"/>
                </a:lnTo>
                <a:lnTo>
                  <a:pt x="30283" y="58867"/>
                </a:lnTo>
                <a:lnTo>
                  <a:pt x="30472" y="58772"/>
                </a:lnTo>
                <a:lnTo>
                  <a:pt x="30849" y="58678"/>
                </a:lnTo>
                <a:close/>
                <a:moveTo>
                  <a:pt x="32264" y="59056"/>
                </a:moveTo>
                <a:lnTo>
                  <a:pt x="33113" y="59244"/>
                </a:lnTo>
                <a:lnTo>
                  <a:pt x="31698" y="59339"/>
                </a:lnTo>
                <a:lnTo>
                  <a:pt x="31415" y="59339"/>
                </a:lnTo>
                <a:lnTo>
                  <a:pt x="32264" y="59056"/>
                </a:lnTo>
                <a:close/>
                <a:moveTo>
                  <a:pt x="60849" y="0"/>
                </a:moveTo>
                <a:lnTo>
                  <a:pt x="58679" y="95"/>
                </a:lnTo>
                <a:lnTo>
                  <a:pt x="56792" y="189"/>
                </a:lnTo>
                <a:lnTo>
                  <a:pt x="58584" y="378"/>
                </a:lnTo>
                <a:lnTo>
                  <a:pt x="58301" y="189"/>
                </a:lnTo>
                <a:lnTo>
                  <a:pt x="59151" y="378"/>
                </a:lnTo>
                <a:lnTo>
                  <a:pt x="58679" y="472"/>
                </a:lnTo>
                <a:lnTo>
                  <a:pt x="58018" y="472"/>
                </a:lnTo>
                <a:lnTo>
                  <a:pt x="56792" y="283"/>
                </a:lnTo>
                <a:lnTo>
                  <a:pt x="55943" y="283"/>
                </a:lnTo>
                <a:lnTo>
                  <a:pt x="54528" y="378"/>
                </a:lnTo>
                <a:lnTo>
                  <a:pt x="50660" y="378"/>
                </a:lnTo>
                <a:lnTo>
                  <a:pt x="48585" y="472"/>
                </a:lnTo>
                <a:lnTo>
                  <a:pt x="46226" y="472"/>
                </a:lnTo>
                <a:lnTo>
                  <a:pt x="43868" y="283"/>
                </a:lnTo>
                <a:lnTo>
                  <a:pt x="44056" y="472"/>
                </a:lnTo>
                <a:lnTo>
                  <a:pt x="44339" y="472"/>
                </a:lnTo>
                <a:lnTo>
                  <a:pt x="43396" y="661"/>
                </a:lnTo>
                <a:lnTo>
                  <a:pt x="42170" y="849"/>
                </a:lnTo>
                <a:lnTo>
                  <a:pt x="40849" y="755"/>
                </a:lnTo>
                <a:lnTo>
                  <a:pt x="40377" y="661"/>
                </a:lnTo>
                <a:lnTo>
                  <a:pt x="39906" y="566"/>
                </a:lnTo>
                <a:lnTo>
                  <a:pt x="39717" y="566"/>
                </a:lnTo>
                <a:lnTo>
                  <a:pt x="38207" y="661"/>
                </a:lnTo>
                <a:lnTo>
                  <a:pt x="36509" y="944"/>
                </a:lnTo>
                <a:lnTo>
                  <a:pt x="34906" y="1132"/>
                </a:lnTo>
                <a:lnTo>
                  <a:pt x="33585" y="1132"/>
                </a:lnTo>
                <a:lnTo>
                  <a:pt x="33962" y="1038"/>
                </a:lnTo>
                <a:lnTo>
                  <a:pt x="33774" y="944"/>
                </a:lnTo>
                <a:lnTo>
                  <a:pt x="33396" y="944"/>
                </a:lnTo>
                <a:lnTo>
                  <a:pt x="32453" y="1038"/>
                </a:lnTo>
                <a:lnTo>
                  <a:pt x="30283" y="1321"/>
                </a:lnTo>
                <a:lnTo>
                  <a:pt x="30472" y="1415"/>
                </a:lnTo>
                <a:lnTo>
                  <a:pt x="30566" y="1510"/>
                </a:lnTo>
                <a:lnTo>
                  <a:pt x="29151" y="1604"/>
                </a:lnTo>
                <a:lnTo>
                  <a:pt x="29057" y="1698"/>
                </a:lnTo>
                <a:lnTo>
                  <a:pt x="29717" y="1698"/>
                </a:lnTo>
                <a:lnTo>
                  <a:pt x="28208" y="1793"/>
                </a:lnTo>
                <a:lnTo>
                  <a:pt x="27547" y="1793"/>
                </a:lnTo>
                <a:lnTo>
                  <a:pt x="27642" y="1698"/>
                </a:lnTo>
                <a:lnTo>
                  <a:pt x="28585" y="1510"/>
                </a:lnTo>
                <a:lnTo>
                  <a:pt x="27736" y="1604"/>
                </a:lnTo>
                <a:lnTo>
                  <a:pt x="26887" y="1698"/>
                </a:lnTo>
                <a:lnTo>
                  <a:pt x="26038" y="1698"/>
                </a:lnTo>
                <a:lnTo>
                  <a:pt x="25189" y="1793"/>
                </a:lnTo>
                <a:lnTo>
                  <a:pt x="25189" y="1793"/>
                </a:lnTo>
                <a:lnTo>
                  <a:pt x="25755" y="1698"/>
                </a:lnTo>
                <a:lnTo>
                  <a:pt x="24906" y="1793"/>
                </a:lnTo>
                <a:lnTo>
                  <a:pt x="24057" y="1981"/>
                </a:lnTo>
                <a:lnTo>
                  <a:pt x="25094" y="1887"/>
                </a:lnTo>
                <a:lnTo>
                  <a:pt x="26132" y="1981"/>
                </a:lnTo>
                <a:lnTo>
                  <a:pt x="24906" y="2264"/>
                </a:lnTo>
                <a:lnTo>
                  <a:pt x="23585" y="2359"/>
                </a:lnTo>
                <a:lnTo>
                  <a:pt x="23585" y="2453"/>
                </a:lnTo>
                <a:lnTo>
                  <a:pt x="23585" y="2547"/>
                </a:lnTo>
                <a:lnTo>
                  <a:pt x="25566" y="2359"/>
                </a:lnTo>
                <a:lnTo>
                  <a:pt x="27547" y="2264"/>
                </a:lnTo>
                <a:lnTo>
                  <a:pt x="29434" y="1981"/>
                </a:lnTo>
                <a:lnTo>
                  <a:pt x="30377" y="1793"/>
                </a:lnTo>
                <a:lnTo>
                  <a:pt x="31321" y="1604"/>
                </a:lnTo>
                <a:lnTo>
                  <a:pt x="30472" y="1887"/>
                </a:lnTo>
                <a:lnTo>
                  <a:pt x="30660" y="1981"/>
                </a:lnTo>
                <a:lnTo>
                  <a:pt x="31038" y="2076"/>
                </a:lnTo>
                <a:lnTo>
                  <a:pt x="31981" y="2170"/>
                </a:lnTo>
                <a:lnTo>
                  <a:pt x="33302" y="2170"/>
                </a:lnTo>
                <a:lnTo>
                  <a:pt x="34717" y="2076"/>
                </a:lnTo>
                <a:lnTo>
                  <a:pt x="37075" y="1887"/>
                </a:lnTo>
                <a:lnTo>
                  <a:pt x="37830" y="1793"/>
                </a:lnTo>
                <a:lnTo>
                  <a:pt x="37924" y="1698"/>
                </a:lnTo>
                <a:lnTo>
                  <a:pt x="38868" y="1604"/>
                </a:lnTo>
                <a:lnTo>
                  <a:pt x="38962" y="1510"/>
                </a:lnTo>
                <a:lnTo>
                  <a:pt x="38868" y="1510"/>
                </a:lnTo>
                <a:lnTo>
                  <a:pt x="38113" y="1415"/>
                </a:lnTo>
                <a:lnTo>
                  <a:pt x="40000" y="1510"/>
                </a:lnTo>
                <a:lnTo>
                  <a:pt x="38868" y="1604"/>
                </a:lnTo>
                <a:lnTo>
                  <a:pt x="40000" y="1541"/>
                </a:lnTo>
                <a:lnTo>
                  <a:pt x="40000" y="1541"/>
                </a:lnTo>
                <a:lnTo>
                  <a:pt x="40094" y="1510"/>
                </a:lnTo>
                <a:lnTo>
                  <a:pt x="40377" y="1510"/>
                </a:lnTo>
                <a:lnTo>
                  <a:pt x="40283" y="1525"/>
                </a:lnTo>
                <a:lnTo>
                  <a:pt x="40283" y="1525"/>
                </a:lnTo>
                <a:lnTo>
                  <a:pt x="40566" y="1510"/>
                </a:lnTo>
                <a:lnTo>
                  <a:pt x="41509" y="1604"/>
                </a:lnTo>
                <a:lnTo>
                  <a:pt x="44151" y="1415"/>
                </a:lnTo>
                <a:lnTo>
                  <a:pt x="45000" y="1321"/>
                </a:lnTo>
                <a:lnTo>
                  <a:pt x="44434" y="1321"/>
                </a:lnTo>
                <a:lnTo>
                  <a:pt x="45188" y="1132"/>
                </a:lnTo>
                <a:lnTo>
                  <a:pt x="45660" y="1227"/>
                </a:lnTo>
                <a:lnTo>
                  <a:pt x="45755" y="1227"/>
                </a:lnTo>
                <a:lnTo>
                  <a:pt x="45755" y="1321"/>
                </a:lnTo>
                <a:lnTo>
                  <a:pt x="45377" y="1321"/>
                </a:lnTo>
                <a:lnTo>
                  <a:pt x="46038" y="1415"/>
                </a:lnTo>
                <a:lnTo>
                  <a:pt x="46792" y="1321"/>
                </a:lnTo>
                <a:lnTo>
                  <a:pt x="46792" y="1227"/>
                </a:lnTo>
                <a:lnTo>
                  <a:pt x="46981" y="1321"/>
                </a:lnTo>
                <a:lnTo>
                  <a:pt x="47547" y="1321"/>
                </a:lnTo>
                <a:lnTo>
                  <a:pt x="47358" y="1510"/>
                </a:lnTo>
                <a:lnTo>
                  <a:pt x="46981" y="1510"/>
                </a:lnTo>
                <a:lnTo>
                  <a:pt x="46792" y="1415"/>
                </a:lnTo>
                <a:lnTo>
                  <a:pt x="43868" y="1698"/>
                </a:lnTo>
                <a:lnTo>
                  <a:pt x="45566" y="1698"/>
                </a:lnTo>
                <a:lnTo>
                  <a:pt x="47264" y="1604"/>
                </a:lnTo>
                <a:lnTo>
                  <a:pt x="50566" y="1321"/>
                </a:lnTo>
                <a:lnTo>
                  <a:pt x="52169" y="1227"/>
                </a:lnTo>
                <a:lnTo>
                  <a:pt x="55471" y="1227"/>
                </a:lnTo>
                <a:lnTo>
                  <a:pt x="57075" y="1415"/>
                </a:lnTo>
                <a:lnTo>
                  <a:pt x="56603" y="1321"/>
                </a:lnTo>
                <a:lnTo>
                  <a:pt x="56509" y="1227"/>
                </a:lnTo>
                <a:lnTo>
                  <a:pt x="57264" y="1132"/>
                </a:lnTo>
                <a:lnTo>
                  <a:pt x="58396" y="1227"/>
                </a:lnTo>
                <a:lnTo>
                  <a:pt x="58773" y="1227"/>
                </a:lnTo>
                <a:lnTo>
                  <a:pt x="58962" y="1321"/>
                </a:lnTo>
                <a:lnTo>
                  <a:pt x="59905" y="1321"/>
                </a:lnTo>
                <a:lnTo>
                  <a:pt x="61037" y="1510"/>
                </a:lnTo>
                <a:lnTo>
                  <a:pt x="61603" y="1698"/>
                </a:lnTo>
                <a:lnTo>
                  <a:pt x="62075" y="1887"/>
                </a:lnTo>
                <a:lnTo>
                  <a:pt x="62452" y="2076"/>
                </a:lnTo>
                <a:lnTo>
                  <a:pt x="62547" y="2359"/>
                </a:lnTo>
                <a:lnTo>
                  <a:pt x="62641" y="4528"/>
                </a:lnTo>
                <a:lnTo>
                  <a:pt x="62641" y="8113"/>
                </a:lnTo>
                <a:lnTo>
                  <a:pt x="62547" y="17547"/>
                </a:lnTo>
                <a:lnTo>
                  <a:pt x="62547" y="22547"/>
                </a:lnTo>
                <a:lnTo>
                  <a:pt x="62641" y="27075"/>
                </a:lnTo>
                <a:lnTo>
                  <a:pt x="62830" y="30849"/>
                </a:lnTo>
                <a:lnTo>
                  <a:pt x="62924" y="32169"/>
                </a:lnTo>
                <a:lnTo>
                  <a:pt x="63113" y="33207"/>
                </a:lnTo>
                <a:lnTo>
                  <a:pt x="63113" y="34528"/>
                </a:lnTo>
                <a:lnTo>
                  <a:pt x="63207" y="35943"/>
                </a:lnTo>
                <a:lnTo>
                  <a:pt x="63207" y="36886"/>
                </a:lnTo>
                <a:lnTo>
                  <a:pt x="63113" y="38396"/>
                </a:lnTo>
                <a:lnTo>
                  <a:pt x="62830" y="42358"/>
                </a:lnTo>
                <a:lnTo>
                  <a:pt x="62547" y="46509"/>
                </a:lnTo>
                <a:lnTo>
                  <a:pt x="62452" y="48207"/>
                </a:lnTo>
                <a:lnTo>
                  <a:pt x="62547" y="49527"/>
                </a:lnTo>
                <a:lnTo>
                  <a:pt x="62547" y="51131"/>
                </a:lnTo>
                <a:lnTo>
                  <a:pt x="62547" y="52735"/>
                </a:lnTo>
                <a:lnTo>
                  <a:pt x="62358" y="53584"/>
                </a:lnTo>
                <a:lnTo>
                  <a:pt x="62264" y="54339"/>
                </a:lnTo>
                <a:lnTo>
                  <a:pt x="61981" y="55093"/>
                </a:lnTo>
                <a:lnTo>
                  <a:pt x="61603" y="55754"/>
                </a:lnTo>
                <a:lnTo>
                  <a:pt x="61792" y="55754"/>
                </a:lnTo>
                <a:lnTo>
                  <a:pt x="61886" y="55565"/>
                </a:lnTo>
                <a:lnTo>
                  <a:pt x="62169" y="55376"/>
                </a:lnTo>
                <a:lnTo>
                  <a:pt x="62264" y="55565"/>
                </a:lnTo>
                <a:lnTo>
                  <a:pt x="62169" y="55754"/>
                </a:lnTo>
                <a:lnTo>
                  <a:pt x="61981" y="56225"/>
                </a:lnTo>
                <a:lnTo>
                  <a:pt x="61792" y="56037"/>
                </a:lnTo>
                <a:lnTo>
                  <a:pt x="61509" y="55754"/>
                </a:lnTo>
                <a:lnTo>
                  <a:pt x="61603" y="55942"/>
                </a:lnTo>
                <a:lnTo>
                  <a:pt x="61509" y="55942"/>
                </a:lnTo>
                <a:lnTo>
                  <a:pt x="61603" y="56037"/>
                </a:lnTo>
                <a:lnTo>
                  <a:pt x="60094" y="56320"/>
                </a:lnTo>
                <a:lnTo>
                  <a:pt x="58773" y="56414"/>
                </a:lnTo>
                <a:lnTo>
                  <a:pt x="57547" y="56508"/>
                </a:lnTo>
                <a:lnTo>
                  <a:pt x="56415" y="56508"/>
                </a:lnTo>
                <a:lnTo>
                  <a:pt x="56698" y="56320"/>
                </a:lnTo>
                <a:lnTo>
                  <a:pt x="56698" y="56320"/>
                </a:lnTo>
                <a:lnTo>
                  <a:pt x="56037" y="56508"/>
                </a:lnTo>
                <a:lnTo>
                  <a:pt x="54811" y="56886"/>
                </a:lnTo>
                <a:lnTo>
                  <a:pt x="53679" y="57074"/>
                </a:lnTo>
                <a:lnTo>
                  <a:pt x="53868" y="56791"/>
                </a:lnTo>
                <a:lnTo>
                  <a:pt x="54245" y="56697"/>
                </a:lnTo>
                <a:lnTo>
                  <a:pt x="53019" y="56886"/>
                </a:lnTo>
                <a:lnTo>
                  <a:pt x="51698" y="56980"/>
                </a:lnTo>
                <a:lnTo>
                  <a:pt x="50943" y="57074"/>
                </a:lnTo>
                <a:lnTo>
                  <a:pt x="51132" y="57169"/>
                </a:lnTo>
                <a:lnTo>
                  <a:pt x="48962" y="57452"/>
                </a:lnTo>
                <a:lnTo>
                  <a:pt x="48962" y="57357"/>
                </a:lnTo>
                <a:lnTo>
                  <a:pt x="48019" y="57452"/>
                </a:lnTo>
                <a:lnTo>
                  <a:pt x="47641" y="57452"/>
                </a:lnTo>
                <a:lnTo>
                  <a:pt x="46604" y="57546"/>
                </a:lnTo>
                <a:lnTo>
                  <a:pt x="44717" y="57546"/>
                </a:lnTo>
                <a:lnTo>
                  <a:pt x="44339" y="57452"/>
                </a:lnTo>
                <a:lnTo>
                  <a:pt x="45000" y="57263"/>
                </a:lnTo>
                <a:lnTo>
                  <a:pt x="40000" y="57829"/>
                </a:lnTo>
                <a:lnTo>
                  <a:pt x="38019" y="58206"/>
                </a:lnTo>
                <a:lnTo>
                  <a:pt x="37547" y="58018"/>
                </a:lnTo>
                <a:lnTo>
                  <a:pt x="37075" y="58018"/>
                </a:lnTo>
                <a:lnTo>
                  <a:pt x="36698" y="58112"/>
                </a:lnTo>
                <a:lnTo>
                  <a:pt x="36415" y="58301"/>
                </a:lnTo>
                <a:lnTo>
                  <a:pt x="36038" y="58301"/>
                </a:lnTo>
                <a:lnTo>
                  <a:pt x="36038" y="58395"/>
                </a:lnTo>
                <a:lnTo>
                  <a:pt x="36321" y="58395"/>
                </a:lnTo>
                <a:lnTo>
                  <a:pt x="36132" y="58678"/>
                </a:lnTo>
                <a:lnTo>
                  <a:pt x="37075" y="58678"/>
                </a:lnTo>
                <a:lnTo>
                  <a:pt x="37830" y="58584"/>
                </a:lnTo>
                <a:lnTo>
                  <a:pt x="38585" y="58489"/>
                </a:lnTo>
                <a:lnTo>
                  <a:pt x="39434" y="58489"/>
                </a:lnTo>
                <a:lnTo>
                  <a:pt x="38585" y="58867"/>
                </a:lnTo>
                <a:lnTo>
                  <a:pt x="37358" y="59244"/>
                </a:lnTo>
                <a:lnTo>
                  <a:pt x="36792" y="59339"/>
                </a:lnTo>
                <a:lnTo>
                  <a:pt x="36226" y="59339"/>
                </a:lnTo>
                <a:lnTo>
                  <a:pt x="35755" y="59244"/>
                </a:lnTo>
                <a:lnTo>
                  <a:pt x="35566" y="59056"/>
                </a:lnTo>
                <a:lnTo>
                  <a:pt x="35472" y="58867"/>
                </a:lnTo>
                <a:lnTo>
                  <a:pt x="36509" y="58772"/>
                </a:lnTo>
                <a:lnTo>
                  <a:pt x="35377" y="58678"/>
                </a:lnTo>
                <a:lnTo>
                  <a:pt x="34151" y="58772"/>
                </a:lnTo>
                <a:lnTo>
                  <a:pt x="34057" y="58772"/>
                </a:lnTo>
                <a:lnTo>
                  <a:pt x="33208" y="58961"/>
                </a:lnTo>
                <a:lnTo>
                  <a:pt x="32264" y="59056"/>
                </a:lnTo>
                <a:lnTo>
                  <a:pt x="32264" y="59056"/>
                </a:lnTo>
                <a:lnTo>
                  <a:pt x="33113" y="58867"/>
                </a:lnTo>
                <a:lnTo>
                  <a:pt x="31887" y="58489"/>
                </a:lnTo>
                <a:lnTo>
                  <a:pt x="31132" y="58395"/>
                </a:lnTo>
                <a:lnTo>
                  <a:pt x="31038" y="58301"/>
                </a:lnTo>
                <a:lnTo>
                  <a:pt x="31132" y="58301"/>
                </a:lnTo>
                <a:lnTo>
                  <a:pt x="31509" y="58206"/>
                </a:lnTo>
                <a:lnTo>
                  <a:pt x="30660" y="58206"/>
                </a:lnTo>
                <a:lnTo>
                  <a:pt x="30283" y="58301"/>
                </a:lnTo>
                <a:lnTo>
                  <a:pt x="29906" y="58489"/>
                </a:lnTo>
                <a:lnTo>
                  <a:pt x="29151" y="58678"/>
                </a:lnTo>
                <a:lnTo>
                  <a:pt x="29340" y="58584"/>
                </a:lnTo>
                <a:lnTo>
                  <a:pt x="29434" y="58395"/>
                </a:lnTo>
                <a:lnTo>
                  <a:pt x="29434" y="58395"/>
                </a:lnTo>
                <a:lnTo>
                  <a:pt x="28585" y="58489"/>
                </a:lnTo>
                <a:lnTo>
                  <a:pt x="28491" y="58584"/>
                </a:lnTo>
                <a:lnTo>
                  <a:pt x="28396" y="58678"/>
                </a:lnTo>
                <a:lnTo>
                  <a:pt x="27736" y="58867"/>
                </a:lnTo>
                <a:lnTo>
                  <a:pt x="25660" y="59150"/>
                </a:lnTo>
                <a:lnTo>
                  <a:pt x="22170" y="59622"/>
                </a:lnTo>
                <a:lnTo>
                  <a:pt x="22359" y="59527"/>
                </a:lnTo>
                <a:lnTo>
                  <a:pt x="22359" y="59433"/>
                </a:lnTo>
                <a:lnTo>
                  <a:pt x="22264" y="59433"/>
                </a:lnTo>
                <a:lnTo>
                  <a:pt x="22453" y="59244"/>
                </a:lnTo>
                <a:lnTo>
                  <a:pt x="22453" y="59056"/>
                </a:lnTo>
                <a:lnTo>
                  <a:pt x="21132" y="59339"/>
                </a:lnTo>
                <a:lnTo>
                  <a:pt x="19246" y="59716"/>
                </a:lnTo>
                <a:lnTo>
                  <a:pt x="18208" y="59810"/>
                </a:lnTo>
                <a:lnTo>
                  <a:pt x="17264" y="59905"/>
                </a:lnTo>
                <a:lnTo>
                  <a:pt x="16415" y="59905"/>
                </a:lnTo>
                <a:lnTo>
                  <a:pt x="15849" y="59810"/>
                </a:lnTo>
                <a:lnTo>
                  <a:pt x="14246" y="59810"/>
                </a:lnTo>
                <a:lnTo>
                  <a:pt x="11981" y="59999"/>
                </a:lnTo>
                <a:lnTo>
                  <a:pt x="11981" y="59999"/>
                </a:lnTo>
                <a:lnTo>
                  <a:pt x="12359" y="59905"/>
                </a:lnTo>
                <a:lnTo>
                  <a:pt x="12736" y="59716"/>
                </a:lnTo>
                <a:lnTo>
                  <a:pt x="11415" y="59905"/>
                </a:lnTo>
                <a:lnTo>
                  <a:pt x="10000" y="60093"/>
                </a:lnTo>
                <a:lnTo>
                  <a:pt x="7076" y="60188"/>
                </a:lnTo>
                <a:lnTo>
                  <a:pt x="4151" y="60376"/>
                </a:lnTo>
                <a:lnTo>
                  <a:pt x="2831" y="60471"/>
                </a:lnTo>
                <a:lnTo>
                  <a:pt x="1604" y="60659"/>
                </a:lnTo>
                <a:lnTo>
                  <a:pt x="1227" y="59244"/>
                </a:lnTo>
                <a:lnTo>
                  <a:pt x="1038" y="57735"/>
                </a:lnTo>
                <a:lnTo>
                  <a:pt x="850" y="56131"/>
                </a:lnTo>
                <a:lnTo>
                  <a:pt x="755" y="54433"/>
                </a:lnTo>
                <a:lnTo>
                  <a:pt x="755" y="52735"/>
                </a:lnTo>
                <a:lnTo>
                  <a:pt x="755" y="50942"/>
                </a:lnTo>
                <a:lnTo>
                  <a:pt x="1038" y="47263"/>
                </a:lnTo>
                <a:lnTo>
                  <a:pt x="1321" y="43678"/>
                </a:lnTo>
                <a:lnTo>
                  <a:pt x="1699" y="39999"/>
                </a:lnTo>
                <a:lnTo>
                  <a:pt x="2453" y="33301"/>
                </a:lnTo>
                <a:lnTo>
                  <a:pt x="2548" y="33962"/>
                </a:lnTo>
                <a:lnTo>
                  <a:pt x="2642" y="34622"/>
                </a:lnTo>
                <a:lnTo>
                  <a:pt x="2642" y="33018"/>
                </a:lnTo>
                <a:lnTo>
                  <a:pt x="2551" y="32287"/>
                </a:lnTo>
                <a:lnTo>
                  <a:pt x="2642" y="30000"/>
                </a:lnTo>
                <a:lnTo>
                  <a:pt x="2453" y="30377"/>
                </a:lnTo>
                <a:lnTo>
                  <a:pt x="2453" y="29245"/>
                </a:lnTo>
                <a:lnTo>
                  <a:pt x="2453" y="27830"/>
                </a:lnTo>
                <a:lnTo>
                  <a:pt x="2642" y="28301"/>
                </a:lnTo>
                <a:lnTo>
                  <a:pt x="2736" y="28018"/>
                </a:lnTo>
                <a:lnTo>
                  <a:pt x="2831" y="28018"/>
                </a:lnTo>
                <a:lnTo>
                  <a:pt x="2925" y="28207"/>
                </a:lnTo>
                <a:lnTo>
                  <a:pt x="3019" y="26415"/>
                </a:lnTo>
                <a:lnTo>
                  <a:pt x="3019" y="24811"/>
                </a:lnTo>
                <a:lnTo>
                  <a:pt x="3019" y="23113"/>
                </a:lnTo>
                <a:lnTo>
                  <a:pt x="3019" y="22170"/>
                </a:lnTo>
                <a:lnTo>
                  <a:pt x="3208" y="21320"/>
                </a:lnTo>
                <a:lnTo>
                  <a:pt x="3302" y="19528"/>
                </a:lnTo>
                <a:lnTo>
                  <a:pt x="3302" y="17641"/>
                </a:lnTo>
                <a:lnTo>
                  <a:pt x="3302" y="16887"/>
                </a:lnTo>
                <a:lnTo>
                  <a:pt x="3208" y="16321"/>
                </a:lnTo>
                <a:lnTo>
                  <a:pt x="3397" y="16415"/>
                </a:lnTo>
                <a:lnTo>
                  <a:pt x="3585" y="11981"/>
                </a:lnTo>
                <a:lnTo>
                  <a:pt x="3680" y="11415"/>
                </a:lnTo>
                <a:lnTo>
                  <a:pt x="3680" y="11698"/>
                </a:lnTo>
                <a:lnTo>
                  <a:pt x="3774" y="11132"/>
                </a:lnTo>
                <a:lnTo>
                  <a:pt x="3868" y="10660"/>
                </a:lnTo>
                <a:lnTo>
                  <a:pt x="3774" y="10094"/>
                </a:lnTo>
                <a:lnTo>
                  <a:pt x="3680" y="9623"/>
                </a:lnTo>
                <a:lnTo>
                  <a:pt x="3774" y="9434"/>
                </a:lnTo>
                <a:lnTo>
                  <a:pt x="3868" y="9245"/>
                </a:lnTo>
                <a:lnTo>
                  <a:pt x="4057" y="8491"/>
                </a:lnTo>
                <a:lnTo>
                  <a:pt x="4340" y="6321"/>
                </a:lnTo>
                <a:lnTo>
                  <a:pt x="4623" y="2264"/>
                </a:lnTo>
                <a:lnTo>
                  <a:pt x="3491" y="7170"/>
                </a:lnTo>
                <a:lnTo>
                  <a:pt x="2925" y="9906"/>
                </a:lnTo>
                <a:lnTo>
                  <a:pt x="2359" y="12736"/>
                </a:lnTo>
                <a:lnTo>
                  <a:pt x="1982" y="15377"/>
                </a:lnTo>
                <a:lnTo>
                  <a:pt x="1699" y="17830"/>
                </a:lnTo>
                <a:lnTo>
                  <a:pt x="1510" y="19905"/>
                </a:lnTo>
                <a:lnTo>
                  <a:pt x="1604" y="20754"/>
                </a:lnTo>
                <a:lnTo>
                  <a:pt x="1699" y="21509"/>
                </a:lnTo>
                <a:lnTo>
                  <a:pt x="1321" y="22453"/>
                </a:lnTo>
                <a:lnTo>
                  <a:pt x="1133" y="23585"/>
                </a:lnTo>
                <a:lnTo>
                  <a:pt x="1038" y="24905"/>
                </a:lnTo>
                <a:lnTo>
                  <a:pt x="1038" y="26226"/>
                </a:lnTo>
                <a:lnTo>
                  <a:pt x="1038" y="28962"/>
                </a:lnTo>
                <a:lnTo>
                  <a:pt x="1038" y="31415"/>
                </a:lnTo>
                <a:lnTo>
                  <a:pt x="661" y="40188"/>
                </a:lnTo>
                <a:lnTo>
                  <a:pt x="472" y="44999"/>
                </a:lnTo>
                <a:lnTo>
                  <a:pt x="378" y="49622"/>
                </a:lnTo>
                <a:lnTo>
                  <a:pt x="472" y="51603"/>
                </a:lnTo>
                <a:lnTo>
                  <a:pt x="378" y="53961"/>
                </a:lnTo>
                <a:lnTo>
                  <a:pt x="189" y="53301"/>
                </a:lnTo>
                <a:lnTo>
                  <a:pt x="95" y="52641"/>
                </a:lnTo>
                <a:lnTo>
                  <a:pt x="189" y="53867"/>
                </a:lnTo>
                <a:lnTo>
                  <a:pt x="189" y="55093"/>
                </a:lnTo>
                <a:lnTo>
                  <a:pt x="378" y="55188"/>
                </a:lnTo>
                <a:lnTo>
                  <a:pt x="284" y="56508"/>
                </a:lnTo>
                <a:lnTo>
                  <a:pt x="95" y="54905"/>
                </a:lnTo>
                <a:lnTo>
                  <a:pt x="1" y="58489"/>
                </a:lnTo>
                <a:lnTo>
                  <a:pt x="1" y="62357"/>
                </a:lnTo>
                <a:lnTo>
                  <a:pt x="6038" y="61886"/>
                </a:lnTo>
                <a:lnTo>
                  <a:pt x="8963" y="61697"/>
                </a:lnTo>
                <a:lnTo>
                  <a:pt x="11698" y="61603"/>
                </a:lnTo>
                <a:lnTo>
                  <a:pt x="11698" y="61414"/>
                </a:lnTo>
                <a:lnTo>
                  <a:pt x="11887" y="61225"/>
                </a:lnTo>
                <a:lnTo>
                  <a:pt x="12264" y="61225"/>
                </a:lnTo>
                <a:lnTo>
                  <a:pt x="12548" y="61320"/>
                </a:lnTo>
                <a:lnTo>
                  <a:pt x="12736" y="61414"/>
                </a:lnTo>
                <a:lnTo>
                  <a:pt x="12642" y="61320"/>
                </a:lnTo>
                <a:lnTo>
                  <a:pt x="13302" y="61508"/>
                </a:lnTo>
                <a:lnTo>
                  <a:pt x="13302" y="61508"/>
                </a:lnTo>
                <a:lnTo>
                  <a:pt x="12736" y="61414"/>
                </a:lnTo>
                <a:lnTo>
                  <a:pt x="13019" y="61508"/>
                </a:lnTo>
                <a:lnTo>
                  <a:pt x="12736" y="61603"/>
                </a:lnTo>
                <a:lnTo>
                  <a:pt x="12831" y="61697"/>
                </a:lnTo>
                <a:lnTo>
                  <a:pt x="14246" y="61508"/>
                </a:lnTo>
                <a:lnTo>
                  <a:pt x="13491" y="61508"/>
                </a:lnTo>
                <a:lnTo>
                  <a:pt x="14717" y="61225"/>
                </a:lnTo>
                <a:lnTo>
                  <a:pt x="16038" y="61131"/>
                </a:lnTo>
                <a:lnTo>
                  <a:pt x="18962" y="61131"/>
                </a:lnTo>
                <a:lnTo>
                  <a:pt x="19151" y="61225"/>
                </a:lnTo>
                <a:lnTo>
                  <a:pt x="19623" y="61320"/>
                </a:lnTo>
                <a:lnTo>
                  <a:pt x="21227" y="61320"/>
                </a:lnTo>
                <a:lnTo>
                  <a:pt x="23302" y="61225"/>
                </a:lnTo>
                <a:lnTo>
                  <a:pt x="24245" y="61131"/>
                </a:lnTo>
                <a:lnTo>
                  <a:pt x="25094" y="60942"/>
                </a:lnTo>
                <a:lnTo>
                  <a:pt x="28868" y="60848"/>
                </a:lnTo>
                <a:lnTo>
                  <a:pt x="32642" y="60659"/>
                </a:lnTo>
                <a:lnTo>
                  <a:pt x="36415" y="60376"/>
                </a:lnTo>
                <a:lnTo>
                  <a:pt x="40283" y="60093"/>
                </a:lnTo>
                <a:lnTo>
                  <a:pt x="47830" y="59339"/>
                </a:lnTo>
                <a:lnTo>
                  <a:pt x="55377" y="58678"/>
                </a:lnTo>
                <a:lnTo>
                  <a:pt x="61037" y="58678"/>
                </a:lnTo>
                <a:lnTo>
                  <a:pt x="62264" y="58584"/>
                </a:lnTo>
                <a:lnTo>
                  <a:pt x="63207" y="58395"/>
                </a:lnTo>
                <a:lnTo>
                  <a:pt x="63490" y="58206"/>
                </a:lnTo>
                <a:lnTo>
                  <a:pt x="63773" y="58018"/>
                </a:lnTo>
                <a:lnTo>
                  <a:pt x="63962" y="57735"/>
                </a:lnTo>
                <a:lnTo>
                  <a:pt x="64150" y="57357"/>
                </a:lnTo>
                <a:lnTo>
                  <a:pt x="64339" y="56225"/>
                </a:lnTo>
                <a:lnTo>
                  <a:pt x="64528" y="54716"/>
                </a:lnTo>
                <a:lnTo>
                  <a:pt x="64528" y="53018"/>
                </a:lnTo>
                <a:lnTo>
                  <a:pt x="64622" y="49810"/>
                </a:lnTo>
                <a:lnTo>
                  <a:pt x="64622" y="47546"/>
                </a:lnTo>
                <a:lnTo>
                  <a:pt x="64905" y="40848"/>
                </a:lnTo>
                <a:lnTo>
                  <a:pt x="64999" y="36320"/>
                </a:lnTo>
                <a:lnTo>
                  <a:pt x="65094" y="33301"/>
                </a:lnTo>
                <a:lnTo>
                  <a:pt x="65188" y="33396"/>
                </a:lnTo>
                <a:lnTo>
                  <a:pt x="65188" y="31603"/>
                </a:lnTo>
                <a:lnTo>
                  <a:pt x="65188" y="29811"/>
                </a:lnTo>
                <a:lnTo>
                  <a:pt x="65094" y="30660"/>
                </a:lnTo>
                <a:lnTo>
                  <a:pt x="64905" y="28301"/>
                </a:lnTo>
                <a:lnTo>
                  <a:pt x="64811" y="25849"/>
                </a:lnTo>
                <a:lnTo>
                  <a:pt x="64716" y="23302"/>
                </a:lnTo>
                <a:lnTo>
                  <a:pt x="64622" y="20849"/>
                </a:lnTo>
                <a:lnTo>
                  <a:pt x="64811" y="22075"/>
                </a:lnTo>
                <a:lnTo>
                  <a:pt x="64811" y="20754"/>
                </a:lnTo>
                <a:lnTo>
                  <a:pt x="64811" y="18962"/>
                </a:lnTo>
                <a:lnTo>
                  <a:pt x="64811" y="18868"/>
                </a:lnTo>
                <a:lnTo>
                  <a:pt x="64716" y="17358"/>
                </a:lnTo>
                <a:lnTo>
                  <a:pt x="64811" y="18113"/>
                </a:lnTo>
                <a:lnTo>
                  <a:pt x="64999" y="16981"/>
                </a:lnTo>
                <a:lnTo>
                  <a:pt x="64905" y="15755"/>
                </a:lnTo>
                <a:lnTo>
                  <a:pt x="64811" y="14528"/>
                </a:lnTo>
                <a:lnTo>
                  <a:pt x="64716" y="13396"/>
                </a:lnTo>
                <a:lnTo>
                  <a:pt x="64622" y="13679"/>
                </a:lnTo>
                <a:lnTo>
                  <a:pt x="64551" y="13679"/>
                </a:lnTo>
                <a:lnTo>
                  <a:pt x="64622" y="13962"/>
                </a:lnTo>
                <a:lnTo>
                  <a:pt x="64716" y="15000"/>
                </a:lnTo>
                <a:lnTo>
                  <a:pt x="64528" y="14623"/>
                </a:lnTo>
                <a:lnTo>
                  <a:pt x="64528" y="15094"/>
                </a:lnTo>
                <a:lnTo>
                  <a:pt x="64339" y="12736"/>
                </a:lnTo>
                <a:lnTo>
                  <a:pt x="64150" y="11698"/>
                </a:lnTo>
                <a:lnTo>
                  <a:pt x="64056" y="11604"/>
                </a:lnTo>
                <a:lnTo>
                  <a:pt x="64056" y="11226"/>
                </a:lnTo>
                <a:lnTo>
                  <a:pt x="64245" y="10566"/>
                </a:lnTo>
                <a:lnTo>
                  <a:pt x="64245" y="9811"/>
                </a:lnTo>
                <a:lnTo>
                  <a:pt x="64245" y="9560"/>
                </a:lnTo>
                <a:lnTo>
                  <a:pt x="64433" y="10189"/>
                </a:lnTo>
                <a:lnTo>
                  <a:pt x="64622" y="11604"/>
                </a:lnTo>
                <a:lnTo>
                  <a:pt x="64811" y="13019"/>
                </a:lnTo>
                <a:lnTo>
                  <a:pt x="64905" y="14151"/>
                </a:lnTo>
                <a:lnTo>
                  <a:pt x="64905" y="12830"/>
                </a:lnTo>
                <a:lnTo>
                  <a:pt x="64811" y="11698"/>
                </a:lnTo>
                <a:lnTo>
                  <a:pt x="64528" y="9340"/>
                </a:lnTo>
                <a:lnTo>
                  <a:pt x="64433" y="9528"/>
                </a:lnTo>
                <a:lnTo>
                  <a:pt x="64433" y="9340"/>
                </a:lnTo>
                <a:lnTo>
                  <a:pt x="64245" y="8585"/>
                </a:lnTo>
                <a:lnTo>
                  <a:pt x="64150" y="7264"/>
                </a:lnTo>
                <a:lnTo>
                  <a:pt x="64056" y="9434"/>
                </a:lnTo>
                <a:lnTo>
                  <a:pt x="63773" y="8868"/>
                </a:lnTo>
                <a:lnTo>
                  <a:pt x="63679" y="7925"/>
                </a:lnTo>
                <a:lnTo>
                  <a:pt x="63584" y="6792"/>
                </a:lnTo>
                <a:lnTo>
                  <a:pt x="63490" y="5566"/>
                </a:lnTo>
                <a:lnTo>
                  <a:pt x="63490" y="1227"/>
                </a:lnTo>
                <a:lnTo>
                  <a:pt x="63490" y="661"/>
                </a:lnTo>
                <a:lnTo>
                  <a:pt x="63396" y="566"/>
                </a:lnTo>
                <a:lnTo>
                  <a:pt x="63207" y="378"/>
                </a:lnTo>
                <a:lnTo>
                  <a:pt x="62641" y="189"/>
                </a:lnTo>
                <a:lnTo>
                  <a:pt x="61792" y="95"/>
                </a:lnTo>
                <a:lnTo>
                  <a:pt x="60849" y="0"/>
                </a:lnTo>
                <a:close/>
              </a:path>
            </a:pathLst>
          </a:custGeom>
          <a:solidFill>
            <a:schemeClr val="accent3"/>
          </a:solidFill>
          <a:ln>
            <a:noFill/>
          </a:ln>
        </p:spPr>
        <p:txBody>
          <a:bodyPr spcFirstLastPara="1" wrap="square" lIns="302702" tIns="302702" rIns="302702" bIns="302702" anchor="ctr" anchorCtr="0">
            <a:noAutofit/>
          </a:bodyPr>
          <a:lstStyle/>
          <a:p>
            <a:pPr defTabSz="3027425" fontAlgn="auto">
              <a:spcBef>
                <a:spcPts val="0"/>
              </a:spcBef>
              <a:spcAft>
                <a:spcPts val="0"/>
              </a:spcAft>
              <a:buClr>
                <a:srgbClr val="000000"/>
              </a:buClr>
              <a:buNone/>
            </a:pPr>
            <a:endParaRPr sz="4635" kern="0" spc="0">
              <a:solidFill>
                <a:srgbClr val="000000"/>
              </a:solidFill>
              <a:latin typeface="Arial"/>
              <a:cs typeface="Arial"/>
              <a:sym typeface="Arial"/>
            </a:endParaRPr>
          </a:p>
        </p:txBody>
      </p:sp>
      <p:sp>
        <p:nvSpPr>
          <p:cNvPr id="36" name="Shape 397">
            <a:extLst>
              <a:ext uri="{FF2B5EF4-FFF2-40B4-BE49-F238E27FC236}">
                <a16:creationId xmlns:a16="http://schemas.microsoft.com/office/drawing/2014/main" id="{81FD2ADC-CB5B-083F-D7F1-08D2AB7FD1A5}"/>
              </a:ext>
            </a:extLst>
          </p:cNvPr>
          <p:cNvSpPr>
            <a:spLocks noChangeAspect="1"/>
          </p:cNvSpPr>
          <p:nvPr/>
        </p:nvSpPr>
        <p:spPr>
          <a:xfrm>
            <a:off x="6877616" y="3429000"/>
            <a:ext cx="4978610" cy="2650977"/>
          </a:xfrm>
          <a:custGeom>
            <a:avLst/>
            <a:gdLst/>
            <a:ahLst/>
            <a:cxnLst/>
            <a:rect l="0" t="0" r="0" b="0"/>
            <a:pathLst>
              <a:path w="65189" h="62358" extrusionOk="0">
                <a:moveTo>
                  <a:pt x="40283" y="1525"/>
                </a:moveTo>
                <a:lnTo>
                  <a:pt x="40000" y="1541"/>
                </a:lnTo>
                <a:lnTo>
                  <a:pt x="40000" y="1541"/>
                </a:lnTo>
                <a:lnTo>
                  <a:pt x="39811" y="1604"/>
                </a:lnTo>
                <a:lnTo>
                  <a:pt x="40283" y="1525"/>
                </a:lnTo>
                <a:close/>
                <a:moveTo>
                  <a:pt x="22547" y="1793"/>
                </a:moveTo>
                <a:lnTo>
                  <a:pt x="22359" y="1887"/>
                </a:lnTo>
                <a:lnTo>
                  <a:pt x="21981" y="2359"/>
                </a:lnTo>
                <a:lnTo>
                  <a:pt x="24057" y="1981"/>
                </a:lnTo>
                <a:lnTo>
                  <a:pt x="23208" y="2076"/>
                </a:lnTo>
                <a:lnTo>
                  <a:pt x="22925" y="1981"/>
                </a:lnTo>
                <a:lnTo>
                  <a:pt x="22642" y="1887"/>
                </a:lnTo>
                <a:lnTo>
                  <a:pt x="22642" y="1793"/>
                </a:lnTo>
                <a:close/>
                <a:moveTo>
                  <a:pt x="64528" y="13585"/>
                </a:moveTo>
                <a:lnTo>
                  <a:pt x="64528" y="13679"/>
                </a:lnTo>
                <a:lnTo>
                  <a:pt x="64551" y="13679"/>
                </a:lnTo>
                <a:lnTo>
                  <a:pt x="64528" y="13585"/>
                </a:lnTo>
                <a:close/>
                <a:moveTo>
                  <a:pt x="33868" y="58678"/>
                </a:moveTo>
                <a:lnTo>
                  <a:pt x="34057" y="58772"/>
                </a:lnTo>
                <a:lnTo>
                  <a:pt x="34057" y="58772"/>
                </a:lnTo>
                <a:lnTo>
                  <a:pt x="33962" y="58678"/>
                </a:lnTo>
                <a:close/>
                <a:moveTo>
                  <a:pt x="30849" y="58678"/>
                </a:moveTo>
                <a:lnTo>
                  <a:pt x="30943" y="58772"/>
                </a:lnTo>
                <a:lnTo>
                  <a:pt x="30283" y="58867"/>
                </a:lnTo>
                <a:lnTo>
                  <a:pt x="30472" y="58772"/>
                </a:lnTo>
                <a:lnTo>
                  <a:pt x="30849" y="58678"/>
                </a:lnTo>
                <a:close/>
                <a:moveTo>
                  <a:pt x="32264" y="59056"/>
                </a:moveTo>
                <a:lnTo>
                  <a:pt x="33113" y="59244"/>
                </a:lnTo>
                <a:lnTo>
                  <a:pt x="31698" y="59339"/>
                </a:lnTo>
                <a:lnTo>
                  <a:pt x="31415" y="59339"/>
                </a:lnTo>
                <a:lnTo>
                  <a:pt x="32264" y="59056"/>
                </a:lnTo>
                <a:close/>
                <a:moveTo>
                  <a:pt x="60849" y="0"/>
                </a:moveTo>
                <a:lnTo>
                  <a:pt x="58679" y="95"/>
                </a:lnTo>
                <a:lnTo>
                  <a:pt x="56792" y="189"/>
                </a:lnTo>
                <a:lnTo>
                  <a:pt x="58584" y="378"/>
                </a:lnTo>
                <a:lnTo>
                  <a:pt x="58301" y="189"/>
                </a:lnTo>
                <a:lnTo>
                  <a:pt x="59151" y="378"/>
                </a:lnTo>
                <a:lnTo>
                  <a:pt x="58679" y="472"/>
                </a:lnTo>
                <a:lnTo>
                  <a:pt x="58018" y="472"/>
                </a:lnTo>
                <a:lnTo>
                  <a:pt x="56792" y="283"/>
                </a:lnTo>
                <a:lnTo>
                  <a:pt x="55943" y="283"/>
                </a:lnTo>
                <a:lnTo>
                  <a:pt x="54528" y="378"/>
                </a:lnTo>
                <a:lnTo>
                  <a:pt x="50660" y="378"/>
                </a:lnTo>
                <a:lnTo>
                  <a:pt x="48585" y="472"/>
                </a:lnTo>
                <a:lnTo>
                  <a:pt x="46226" y="472"/>
                </a:lnTo>
                <a:lnTo>
                  <a:pt x="43868" y="283"/>
                </a:lnTo>
                <a:lnTo>
                  <a:pt x="44056" y="472"/>
                </a:lnTo>
                <a:lnTo>
                  <a:pt x="44339" y="472"/>
                </a:lnTo>
                <a:lnTo>
                  <a:pt x="43396" y="661"/>
                </a:lnTo>
                <a:lnTo>
                  <a:pt x="42170" y="849"/>
                </a:lnTo>
                <a:lnTo>
                  <a:pt x="40849" y="755"/>
                </a:lnTo>
                <a:lnTo>
                  <a:pt x="40377" y="661"/>
                </a:lnTo>
                <a:lnTo>
                  <a:pt x="39906" y="566"/>
                </a:lnTo>
                <a:lnTo>
                  <a:pt x="39717" y="566"/>
                </a:lnTo>
                <a:lnTo>
                  <a:pt x="38207" y="661"/>
                </a:lnTo>
                <a:lnTo>
                  <a:pt x="36509" y="944"/>
                </a:lnTo>
                <a:lnTo>
                  <a:pt x="34906" y="1132"/>
                </a:lnTo>
                <a:lnTo>
                  <a:pt x="33585" y="1132"/>
                </a:lnTo>
                <a:lnTo>
                  <a:pt x="33962" y="1038"/>
                </a:lnTo>
                <a:lnTo>
                  <a:pt x="33774" y="944"/>
                </a:lnTo>
                <a:lnTo>
                  <a:pt x="33396" y="944"/>
                </a:lnTo>
                <a:lnTo>
                  <a:pt x="32453" y="1038"/>
                </a:lnTo>
                <a:lnTo>
                  <a:pt x="30283" y="1321"/>
                </a:lnTo>
                <a:lnTo>
                  <a:pt x="30472" y="1415"/>
                </a:lnTo>
                <a:lnTo>
                  <a:pt x="30566" y="1510"/>
                </a:lnTo>
                <a:lnTo>
                  <a:pt x="29151" y="1604"/>
                </a:lnTo>
                <a:lnTo>
                  <a:pt x="29057" y="1698"/>
                </a:lnTo>
                <a:lnTo>
                  <a:pt x="29717" y="1698"/>
                </a:lnTo>
                <a:lnTo>
                  <a:pt x="28208" y="1793"/>
                </a:lnTo>
                <a:lnTo>
                  <a:pt x="27547" y="1793"/>
                </a:lnTo>
                <a:lnTo>
                  <a:pt x="27642" y="1698"/>
                </a:lnTo>
                <a:lnTo>
                  <a:pt x="28585" y="1510"/>
                </a:lnTo>
                <a:lnTo>
                  <a:pt x="27736" y="1604"/>
                </a:lnTo>
                <a:lnTo>
                  <a:pt x="26887" y="1698"/>
                </a:lnTo>
                <a:lnTo>
                  <a:pt x="26038" y="1698"/>
                </a:lnTo>
                <a:lnTo>
                  <a:pt x="25189" y="1793"/>
                </a:lnTo>
                <a:lnTo>
                  <a:pt x="25189" y="1793"/>
                </a:lnTo>
                <a:lnTo>
                  <a:pt x="25755" y="1698"/>
                </a:lnTo>
                <a:lnTo>
                  <a:pt x="24906" y="1793"/>
                </a:lnTo>
                <a:lnTo>
                  <a:pt x="24057" y="1981"/>
                </a:lnTo>
                <a:lnTo>
                  <a:pt x="25094" y="1887"/>
                </a:lnTo>
                <a:lnTo>
                  <a:pt x="26132" y="1981"/>
                </a:lnTo>
                <a:lnTo>
                  <a:pt x="24906" y="2264"/>
                </a:lnTo>
                <a:lnTo>
                  <a:pt x="23585" y="2359"/>
                </a:lnTo>
                <a:lnTo>
                  <a:pt x="23585" y="2453"/>
                </a:lnTo>
                <a:lnTo>
                  <a:pt x="23585" y="2547"/>
                </a:lnTo>
                <a:lnTo>
                  <a:pt x="25566" y="2359"/>
                </a:lnTo>
                <a:lnTo>
                  <a:pt x="27547" y="2264"/>
                </a:lnTo>
                <a:lnTo>
                  <a:pt x="29434" y="1981"/>
                </a:lnTo>
                <a:lnTo>
                  <a:pt x="30377" y="1793"/>
                </a:lnTo>
                <a:lnTo>
                  <a:pt x="31321" y="1604"/>
                </a:lnTo>
                <a:lnTo>
                  <a:pt x="30472" y="1887"/>
                </a:lnTo>
                <a:lnTo>
                  <a:pt x="30660" y="1981"/>
                </a:lnTo>
                <a:lnTo>
                  <a:pt x="31038" y="2076"/>
                </a:lnTo>
                <a:lnTo>
                  <a:pt x="31981" y="2170"/>
                </a:lnTo>
                <a:lnTo>
                  <a:pt x="33302" y="2170"/>
                </a:lnTo>
                <a:lnTo>
                  <a:pt x="34717" y="2076"/>
                </a:lnTo>
                <a:lnTo>
                  <a:pt x="37075" y="1887"/>
                </a:lnTo>
                <a:lnTo>
                  <a:pt x="37830" y="1793"/>
                </a:lnTo>
                <a:lnTo>
                  <a:pt x="37924" y="1698"/>
                </a:lnTo>
                <a:lnTo>
                  <a:pt x="38868" y="1604"/>
                </a:lnTo>
                <a:lnTo>
                  <a:pt x="38962" y="1510"/>
                </a:lnTo>
                <a:lnTo>
                  <a:pt x="38868" y="1510"/>
                </a:lnTo>
                <a:lnTo>
                  <a:pt x="38113" y="1415"/>
                </a:lnTo>
                <a:lnTo>
                  <a:pt x="40000" y="1510"/>
                </a:lnTo>
                <a:lnTo>
                  <a:pt x="38868" y="1604"/>
                </a:lnTo>
                <a:lnTo>
                  <a:pt x="40000" y="1541"/>
                </a:lnTo>
                <a:lnTo>
                  <a:pt x="40000" y="1541"/>
                </a:lnTo>
                <a:lnTo>
                  <a:pt x="40094" y="1510"/>
                </a:lnTo>
                <a:lnTo>
                  <a:pt x="40377" y="1510"/>
                </a:lnTo>
                <a:lnTo>
                  <a:pt x="40283" y="1525"/>
                </a:lnTo>
                <a:lnTo>
                  <a:pt x="40283" y="1525"/>
                </a:lnTo>
                <a:lnTo>
                  <a:pt x="40566" y="1510"/>
                </a:lnTo>
                <a:lnTo>
                  <a:pt x="41509" y="1604"/>
                </a:lnTo>
                <a:lnTo>
                  <a:pt x="44151" y="1415"/>
                </a:lnTo>
                <a:lnTo>
                  <a:pt x="45000" y="1321"/>
                </a:lnTo>
                <a:lnTo>
                  <a:pt x="44434" y="1321"/>
                </a:lnTo>
                <a:lnTo>
                  <a:pt x="45188" y="1132"/>
                </a:lnTo>
                <a:lnTo>
                  <a:pt x="45660" y="1227"/>
                </a:lnTo>
                <a:lnTo>
                  <a:pt x="45755" y="1227"/>
                </a:lnTo>
                <a:lnTo>
                  <a:pt x="45755" y="1321"/>
                </a:lnTo>
                <a:lnTo>
                  <a:pt x="45377" y="1321"/>
                </a:lnTo>
                <a:lnTo>
                  <a:pt x="46038" y="1415"/>
                </a:lnTo>
                <a:lnTo>
                  <a:pt x="46792" y="1321"/>
                </a:lnTo>
                <a:lnTo>
                  <a:pt x="46792" y="1227"/>
                </a:lnTo>
                <a:lnTo>
                  <a:pt x="46981" y="1321"/>
                </a:lnTo>
                <a:lnTo>
                  <a:pt x="47547" y="1321"/>
                </a:lnTo>
                <a:lnTo>
                  <a:pt x="47358" y="1510"/>
                </a:lnTo>
                <a:lnTo>
                  <a:pt x="46981" y="1510"/>
                </a:lnTo>
                <a:lnTo>
                  <a:pt x="46792" y="1415"/>
                </a:lnTo>
                <a:lnTo>
                  <a:pt x="43868" y="1698"/>
                </a:lnTo>
                <a:lnTo>
                  <a:pt x="45566" y="1698"/>
                </a:lnTo>
                <a:lnTo>
                  <a:pt x="47264" y="1604"/>
                </a:lnTo>
                <a:lnTo>
                  <a:pt x="50566" y="1321"/>
                </a:lnTo>
                <a:lnTo>
                  <a:pt x="52169" y="1227"/>
                </a:lnTo>
                <a:lnTo>
                  <a:pt x="55471" y="1227"/>
                </a:lnTo>
                <a:lnTo>
                  <a:pt x="57075" y="1415"/>
                </a:lnTo>
                <a:lnTo>
                  <a:pt x="56603" y="1321"/>
                </a:lnTo>
                <a:lnTo>
                  <a:pt x="56509" y="1227"/>
                </a:lnTo>
                <a:lnTo>
                  <a:pt x="57264" y="1132"/>
                </a:lnTo>
                <a:lnTo>
                  <a:pt x="58396" y="1227"/>
                </a:lnTo>
                <a:lnTo>
                  <a:pt x="58773" y="1227"/>
                </a:lnTo>
                <a:lnTo>
                  <a:pt x="58962" y="1321"/>
                </a:lnTo>
                <a:lnTo>
                  <a:pt x="59905" y="1321"/>
                </a:lnTo>
                <a:lnTo>
                  <a:pt x="61037" y="1510"/>
                </a:lnTo>
                <a:lnTo>
                  <a:pt x="61603" y="1698"/>
                </a:lnTo>
                <a:lnTo>
                  <a:pt x="62075" y="1887"/>
                </a:lnTo>
                <a:lnTo>
                  <a:pt x="62452" y="2076"/>
                </a:lnTo>
                <a:lnTo>
                  <a:pt x="62547" y="2359"/>
                </a:lnTo>
                <a:lnTo>
                  <a:pt x="62641" y="4528"/>
                </a:lnTo>
                <a:lnTo>
                  <a:pt x="62641" y="8113"/>
                </a:lnTo>
                <a:lnTo>
                  <a:pt x="62547" y="17547"/>
                </a:lnTo>
                <a:lnTo>
                  <a:pt x="62547" y="22547"/>
                </a:lnTo>
                <a:lnTo>
                  <a:pt x="62641" y="27075"/>
                </a:lnTo>
                <a:lnTo>
                  <a:pt x="62830" y="30849"/>
                </a:lnTo>
                <a:lnTo>
                  <a:pt x="62924" y="32169"/>
                </a:lnTo>
                <a:lnTo>
                  <a:pt x="63113" y="33207"/>
                </a:lnTo>
                <a:lnTo>
                  <a:pt x="63113" y="34528"/>
                </a:lnTo>
                <a:lnTo>
                  <a:pt x="63207" y="35943"/>
                </a:lnTo>
                <a:lnTo>
                  <a:pt x="63207" y="36886"/>
                </a:lnTo>
                <a:lnTo>
                  <a:pt x="63113" y="38396"/>
                </a:lnTo>
                <a:lnTo>
                  <a:pt x="62830" y="42358"/>
                </a:lnTo>
                <a:lnTo>
                  <a:pt x="62547" y="46509"/>
                </a:lnTo>
                <a:lnTo>
                  <a:pt x="62452" y="48207"/>
                </a:lnTo>
                <a:lnTo>
                  <a:pt x="62547" y="49527"/>
                </a:lnTo>
                <a:lnTo>
                  <a:pt x="62547" y="51131"/>
                </a:lnTo>
                <a:lnTo>
                  <a:pt x="62547" y="52735"/>
                </a:lnTo>
                <a:lnTo>
                  <a:pt x="62358" y="53584"/>
                </a:lnTo>
                <a:lnTo>
                  <a:pt x="62264" y="54339"/>
                </a:lnTo>
                <a:lnTo>
                  <a:pt x="61981" y="55093"/>
                </a:lnTo>
                <a:lnTo>
                  <a:pt x="61603" y="55754"/>
                </a:lnTo>
                <a:lnTo>
                  <a:pt x="61792" y="55754"/>
                </a:lnTo>
                <a:lnTo>
                  <a:pt x="61886" y="55565"/>
                </a:lnTo>
                <a:lnTo>
                  <a:pt x="62169" y="55376"/>
                </a:lnTo>
                <a:lnTo>
                  <a:pt x="62264" y="55565"/>
                </a:lnTo>
                <a:lnTo>
                  <a:pt x="62169" y="55754"/>
                </a:lnTo>
                <a:lnTo>
                  <a:pt x="61981" y="56225"/>
                </a:lnTo>
                <a:lnTo>
                  <a:pt x="61792" y="56037"/>
                </a:lnTo>
                <a:lnTo>
                  <a:pt x="61509" y="55754"/>
                </a:lnTo>
                <a:lnTo>
                  <a:pt x="61603" y="55942"/>
                </a:lnTo>
                <a:lnTo>
                  <a:pt x="61509" y="55942"/>
                </a:lnTo>
                <a:lnTo>
                  <a:pt x="61603" y="56037"/>
                </a:lnTo>
                <a:lnTo>
                  <a:pt x="60094" y="56320"/>
                </a:lnTo>
                <a:lnTo>
                  <a:pt x="58773" y="56414"/>
                </a:lnTo>
                <a:lnTo>
                  <a:pt x="57547" y="56508"/>
                </a:lnTo>
                <a:lnTo>
                  <a:pt x="56415" y="56508"/>
                </a:lnTo>
                <a:lnTo>
                  <a:pt x="56698" y="56320"/>
                </a:lnTo>
                <a:lnTo>
                  <a:pt x="56698" y="56320"/>
                </a:lnTo>
                <a:lnTo>
                  <a:pt x="56037" y="56508"/>
                </a:lnTo>
                <a:lnTo>
                  <a:pt x="54811" y="56886"/>
                </a:lnTo>
                <a:lnTo>
                  <a:pt x="53679" y="57074"/>
                </a:lnTo>
                <a:lnTo>
                  <a:pt x="53868" y="56791"/>
                </a:lnTo>
                <a:lnTo>
                  <a:pt x="54245" y="56697"/>
                </a:lnTo>
                <a:lnTo>
                  <a:pt x="53019" y="56886"/>
                </a:lnTo>
                <a:lnTo>
                  <a:pt x="51698" y="56980"/>
                </a:lnTo>
                <a:lnTo>
                  <a:pt x="50943" y="57074"/>
                </a:lnTo>
                <a:lnTo>
                  <a:pt x="51132" y="57169"/>
                </a:lnTo>
                <a:lnTo>
                  <a:pt x="48962" y="57452"/>
                </a:lnTo>
                <a:lnTo>
                  <a:pt x="48962" y="57357"/>
                </a:lnTo>
                <a:lnTo>
                  <a:pt x="48019" y="57452"/>
                </a:lnTo>
                <a:lnTo>
                  <a:pt x="47641" y="57452"/>
                </a:lnTo>
                <a:lnTo>
                  <a:pt x="46604" y="57546"/>
                </a:lnTo>
                <a:lnTo>
                  <a:pt x="44717" y="57546"/>
                </a:lnTo>
                <a:lnTo>
                  <a:pt x="44339" y="57452"/>
                </a:lnTo>
                <a:lnTo>
                  <a:pt x="45000" y="57263"/>
                </a:lnTo>
                <a:lnTo>
                  <a:pt x="40000" y="57829"/>
                </a:lnTo>
                <a:lnTo>
                  <a:pt x="38019" y="58206"/>
                </a:lnTo>
                <a:lnTo>
                  <a:pt x="37547" y="58018"/>
                </a:lnTo>
                <a:lnTo>
                  <a:pt x="37075" y="58018"/>
                </a:lnTo>
                <a:lnTo>
                  <a:pt x="36698" y="58112"/>
                </a:lnTo>
                <a:lnTo>
                  <a:pt x="36415" y="58301"/>
                </a:lnTo>
                <a:lnTo>
                  <a:pt x="36038" y="58301"/>
                </a:lnTo>
                <a:lnTo>
                  <a:pt x="36038" y="58395"/>
                </a:lnTo>
                <a:lnTo>
                  <a:pt x="36321" y="58395"/>
                </a:lnTo>
                <a:lnTo>
                  <a:pt x="36132" y="58678"/>
                </a:lnTo>
                <a:lnTo>
                  <a:pt x="37075" y="58678"/>
                </a:lnTo>
                <a:lnTo>
                  <a:pt x="37830" y="58584"/>
                </a:lnTo>
                <a:lnTo>
                  <a:pt x="38585" y="58489"/>
                </a:lnTo>
                <a:lnTo>
                  <a:pt x="39434" y="58489"/>
                </a:lnTo>
                <a:lnTo>
                  <a:pt x="38585" y="58867"/>
                </a:lnTo>
                <a:lnTo>
                  <a:pt x="37358" y="59244"/>
                </a:lnTo>
                <a:lnTo>
                  <a:pt x="36792" y="59339"/>
                </a:lnTo>
                <a:lnTo>
                  <a:pt x="36226" y="59339"/>
                </a:lnTo>
                <a:lnTo>
                  <a:pt x="35755" y="59244"/>
                </a:lnTo>
                <a:lnTo>
                  <a:pt x="35566" y="59056"/>
                </a:lnTo>
                <a:lnTo>
                  <a:pt x="35472" y="58867"/>
                </a:lnTo>
                <a:lnTo>
                  <a:pt x="36509" y="58772"/>
                </a:lnTo>
                <a:lnTo>
                  <a:pt x="35377" y="58678"/>
                </a:lnTo>
                <a:lnTo>
                  <a:pt x="34151" y="58772"/>
                </a:lnTo>
                <a:lnTo>
                  <a:pt x="34057" y="58772"/>
                </a:lnTo>
                <a:lnTo>
                  <a:pt x="33208" y="58961"/>
                </a:lnTo>
                <a:lnTo>
                  <a:pt x="32264" y="59056"/>
                </a:lnTo>
                <a:lnTo>
                  <a:pt x="32264" y="59056"/>
                </a:lnTo>
                <a:lnTo>
                  <a:pt x="33113" y="58867"/>
                </a:lnTo>
                <a:lnTo>
                  <a:pt x="31887" y="58489"/>
                </a:lnTo>
                <a:lnTo>
                  <a:pt x="31132" y="58395"/>
                </a:lnTo>
                <a:lnTo>
                  <a:pt x="31038" y="58301"/>
                </a:lnTo>
                <a:lnTo>
                  <a:pt x="31132" y="58301"/>
                </a:lnTo>
                <a:lnTo>
                  <a:pt x="31509" y="58206"/>
                </a:lnTo>
                <a:lnTo>
                  <a:pt x="30660" y="58206"/>
                </a:lnTo>
                <a:lnTo>
                  <a:pt x="30283" y="58301"/>
                </a:lnTo>
                <a:lnTo>
                  <a:pt x="29906" y="58489"/>
                </a:lnTo>
                <a:lnTo>
                  <a:pt x="29151" y="58678"/>
                </a:lnTo>
                <a:lnTo>
                  <a:pt x="29340" y="58584"/>
                </a:lnTo>
                <a:lnTo>
                  <a:pt x="29434" y="58395"/>
                </a:lnTo>
                <a:lnTo>
                  <a:pt x="29434" y="58395"/>
                </a:lnTo>
                <a:lnTo>
                  <a:pt x="28585" y="58489"/>
                </a:lnTo>
                <a:lnTo>
                  <a:pt x="28491" y="58584"/>
                </a:lnTo>
                <a:lnTo>
                  <a:pt x="28396" y="58678"/>
                </a:lnTo>
                <a:lnTo>
                  <a:pt x="27736" y="58867"/>
                </a:lnTo>
                <a:lnTo>
                  <a:pt x="25660" y="59150"/>
                </a:lnTo>
                <a:lnTo>
                  <a:pt x="22170" y="59622"/>
                </a:lnTo>
                <a:lnTo>
                  <a:pt x="22359" y="59527"/>
                </a:lnTo>
                <a:lnTo>
                  <a:pt x="22359" y="59433"/>
                </a:lnTo>
                <a:lnTo>
                  <a:pt x="22264" y="59433"/>
                </a:lnTo>
                <a:lnTo>
                  <a:pt x="22453" y="59244"/>
                </a:lnTo>
                <a:lnTo>
                  <a:pt x="22453" y="59056"/>
                </a:lnTo>
                <a:lnTo>
                  <a:pt x="21132" y="59339"/>
                </a:lnTo>
                <a:lnTo>
                  <a:pt x="19246" y="59716"/>
                </a:lnTo>
                <a:lnTo>
                  <a:pt x="18208" y="59810"/>
                </a:lnTo>
                <a:lnTo>
                  <a:pt x="17264" y="59905"/>
                </a:lnTo>
                <a:lnTo>
                  <a:pt x="16415" y="59905"/>
                </a:lnTo>
                <a:lnTo>
                  <a:pt x="15849" y="59810"/>
                </a:lnTo>
                <a:lnTo>
                  <a:pt x="14246" y="59810"/>
                </a:lnTo>
                <a:lnTo>
                  <a:pt x="11981" y="59999"/>
                </a:lnTo>
                <a:lnTo>
                  <a:pt x="11981" y="59999"/>
                </a:lnTo>
                <a:lnTo>
                  <a:pt x="12359" y="59905"/>
                </a:lnTo>
                <a:lnTo>
                  <a:pt x="12736" y="59716"/>
                </a:lnTo>
                <a:lnTo>
                  <a:pt x="11415" y="59905"/>
                </a:lnTo>
                <a:lnTo>
                  <a:pt x="10000" y="60093"/>
                </a:lnTo>
                <a:lnTo>
                  <a:pt x="7076" y="60188"/>
                </a:lnTo>
                <a:lnTo>
                  <a:pt x="4151" y="60376"/>
                </a:lnTo>
                <a:lnTo>
                  <a:pt x="2831" y="60471"/>
                </a:lnTo>
                <a:lnTo>
                  <a:pt x="1604" y="60659"/>
                </a:lnTo>
                <a:lnTo>
                  <a:pt x="1227" y="59244"/>
                </a:lnTo>
                <a:lnTo>
                  <a:pt x="1038" y="57735"/>
                </a:lnTo>
                <a:lnTo>
                  <a:pt x="850" y="56131"/>
                </a:lnTo>
                <a:lnTo>
                  <a:pt x="755" y="54433"/>
                </a:lnTo>
                <a:lnTo>
                  <a:pt x="755" y="52735"/>
                </a:lnTo>
                <a:lnTo>
                  <a:pt x="755" y="50942"/>
                </a:lnTo>
                <a:lnTo>
                  <a:pt x="1038" y="47263"/>
                </a:lnTo>
                <a:lnTo>
                  <a:pt x="1321" y="43678"/>
                </a:lnTo>
                <a:lnTo>
                  <a:pt x="1699" y="39999"/>
                </a:lnTo>
                <a:lnTo>
                  <a:pt x="2453" y="33301"/>
                </a:lnTo>
                <a:lnTo>
                  <a:pt x="2548" y="33962"/>
                </a:lnTo>
                <a:lnTo>
                  <a:pt x="2642" y="34622"/>
                </a:lnTo>
                <a:lnTo>
                  <a:pt x="2642" y="33018"/>
                </a:lnTo>
                <a:lnTo>
                  <a:pt x="2551" y="32287"/>
                </a:lnTo>
                <a:lnTo>
                  <a:pt x="2642" y="30000"/>
                </a:lnTo>
                <a:lnTo>
                  <a:pt x="2453" y="30377"/>
                </a:lnTo>
                <a:lnTo>
                  <a:pt x="2453" y="29245"/>
                </a:lnTo>
                <a:lnTo>
                  <a:pt x="2453" y="27830"/>
                </a:lnTo>
                <a:lnTo>
                  <a:pt x="2642" y="28301"/>
                </a:lnTo>
                <a:lnTo>
                  <a:pt x="2736" y="28018"/>
                </a:lnTo>
                <a:lnTo>
                  <a:pt x="2831" y="28018"/>
                </a:lnTo>
                <a:lnTo>
                  <a:pt x="2925" y="28207"/>
                </a:lnTo>
                <a:lnTo>
                  <a:pt x="3019" y="26415"/>
                </a:lnTo>
                <a:lnTo>
                  <a:pt x="3019" y="24811"/>
                </a:lnTo>
                <a:lnTo>
                  <a:pt x="3019" y="23113"/>
                </a:lnTo>
                <a:lnTo>
                  <a:pt x="3019" y="22170"/>
                </a:lnTo>
                <a:lnTo>
                  <a:pt x="3208" y="21320"/>
                </a:lnTo>
                <a:lnTo>
                  <a:pt x="3302" y="19528"/>
                </a:lnTo>
                <a:lnTo>
                  <a:pt x="3302" y="17641"/>
                </a:lnTo>
                <a:lnTo>
                  <a:pt x="3302" y="16887"/>
                </a:lnTo>
                <a:lnTo>
                  <a:pt x="3208" y="16321"/>
                </a:lnTo>
                <a:lnTo>
                  <a:pt x="3397" y="16415"/>
                </a:lnTo>
                <a:lnTo>
                  <a:pt x="3585" y="11981"/>
                </a:lnTo>
                <a:lnTo>
                  <a:pt x="3680" y="11415"/>
                </a:lnTo>
                <a:lnTo>
                  <a:pt x="3680" y="11698"/>
                </a:lnTo>
                <a:lnTo>
                  <a:pt x="3774" y="11132"/>
                </a:lnTo>
                <a:lnTo>
                  <a:pt x="3868" y="10660"/>
                </a:lnTo>
                <a:lnTo>
                  <a:pt x="3774" y="10094"/>
                </a:lnTo>
                <a:lnTo>
                  <a:pt x="3680" y="9623"/>
                </a:lnTo>
                <a:lnTo>
                  <a:pt x="3774" y="9434"/>
                </a:lnTo>
                <a:lnTo>
                  <a:pt x="3868" y="9245"/>
                </a:lnTo>
                <a:lnTo>
                  <a:pt x="4057" y="8491"/>
                </a:lnTo>
                <a:lnTo>
                  <a:pt x="4340" y="6321"/>
                </a:lnTo>
                <a:lnTo>
                  <a:pt x="4623" y="2264"/>
                </a:lnTo>
                <a:lnTo>
                  <a:pt x="3491" y="7170"/>
                </a:lnTo>
                <a:lnTo>
                  <a:pt x="2925" y="9906"/>
                </a:lnTo>
                <a:lnTo>
                  <a:pt x="2359" y="12736"/>
                </a:lnTo>
                <a:lnTo>
                  <a:pt x="1982" y="15377"/>
                </a:lnTo>
                <a:lnTo>
                  <a:pt x="1699" y="17830"/>
                </a:lnTo>
                <a:lnTo>
                  <a:pt x="1510" y="19905"/>
                </a:lnTo>
                <a:lnTo>
                  <a:pt x="1604" y="20754"/>
                </a:lnTo>
                <a:lnTo>
                  <a:pt x="1699" y="21509"/>
                </a:lnTo>
                <a:lnTo>
                  <a:pt x="1321" y="22453"/>
                </a:lnTo>
                <a:lnTo>
                  <a:pt x="1133" y="23585"/>
                </a:lnTo>
                <a:lnTo>
                  <a:pt x="1038" y="24905"/>
                </a:lnTo>
                <a:lnTo>
                  <a:pt x="1038" y="26226"/>
                </a:lnTo>
                <a:lnTo>
                  <a:pt x="1038" y="28962"/>
                </a:lnTo>
                <a:lnTo>
                  <a:pt x="1038" y="31415"/>
                </a:lnTo>
                <a:lnTo>
                  <a:pt x="661" y="40188"/>
                </a:lnTo>
                <a:lnTo>
                  <a:pt x="472" y="44999"/>
                </a:lnTo>
                <a:lnTo>
                  <a:pt x="378" y="49622"/>
                </a:lnTo>
                <a:lnTo>
                  <a:pt x="472" y="51603"/>
                </a:lnTo>
                <a:lnTo>
                  <a:pt x="378" y="53961"/>
                </a:lnTo>
                <a:lnTo>
                  <a:pt x="189" y="53301"/>
                </a:lnTo>
                <a:lnTo>
                  <a:pt x="95" y="52641"/>
                </a:lnTo>
                <a:lnTo>
                  <a:pt x="189" y="53867"/>
                </a:lnTo>
                <a:lnTo>
                  <a:pt x="189" y="55093"/>
                </a:lnTo>
                <a:lnTo>
                  <a:pt x="378" y="55188"/>
                </a:lnTo>
                <a:lnTo>
                  <a:pt x="284" y="56508"/>
                </a:lnTo>
                <a:lnTo>
                  <a:pt x="95" y="54905"/>
                </a:lnTo>
                <a:lnTo>
                  <a:pt x="1" y="58489"/>
                </a:lnTo>
                <a:lnTo>
                  <a:pt x="1" y="62357"/>
                </a:lnTo>
                <a:lnTo>
                  <a:pt x="6038" y="61886"/>
                </a:lnTo>
                <a:lnTo>
                  <a:pt x="8963" y="61697"/>
                </a:lnTo>
                <a:lnTo>
                  <a:pt x="11698" y="61603"/>
                </a:lnTo>
                <a:lnTo>
                  <a:pt x="11698" y="61414"/>
                </a:lnTo>
                <a:lnTo>
                  <a:pt x="11887" y="61225"/>
                </a:lnTo>
                <a:lnTo>
                  <a:pt x="12264" y="61225"/>
                </a:lnTo>
                <a:lnTo>
                  <a:pt x="12548" y="61320"/>
                </a:lnTo>
                <a:lnTo>
                  <a:pt x="12736" y="61414"/>
                </a:lnTo>
                <a:lnTo>
                  <a:pt x="12642" y="61320"/>
                </a:lnTo>
                <a:lnTo>
                  <a:pt x="13302" y="61508"/>
                </a:lnTo>
                <a:lnTo>
                  <a:pt x="13302" y="61508"/>
                </a:lnTo>
                <a:lnTo>
                  <a:pt x="12736" y="61414"/>
                </a:lnTo>
                <a:lnTo>
                  <a:pt x="13019" y="61508"/>
                </a:lnTo>
                <a:lnTo>
                  <a:pt x="12736" y="61603"/>
                </a:lnTo>
                <a:lnTo>
                  <a:pt x="12831" y="61697"/>
                </a:lnTo>
                <a:lnTo>
                  <a:pt x="14246" y="61508"/>
                </a:lnTo>
                <a:lnTo>
                  <a:pt x="13491" y="61508"/>
                </a:lnTo>
                <a:lnTo>
                  <a:pt x="14717" y="61225"/>
                </a:lnTo>
                <a:lnTo>
                  <a:pt x="16038" y="61131"/>
                </a:lnTo>
                <a:lnTo>
                  <a:pt x="18962" y="61131"/>
                </a:lnTo>
                <a:lnTo>
                  <a:pt x="19151" y="61225"/>
                </a:lnTo>
                <a:lnTo>
                  <a:pt x="19623" y="61320"/>
                </a:lnTo>
                <a:lnTo>
                  <a:pt x="21227" y="61320"/>
                </a:lnTo>
                <a:lnTo>
                  <a:pt x="23302" y="61225"/>
                </a:lnTo>
                <a:lnTo>
                  <a:pt x="24245" y="61131"/>
                </a:lnTo>
                <a:lnTo>
                  <a:pt x="25094" y="60942"/>
                </a:lnTo>
                <a:lnTo>
                  <a:pt x="28868" y="60848"/>
                </a:lnTo>
                <a:lnTo>
                  <a:pt x="32642" y="60659"/>
                </a:lnTo>
                <a:lnTo>
                  <a:pt x="36415" y="60376"/>
                </a:lnTo>
                <a:lnTo>
                  <a:pt x="40283" y="60093"/>
                </a:lnTo>
                <a:lnTo>
                  <a:pt x="47830" y="59339"/>
                </a:lnTo>
                <a:lnTo>
                  <a:pt x="55377" y="58678"/>
                </a:lnTo>
                <a:lnTo>
                  <a:pt x="61037" y="58678"/>
                </a:lnTo>
                <a:lnTo>
                  <a:pt x="62264" y="58584"/>
                </a:lnTo>
                <a:lnTo>
                  <a:pt x="63207" y="58395"/>
                </a:lnTo>
                <a:lnTo>
                  <a:pt x="63490" y="58206"/>
                </a:lnTo>
                <a:lnTo>
                  <a:pt x="63773" y="58018"/>
                </a:lnTo>
                <a:lnTo>
                  <a:pt x="63962" y="57735"/>
                </a:lnTo>
                <a:lnTo>
                  <a:pt x="64150" y="57357"/>
                </a:lnTo>
                <a:lnTo>
                  <a:pt x="64339" y="56225"/>
                </a:lnTo>
                <a:lnTo>
                  <a:pt x="64528" y="54716"/>
                </a:lnTo>
                <a:lnTo>
                  <a:pt x="64528" y="53018"/>
                </a:lnTo>
                <a:lnTo>
                  <a:pt x="64622" y="49810"/>
                </a:lnTo>
                <a:lnTo>
                  <a:pt x="64622" y="47546"/>
                </a:lnTo>
                <a:lnTo>
                  <a:pt x="64905" y="40848"/>
                </a:lnTo>
                <a:lnTo>
                  <a:pt x="64999" y="36320"/>
                </a:lnTo>
                <a:lnTo>
                  <a:pt x="65094" y="33301"/>
                </a:lnTo>
                <a:lnTo>
                  <a:pt x="65188" y="33396"/>
                </a:lnTo>
                <a:lnTo>
                  <a:pt x="65188" y="31603"/>
                </a:lnTo>
                <a:lnTo>
                  <a:pt x="65188" y="29811"/>
                </a:lnTo>
                <a:lnTo>
                  <a:pt x="65094" y="30660"/>
                </a:lnTo>
                <a:lnTo>
                  <a:pt x="64905" y="28301"/>
                </a:lnTo>
                <a:lnTo>
                  <a:pt x="64811" y="25849"/>
                </a:lnTo>
                <a:lnTo>
                  <a:pt x="64716" y="23302"/>
                </a:lnTo>
                <a:lnTo>
                  <a:pt x="64622" y="20849"/>
                </a:lnTo>
                <a:lnTo>
                  <a:pt x="64811" y="22075"/>
                </a:lnTo>
                <a:lnTo>
                  <a:pt x="64811" y="20754"/>
                </a:lnTo>
                <a:lnTo>
                  <a:pt x="64811" y="18962"/>
                </a:lnTo>
                <a:lnTo>
                  <a:pt x="64811" y="18868"/>
                </a:lnTo>
                <a:lnTo>
                  <a:pt x="64716" y="17358"/>
                </a:lnTo>
                <a:lnTo>
                  <a:pt x="64811" y="18113"/>
                </a:lnTo>
                <a:lnTo>
                  <a:pt x="64999" y="16981"/>
                </a:lnTo>
                <a:lnTo>
                  <a:pt x="64905" y="15755"/>
                </a:lnTo>
                <a:lnTo>
                  <a:pt x="64811" y="14528"/>
                </a:lnTo>
                <a:lnTo>
                  <a:pt x="64716" y="13396"/>
                </a:lnTo>
                <a:lnTo>
                  <a:pt x="64622" y="13679"/>
                </a:lnTo>
                <a:lnTo>
                  <a:pt x="64551" y="13679"/>
                </a:lnTo>
                <a:lnTo>
                  <a:pt x="64622" y="13962"/>
                </a:lnTo>
                <a:lnTo>
                  <a:pt x="64716" y="15000"/>
                </a:lnTo>
                <a:lnTo>
                  <a:pt x="64528" y="14623"/>
                </a:lnTo>
                <a:lnTo>
                  <a:pt x="64528" y="15094"/>
                </a:lnTo>
                <a:lnTo>
                  <a:pt x="64339" y="12736"/>
                </a:lnTo>
                <a:lnTo>
                  <a:pt x="64150" y="11698"/>
                </a:lnTo>
                <a:lnTo>
                  <a:pt x="64056" y="11604"/>
                </a:lnTo>
                <a:lnTo>
                  <a:pt x="64056" y="11226"/>
                </a:lnTo>
                <a:lnTo>
                  <a:pt x="64245" y="10566"/>
                </a:lnTo>
                <a:lnTo>
                  <a:pt x="64245" y="9811"/>
                </a:lnTo>
                <a:lnTo>
                  <a:pt x="64245" y="9560"/>
                </a:lnTo>
                <a:lnTo>
                  <a:pt x="64433" y="10189"/>
                </a:lnTo>
                <a:lnTo>
                  <a:pt x="64622" y="11604"/>
                </a:lnTo>
                <a:lnTo>
                  <a:pt x="64811" y="13019"/>
                </a:lnTo>
                <a:lnTo>
                  <a:pt x="64905" y="14151"/>
                </a:lnTo>
                <a:lnTo>
                  <a:pt x="64905" y="12830"/>
                </a:lnTo>
                <a:lnTo>
                  <a:pt x="64811" y="11698"/>
                </a:lnTo>
                <a:lnTo>
                  <a:pt x="64528" y="9340"/>
                </a:lnTo>
                <a:lnTo>
                  <a:pt x="64433" y="9528"/>
                </a:lnTo>
                <a:lnTo>
                  <a:pt x="64433" y="9340"/>
                </a:lnTo>
                <a:lnTo>
                  <a:pt x="64245" y="8585"/>
                </a:lnTo>
                <a:lnTo>
                  <a:pt x="64150" y="7264"/>
                </a:lnTo>
                <a:lnTo>
                  <a:pt x="64056" y="9434"/>
                </a:lnTo>
                <a:lnTo>
                  <a:pt x="63773" y="8868"/>
                </a:lnTo>
                <a:lnTo>
                  <a:pt x="63679" y="7925"/>
                </a:lnTo>
                <a:lnTo>
                  <a:pt x="63584" y="6792"/>
                </a:lnTo>
                <a:lnTo>
                  <a:pt x="63490" y="5566"/>
                </a:lnTo>
                <a:lnTo>
                  <a:pt x="63490" y="1227"/>
                </a:lnTo>
                <a:lnTo>
                  <a:pt x="63490" y="661"/>
                </a:lnTo>
                <a:lnTo>
                  <a:pt x="63396" y="566"/>
                </a:lnTo>
                <a:lnTo>
                  <a:pt x="63207" y="378"/>
                </a:lnTo>
                <a:lnTo>
                  <a:pt x="62641" y="189"/>
                </a:lnTo>
                <a:lnTo>
                  <a:pt x="61792" y="95"/>
                </a:lnTo>
                <a:lnTo>
                  <a:pt x="60849" y="0"/>
                </a:lnTo>
                <a:close/>
              </a:path>
            </a:pathLst>
          </a:custGeom>
          <a:solidFill>
            <a:schemeClr val="accent4"/>
          </a:solidFill>
          <a:ln>
            <a:noFill/>
          </a:ln>
        </p:spPr>
        <p:txBody>
          <a:bodyPr spcFirstLastPara="1" wrap="square" lIns="302702" tIns="302702" rIns="302702" bIns="302702" anchor="ctr" anchorCtr="0">
            <a:noAutofit/>
          </a:bodyPr>
          <a:lstStyle/>
          <a:p>
            <a:pPr defTabSz="3027425" fontAlgn="auto">
              <a:spcBef>
                <a:spcPts val="0"/>
              </a:spcBef>
              <a:spcAft>
                <a:spcPts val="0"/>
              </a:spcAft>
              <a:buClr>
                <a:srgbClr val="000000"/>
              </a:buClr>
              <a:buNone/>
            </a:pPr>
            <a:endParaRPr sz="4635" kern="0" spc="0">
              <a:solidFill>
                <a:srgbClr val="000000"/>
              </a:solidFill>
              <a:latin typeface="Arial"/>
              <a:cs typeface="Arial"/>
              <a:sym typeface="Arial"/>
            </a:endParaRPr>
          </a:p>
        </p:txBody>
      </p:sp>
      <p:sp>
        <p:nvSpPr>
          <p:cNvPr id="33" name="Shape 397">
            <a:extLst>
              <a:ext uri="{FF2B5EF4-FFF2-40B4-BE49-F238E27FC236}">
                <a16:creationId xmlns:a16="http://schemas.microsoft.com/office/drawing/2014/main" id="{1C1390F2-77C4-A014-9EE3-80CFF837C093}"/>
              </a:ext>
            </a:extLst>
          </p:cNvPr>
          <p:cNvSpPr>
            <a:spLocks noChangeAspect="1"/>
          </p:cNvSpPr>
          <p:nvPr/>
        </p:nvSpPr>
        <p:spPr>
          <a:xfrm>
            <a:off x="335774" y="380246"/>
            <a:ext cx="4978610" cy="2650977"/>
          </a:xfrm>
          <a:custGeom>
            <a:avLst/>
            <a:gdLst/>
            <a:ahLst/>
            <a:cxnLst/>
            <a:rect l="0" t="0" r="0" b="0"/>
            <a:pathLst>
              <a:path w="65189" h="62358" extrusionOk="0">
                <a:moveTo>
                  <a:pt x="40283" y="1525"/>
                </a:moveTo>
                <a:lnTo>
                  <a:pt x="40000" y="1541"/>
                </a:lnTo>
                <a:lnTo>
                  <a:pt x="40000" y="1541"/>
                </a:lnTo>
                <a:lnTo>
                  <a:pt x="39811" y="1604"/>
                </a:lnTo>
                <a:lnTo>
                  <a:pt x="40283" y="1525"/>
                </a:lnTo>
                <a:close/>
                <a:moveTo>
                  <a:pt x="22547" y="1793"/>
                </a:moveTo>
                <a:lnTo>
                  <a:pt x="22359" y="1887"/>
                </a:lnTo>
                <a:lnTo>
                  <a:pt x="21981" y="2359"/>
                </a:lnTo>
                <a:lnTo>
                  <a:pt x="24057" y="1981"/>
                </a:lnTo>
                <a:lnTo>
                  <a:pt x="23208" y="2076"/>
                </a:lnTo>
                <a:lnTo>
                  <a:pt x="22925" y="1981"/>
                </a:lnTo>
                <a:lnTo>
                  <a:pt x="22642" y="1887"/>
                </a:lnTo>
                <a:lnTo>
                  <a:pt x="22642" y="1793"/>
                </a:lnTo>
                <a:close/>
                <a:moveTo>
                  <a:pt x="64528" y="13585"/>
                </a:moveTo>
                <a:lnTo>
                  <a:pt x="64528" y="13679"/>
                </a:lnTo>
                <a:lnTo>
                  <a:pt x="64551" y="13679"/>
                </a:lnTo>
                <a:lnTo>
                  <a:pt x="64528" y="13585"/>
                </a:lnTo>
                <a:close/>
                <a:moveTo>
                  <a:pt x="33868" y="58678"/>
                </a:moveTo>
                <a:lnTo>
                  <a:pt x="34057" y="58772"/>
                </a:lnTo>
                <a:lnTo>
                  <a:pt x="34057" y="58772"/>
                </a:lnTo>
                <a:lnTo>
                  <a:pt x="33962" y="58678"/>
                </a:lnTo>
                <a:close/>
                <a:moveTo>
                  <a:pt x="30849" y="58678"/>
                </a:moveTo>
                <a:lnTo>
                  <a:pt x="30943" y="58772"/>
                </a:lnTo>
                <a:lnTo>
                  <a:pt x="30283" y="58867"/>
                </a:lnTo>
                <a:lnTo>
                  <a:pt x="30472" y="58772"/>
                </a:lnTo>
                <a:lnTo>
                  <a:pt x="30849" y="58678"/>
                </a:lnTo>
                <a:close/>
                <a:moveTo>
                  <a:pt x="32264" y="59056"/>
                </a:moveTo>
                <a:lnTo>
                  <a:pt x="33113" y="59244"/>
                </a:lnTo>
                <a:lnTo>
                  <a:pt x="31698" y="59339"/>
                </a:lnTo>
                <a:lnTo>
                  <a:pt x="31415" y="59339"/>
                </a:lnTo>
                <a:lnTo>
                  <a:pt x="32264" y="59056"/>
                </a:lnTo>
                <a:close/>
                <a:moveTo>
                  <a:pt x="60849" y="0"/>
                </a:moveTo>
                <a:lnTo>
                  <a:pt x="58679" y="95"/>
                </a:lnTo>
                <a:lnTo>
                  <a:pt x="56792" y="189"/>
                </a:lnTo>
                <a:lnTo>
                  <a:pt x="58584" y="378"/>
                </a:lnTo>
                <a:lnTo>
                  <a:pt x="58301" y="189"/>
                </a:lnTo>
                <a:lnTo>
                  <a:pt x="59151" y="378"/>
                </a:lnTo>
                <a:lnTo>
                  <a:pt x="58679" y="472"/>
                </a:lnTo>
                <a:lnTo>
                  <a:pt x="58018" y="472"/>
                </a:lnTo>
                <a:lnTo>
                  <a:pt x="56792" y="283"/>
                </a:lnTo>
                <a:lnTo>
                  <a:pt x="55943" y="283"/>
                </a:lnTo>
                <a:lnTo>
                  <a:pt x="54528" y="378"/>
                </a:lnTo>
                <a:lnTo>
                  <a:pt x="50660" y="378"/>
                </a:lnTo>
                <a:lnTo>
                  <a:pt x="48585" y="472"/>
                </a:lnTo>
                <a:lnTo>
                  <a:pt x="46226" y="472"/>
                </a:lnTo>
                <a:lnTo>
                  <a:pt x="43868" y="283"/>
                </a:lnTo>
                <a:lnTo>
                  <a:pt x="44056" y="472"/>
                </a:lnTo>
                <a:lnTo>
                  <a:pt x="44339" y="472"/>
                </a:lnTo>
                <a:lnTo>
                  <a:pt x="43396" y="661"/>
                </a:lnTo>
                <a:lnTo>
                  <a:pt x="42170" y="849"/>
                </a:lnTo>
                <a:lnTo>
                  <a:pt x="40849" y="755"/>
                </a:lnTo>
                <a:lnTo>
                  <a:pt x="40377" y="661"/>
                </a:lnTo>
                <a:lnTo>
                  <a:pt x="39906" y="566"/>
                </a:lnTo>
                <a:lnTo>
                  <a:pt x="39717" y="566"/>
                </a:lnTo>
                <a:lnTo>
                  <a:pt x="38207" y="661"/>
                </a:lnTo>
                <a:lnTo>
                  <a:pt x="36509" y="944"/>
                </a:lnTo>
                <a:lnTo>
                  <a:pt x="34906" y="1132"/>
                </a:lnTo>
                <a:lnTo>
                  <a:pt x="33585" y="1132"/>
                </a:lnTo>
                <a:lnTo>
                  <a:pt x="33962" y="1038"/>
                </a:lnTo>
                <a:lnTo>
                  <a:pt x="33774" y="944"/>
                </a:lnTo>
                <a:lnTo>
                  <a:pt x="33396" y="944"/>
                </a:lnTo>
                <a:lnTo>
                  <a:pt x="32453" y="1038"/>
                </a:lnTo>
                <a:lnTo>
                  <a:pt x="30283" y="1321"/>
                </a:lnTo>
                <a:lnTo>
                  <a:pt x="30472" y="1415"/>
                </a:lnTo>
                <a:lnTo>
                  <a:pt x="30566" y="1510"/>
                </a:lnTo>
                <a:lnTo>
                  <a:pt x="29151" y="1604"/>
                </a:lnTo>
                <a:lnTo>
                  <a:pt x="29057" y="1698"/>
                </a:lnTo>
                <a:lnTo>
                  <a:pt x="29717" y="1698"/>
                </a:lnTo>
                <a:lnTo>
                  <a:pt x="28208" y="1793"/>
                </a:lnTo>
                <a:lnTo>
                  <a:pt x="27547" y="1793"/>
                </a:lnTo>
                <a:lnTo>
                  <a:pt x="27642" y="1698"/>
                </a:lnTo>
                <a:lnTo>
                  <a:pt x="28585" y="1510"/>
                </a:lnTo>
                <a:lnTo>
                  <a:pt x="27736" y="1604"/>
                </a:lnTo>
                <a:lnTo>
                  <a:pt x="26887" y="1698"/>
                </a:lnTo>
                <a:lnTo>
                  <a:pt x="26038" y="1698"/>
                </a:lnTo>
                <a:lnTo>
                  <a:pt x="25189" y="1793"/>
                </a:lnTo>
                <a:lnTo>
                  <a:pt x="25189" y="1793"/>
                </a:lnTo>
                <a:lnTo>
                  <a:pt x="25755" y="1698"/>
                </a:lnTo>
                <a:lnTo>
                  <a:pt x="24906" y="1793"/>
                </a:lnTo>
                <a:lnTo>
                  <a:pt x="24057" y="1981"/>
                </a:lnTo>
                <a:lnTo>
                  <a:pt x="25094" y="1887"/>
                </a:lnTo>
                <a:lnTo>
                  <a:pt x="26132" y="1981"/>
                </a:lnTo>
                <a:lnTo>
                  <a:pt x="24906" y="2264"/>
                </a:lnTo>
                <a:lnTo>
                  <a:pt x="23585" y="2359"/>
                </a:lnTo>
                <a:lnTo>
                  <a:pt x="23585" y="2453"/>
                </a:lnTo>
                <a:lnTo>
                  <a:pt x="23585" y="2547"/>
                </a:lnTo>
                <a:lnTo>
                  <a:pt x="25566" y="2359"/>
                </a:lnTo>
                <a:lnTo>
                  <a:pt x="27547" y="2264"/>
                </a:lnTo>
                <a:lnTo>
                  <a:pt x="29434" y="1981"/>
                </a:lnTo>
                <a:lnTo>
                  <a:pt x="30377" y="1793"/>
                </a:lnTo>
                <a:lnTo>
                  <a:pt x="31321" y="1604"/>
                </a:lnTo>
                <a:lnTo>
                  <a:pt x="30472" y="1887"/>
                </a:lnTo>
                <a:lnTo>
                  <a:pt x="30660" y="1981"/>
                </a:lnTo>
                <a:lnTo>
                  <a:pt x="31038" y="2076"/>
                </a:lnTo>
                <a:lnTo>
                  <a:pt x="31981" y="2170"/>
                </a:lnTo>
                <a:lnTo>
                  <a:pt x="33302" y="2170"/>
                </a:lnTo>
                <a:lnTo>
                  <a:pt x="34717" y="2076"/>
                </a:lnTo>
                <a:lnTo>
                  <a:pt x="37075" y="1887"/>
                </a:lnTo>
                <a:lnTo>
                  <a:pt x="37830" y="1793"/>
                </a:lnTo>
                <a:lnTo>
                  <a:pt x="37924" y="1698"/>
                </a:lnTo>
                <a:lnTo>
                  <a:pt x="38868" y="1604"/>
                </a:lnTo>
                <a:lnTo>
                  <a:pt x="38962" y="1510"/>
                </a:lnTo>
                <a:lnTo>
                  <a:pt x="38868" y="1510"/>
                </a:lnTo>
                <a:lnTo>
                  <a:pt x="38113" y="1415"/>
                </a:lnTo>
                <a:lnTo>
                  <a:pt x="40000" y="1510"/>
                </a:lnTo>
                <a:lnTo>
                  <a:pt x="38868" y="1604"/>
                </a:lnTo>
                <a:lnTo>
                  <a:pt x="40000" y="1541"/>
                </a:lnTo>
                <a:lnTo>
                  <a:pt x="40000" y="1541"/>
                </a:lnTo>
                <a:lnTo>
                  <a:pt x="40094" y="1510"/>
                </a:lnTo>
                <a:lnTo>
                  <a:pt x="40377" y="1510"/>
                </a:lnTo>
                <a:lnTo>
                  <a:pt x="40283" y="1525"/>
                </a:lnTo>
                <a:lnTo>
                  <a:pt x="40283" y="1525"/>
                </a:lnTo>
                <a:lnTo>
                  <a:pt x="40566" y="1510"/>
                </a:lnTo>
                <a:lnTo>
                  <a:pt x="41509" y="1604"/>
                </a:lnTo>
                <a:lnTo>
                  <a:pt x="44151" y="1415"/>
                </a:lnTo>
                <a:lnTo>
                  <a:pt x="45000" y="1321"/>
                </a:lnTo>
                <a:lnTo>
                  <a:pt x="44434" y="1321"/>
                </a:lnTo>
                <a:lnTo>
                  <a:pt x="45188" y="1132"/>
                </a:lnTo>
                <a:lnTo>
                  <a:pt x="45660" y="1227"/>
                </a:lnTo>
                <a:lnTo>
                  <a:pt x="45755" y="1227"/>
                </a:lnTo>
                <a:lnTo>
                  <a:pt x="45755" y="1321"/>
                </a:lnTo>
                <a:lnTo>
                  <a:pt x="45377" y="1321"/>
                </a:lnTo>
                <a:lnTo>
                  <a:pt x="46038" y="1415"/>
                </a:lnTo>
                <a:lnTo>
                  <a:pt x="46792" y="1321"/>
                </a:lnTo>
                <a:lnTo>
                  <a:pt x="46792" y="1227"/>
                </a:lnTo>
                <a:lnTo>
                  <a:pt x="46981" y="1321"/>
                </a:lnTo>
                <a:lnTo>
                  <a:pt x="47547" y="1321"/>
                </a:lnTo>
                <a:lnTo>
                  <a:pt x="47358" y="1510"/>
                </a:lnTo>
                <a:lnTo>
                  <a:pt x="46981" y="1510"/>
                </a:lnTo>
                <a:lnTo>
                  <a:pt x="46792" y="1415"/>
                </a:lnTo>
                <a:lnTo>
                  <a:pt x="43868" y="1698"/>
                </a:lnTo>
                <a:lnTo>
                  <a:pt x="45566" y="1698"/>
                </a:lnTo>
                <a:lnTo>
                  <a:pt x="47264" y="1604"/>
                </a:lnTo>
                <a:lnTo>
                  <a:pt x="50566" y="1321"/>
                </a:lnTo>
                <a:lnTo>
                  <a:pt x="52169" y="1227"/>
                </a:lnTo>
                <a:lnTo>
                  <a:pt x="55471" y="1227"/>
                </a:lnTo>
                <a:lnTo>
                  <a:pt x="57075" y="1415"/>
                </a:lnTo>
                <a:lnTo>
                  <a:pt x="56603" y="1321"/>
                </a:lnTo>
                <a:lnTo>
                  <a:pt x="56509" y="1227"/>
                </a:lnTo>
                <a:lnTo>
                  <a:pt x="57264" y="1132"/>
                </a:lnTo>
                <a:lnTo>
                  <a:pt x="58396" y="1227"/>
                </a:lnTo>
                <a:lnTo>
                  <a:pt x="58773" y="1227"/>
                </a:lnTo>
                <a:lnTo>
                  <a:pt x="58962" y="1321"/>
                </a:lnTo>
                <a:lnTo>
                  <a:pt x="59905" y="1321"/>
                </a:lnTo>
                <a:lnTo>
                  <a:pt x="61037" y="1510"/>
                </a:lnTo>
                <a:lnTo>
                  <a:pt x="61603" y="1698"/>
                </a:lnTo>
                <a:lnTo>
                  <a:pt x="62075" y="1887"/>
                </a:lnTo>
                <a:lnTo>
                  <a:pt x="62452" y="2076"/>
                </a:lnTo>
                <a:lnTo>
                  <a:pt x="62547" y="2359"/>
                </a:lnTo>
                <a:lnTo>
                  <a:pt x="62641" y="4528"/>
                </a:lnTo>
                <a:lnTo>
                  <a:pt x="62641" y="8113"/>
                </a:lnTo>
                <a:lnTo>
                  <a:pt x="62547" y="17547"/>
                </a:lnTo>
                <a:lnTo>
                  <a:pt x="62547" y="22547"/>
                </a:lnTo>
                <a:lnTo>
                  <a:pt x="62641" y="27075"/>
                </a:lnTo>
                <a:lnTo>
                  <a:pt x="62830" y="30849"/>
                </a:lnTo>
                <a:lnTo>
                  <a:pt x="62924" y="32169"/>
                </a:lnTo>
                <a:lnTo>
                  <a:pt x="63113" y="33207"/>
                </a:lnTo>
                <a:lnTo>
                  <a:pt x="63113" y="34528"/>
                </a:lnTo>
                <a:lnTo>
                  <a:pt x="63207" y="35943"/>
                </a:lnTo>
                <a:lnTo>
                  <a:pt x="63207" y="36886"/>
                </a:lnTo>
                <a:lnTo>
                  <a:pt x="63113" y="38396"/>
                </a:lnTo>
                <a:lnTo>
                  <a:pt x="62830" y="42358"/>
                </a:lnTo>
                <a:lnTo>
                  <a:pt x="62547" y="46509"/>
                </a:lnTo>
                <a:lnTo>
                  <a:pt x="62452" y="48207"/>
                </a:lnTo>
                <a:lnTo>
                  <a:pt x="62547" y="49527"/>
                </a:lnTo>
                <a:lnTo>
                  <a:pt x="62547" y="51131"/>
                </a:lnTo>
                <a:lnTo>
                  <a:pt x="62547" y="52735"/>
                </a:lnTo>
                <a:lnTo>
                  <a:pt x="62358" y="53584"/>
                </a:lnTo>
                <a:lnTo>
                  <a:pt x="62264" y="54339"/>
                </a:lnTo>
                <a:lnTo>
                  <a:pt x="61981" y="55093"/>
                </a:lnTo>
                <a:lnTo>
                  <a:pt x="61603" y="55754"/>
                </a:lnTo>
                <a:lnTo>
                  <a:pt x="61792" y="55754"/>
                </a:lnTo>
                <a:lnTo>
                  <a:pt x="61886" y="55565"/>
                </a:lnTo>
                <a:lnTo>
                  <a:pt x="62169" y="55376"/>
                </a:lnTo>
                <a:lnTo>
                  <a:pt x="62264" y="55565"/>
                </a:lnTo>
                <a:lnTo>
                  <a:pt x="62169" y="55754"/>
                </a:lnTo>
                <a:lnTo>
                  <a:pt x="61981" y="56225"/>
                </a:lnTo>
                <a:lnTo>
                  <a:pt x="61792" y="56037"/>
                </a:lnTo>
                <a:lnTo>
                  <a:pt x="61509" y="55754"/>
                </a:lnTo>
                <a:lnTo>
                  <a:pt x="61603" y="55942"/>
                </a:lnTo>
                <a:lnTo>
                  <a:pt x="61509" y="55942"/>
                </a:lnTo>
                <a:lnTo>
                  <a:pt x="61603" y="56037"/>
                </a:lnTo>
                <a:lnTo>
                  <a:pt x="60094" y="56320"/>
                </a:lnTo>
                <a:lnTo>
                  <a:pt x="58773" y="56414"/>
                </a:lnTo>
                <a:lnTo>
                  <a:pt x="57547" y="56508"/>
                </a:lnTo>
                <a:lnTo>
                  <a:pt x="56415" y="56508"/>
                </a:lnTo>
                <a:lnTo>
                  <a:pt x="56698" y="56320"/>
                </a:lnTo>
                <a:lnTo>
                  <a:pt x="56698" y="56320"/>
                </a:lnTo>
                <a:lnTo>
                  <a:pt x="56037" y="56508"/>
                </a:lnTo>
                <a:lnTo>
                  <a:pt x="54811" y="56886"/>
                </a:lnTo>
                <a:lnTo>
                  <a:pt x="53679" y="57074"/>
                </a:lnTo>
                <a:lnTo>
                  <a:pt x="53868" y="56791"/>
                </a:lnTo>
                <a:lnTo>
                  <a:pt x="54245" y="56697"/>
                </a:lnTo>
                <a:lnTo>
                  <a:pt x="53019" y="56886"/>
                </a:lnTo>
                <a:lnTo>
                  <a:pt x="51698" y="56980"/>
                </a:lnTo>
                <a:lnTo>
                  <a:pt x="50943" y="57074"/>
                </a:lnTo>
                <a:lnTo>
                  <a:pt x="51132" y="57169"/>
                </a:lnTo>
                <a:lnTo>
                  <a:pt x="48962" y="57452"/>
                </a:lnTo>
                <a:lnTo>
                  <a:pt x="48962" y="57357"/>
                </a:lnTo>
                <a:lnTo>
                  <a:pt x="48019" y="57452"/>
                </a:lnTo>
                <a:lnTo>
                  <a:pt x="47641" y="57452"/>
                </a:lnTo>
                <a:lnTo>
                  <a:pt x="46604" y="57546"/>
                </a:lnTo>
                <a:lnTo>
                  <a:pt x="44717" y="57546"/>
                </a:lnTo>
                <a:lnTo>
                  <a:pt x="44339" y="57452"/>
                </a:lnTo>
                <a:lnTo>
                  <a:pt x="45000" y="57263"/>
                </a:lnTo>
                <a:lnTo>
                  <a:pt x="40000" y="57829"/>
                </a:lnTo>
                <a:lnTo>
                  <a:pt x="38019" y="58206"/>
                </a:lnTo>
                <a:lnTo>
                  <a:pt x="37547" y="58018"/>
                </a:lnTo>
                <a:lnTo>
                  <a:pt x="37075" y="58018"/>
                </a:lnTo>
                <a:lnTo>
                  <a:pt x="36698" y="58112"/>
                </a:lnTo>
                <a:lnTo>
                  <a:pt x="36415" y="58301"/>
                </a:lnTo>
                <a:lnTo>
                  <a:pt x="36038" y="58301"/>
                </a:lnTo>
                <a:lnTo>
                  <a:pt x="36038" y="58395"/>
                </a:lnTo>
                <a:lnTo>
                  <a:pt x="36321" y="58395"/>
                </a:lnTo>
                <a:lnTo>
                  <a:pt x="36132" y="58678"/>
                </a:lnTo>
                <a:lnTo>
                  <a:pt x="37075" y="58678"/>
                </a:lnTo>
                <a:lnTo>
                  <a:pt x="37830" y="58584"/>
                </a:lnTo>
                <a:lnTo>
                  <a:pt x="38585" y="58489"/>
                </a:lnTo>
                <a:lnTo>
                  <a:pt x="39434" y="58489"/>
                </a:lnTo>
                <a:lnTo>
                  <a:pt x="38585" y="58867"/>
                </a:lnTo>
                <a:lnTo>
                  <a:pt x="37358" y="59244"/>
                </a:lnTo>
                <a:lnTo>
                  <a:pt x="36792" y="59339"/>
                </a:lnTo>
                <a:lnTo>
                  <a:pt x="36226" y="59339"/>
                </a:lnTo>
                <a:lnTo>
                  <a:pt x="35755" y="59244"/>
                </a:lnTo>
                <a:lnTo>
                  <a:pt x="35566" y="59056"/>
                </a:lnTo>
                <a:lnTo>
                  <a:pt x="35472" y="58867"/>
                </a:lnTo>
                <a:lnTo>
                  <a:pt x="36509" y="58772"/>
                </a:lnTo>
                <a:lnTo>
                  <a:pt x="35377" y="58678"/>
                </a:lnTo>
                <a:lnTo>
                  <a:pt x="34151" y="58772"/>
                </a:lnTo>
                <a:lnTo>
                  <a:pt x="34057" y="58772"/>
                </a:lnTo>
                <a:lnTo>
                  <a:pt x="33208" y="58961"/>
                </a:lnTo>
                <a:lnTo>
                  <a:pt x="32264" y="59056"/>
                </a:lnTo>
                <a:lnTo>
                  <a:pt x="32264" y="59056"/>
                </a:lnTo>
                <a:lnTo>
                  <a:pt x="33113" y="58867"/>
                </a:lnTo>
                <a:lnTo>
                  <a:pt x="31887" y="58489"/>
                </a:lnTo>
                <a:lnTo>
                  <a:pt x="31132" y="58395"/>
                </a:lnTo>
                <a:lnTo>
                  <a:pt x="31038" y="58301"/>
                </a:lnTo>
                <a:lnTo>
                  <a:pt x="31132" y="58301"/>
                </a:lnTo>
                <a:lnTo>
                  <a:pt x="31509" y="58206"/>
                </a:lnTo>
                <a:lnTo>
                  <a:pt x="30660" y="58206"/>
                </a:lnTo>
                <a:lnTo>
                  <a:pt x="30283" y="58301"/>
                </a:lnTo>
                <a:lnTo>
                  <a:pt x="29906" y="58489"/>
                </a:lnTo>
                <a:lnTo>
                  <a:pt x="29151" y="58678"/>
                </a:lnTo>
                <a:lnTo>
                  <a:pt x="29340" y="58584"/>
                </a:lnTo>
                <a:lnTo>
                  <a:pt x="29434" y="58395"/>
                </a:lnTo>
                <a:lnTo>
                  <a:pt x="29434" y="58395"/>
                </a:lnTo>
                <a:lnTo>
                  <a:pt x="28585" y="58489"/>
                </a:lnTo>
                <a:lnTo>
                  <a:pt x="28491" y="58584"/>
                </a:lnTo>
                <a:lnTo>
                  <a:pt x="28396" y="58678"/>
                </a:lnTo>
                <a:lnTo>
                  <a:pt x="27736" y="58867"/>
                </a:lnTo>
                <a:lnTo>
                  <a:pt x="25660" y="59150"/>
                </a:lnTo>
                <a:lnTo>
                  <a:pt x="22170" y="59622"/>
                </a:lnTo>
                <a:lnTo>
                  <a:pt x="22359" y="59527"/>
                </a:lnTo>
                <a:lnTo>
                  <a:pt x="22359" y="59433"/>
                </a:lnTo>
                <a:lnTo>
                  <a:pt x="22264" y="59433"/>
                </a:lnTo>
                <a:lnTo>
                  <a:pt x="22453" y="59244"/>
                </a:lnTo>
                <a:lnTo>
                  <a:pt x="22453" y="59056"/>
                </a:lnTo>
                <a:lnTo>
                  <a:pt x="21132" y="59339"/>
                </a:lnTo>
                <a:lnTo>
                  <a:pt x="19246" y="59716"/>
                </a:lnTo>
                <a:lnTo>
                  <a:pt x="18208" y="59810"/>
                </a:lnTo>
                <a:lnTo>
                  <a:pt x="17264" y="59905"/>
                </a:lnTo>
                <a:lnTo>
                  <a:pt x="16415" y="59905"/>
                </a:lnTo>
                <a:lnTo>
                  <a:pt x="15849" y="59810"/>
                </a:lnTo>
                <a:lnTo>
                  <a:pt x="14246" y="59810"/>
                </a:lnTo>
                <a:lnTo>
                  <a:pt x="11981" y="59999"/>
                </a:lnTo>
                <a:lnTo>
                  <a:pt x="11981" y="59999"/>
                </a:lnTo>
                <a:lnTo>
                  <a:pt x="12359" y="59905"/>
                </a:lnTo>
                <a:lnTo>
                  <a:pt x="12736" y="59716"/>
                </a:lnTo>
                <a:lnTo>
                  <a:pt x="11415" y="59905"/>
                </a:lnTo>
                <a:lnTo>
                  <a:pt x="10000" y="60093"/>
                </a:lnTo>
                <a:lnTo>
                  <a:pt x="7076" y="60188"/>
                </a:lnTo>
                <a:lnTo>
                  <a:pt x="4151" y="60376"/>
                </a:lnTo>
                <a:lnTo>
                  <a:pt x="2831" y="60471"/>
                </a:lnTo>
                <a:lnTo>
                  <a:pt x="1604" y="60659"/>
                </a:lnTo>
                <a:lnTo>
                  <a:pt x="1227" y="59244"/>
                </a:lnTo>
                <a:lnTo>
                  <a:pt x="1038" y="57735"/>
                </a:lnTo>
                <a:lnTo>
                  <a:pt x="850" y="56131"/>
                </a:lnTo>
                <a:lnTo>
                  <a:pt x="755" y="54433"/>
                </a:lnTo>
                <a:lnTo>
                  <a:pt x="755" y="52735"/>
                </a:lnTo>
                <a:lnTo>
                  <a:pt x="755" y="50942"/>
                </a:lnTo>
                <a:lnTo>
                  <a:pt x="1038" y="47263"/>
                </a:lnTo>
                <a:lnTo>
                  <a:pt x="1321" y="43678"/>
                </a:lnTo>
                <a:lnTo>
                  <a:pt x="1699" y="39999"/>
                </a:lnTo>
                <a:lnTo>
                  <a:pt x="2453" y="33301"/>
                </a:lnTo>
                <a:lnTo>
                  <a:pt x="2548" y="33962"/>
                </a:lnTo>
                <a:lnTo>
                  <a:pt x="2642" y="34622"/>
                </a:lnTo>
                <a:lnTo>
                  <a:pt x="2642" y="33018"/>
                </a:lnTo>
                <a:lnTo>
                  <a:pt x="2551" y="32287"/>
                </a:lnTo>
                <a:lnTo>
                  <a:pt x="2642" y="30000"/>
                </a:lnTo>
                <a:lnTo>
                  <a:pt x="2453" y="30377"/>
                </a:lnTo>
                <a:lnTo>
                  <a:pt x="2453" y="29245"/>
                </a:lnTo>
                <a:lnTo>
                  <a:pt x="2453" y="27830"/>
                </a:lnTo>
                <a:lnTo>
                  <a:pt x="2642" y="28301"/>
                </a:lnTo>
                <a:lnTo>
                  <a:pt x="2736" y="28018"/>
                </a:lnTo>
                <a:lnTo>
                  <a:pt x="2831" y="28018"/>
                </a:lnTo>
                <a:lnTo>
                  <a:pt x="2925" y="28207"/>
                </a:lnTo>
                <a:lnTo>
                  <a:pt x="3019" y="26415"/>
                </a:lnTo>
                <a:lnTo>
                  <a:pt x="3019" y="24811"/>
                </a:lnTo>
                <a:lnTo>
                  <a:pt x="3019" y="23113"/>
                </a:lnTo>
                <a:lnTo>
                  <a:pt x="3019" y="22170"/>
                </a:lnTo>
                <a:lnTo>
                  <a:pt x="3208" y="21320"/>
                </a:lnTo>
                <a:lnTo>
                  <a:pt x="3302" y="19528"/>
                </a:lnTo>
                <a:lnTo>
                  <a:pt x="3302" y="17641"/>
                </a:lnTo>
                <a:lnTo>
                  <a:pt x="3302" y="16887"/>
                </a:lnTo>
                <a:lnTo>
                  <a:pt x="3208" y="16321"/>
                </a:lnTo>
                <a:lnTo>
                  <a:pt x="3397" y="16415"/>
                </a:lnTo>
                <a:lnTo>
                  <a:pt x="3585" y="11981"/>
                </a:lnTo>
                <a:lnTo>
                  <a:pt x="3680" y="11415"/>
                </a:lnTo>
                <a:lnTo>
                  <a:pt x="3680" y="11698"/>
                </a:lnTo>
                <a:lnTo>
                  <a:pt x="3774" y="11132"/>
                </a:lnTo>
                <a:lnTo>
                  <a:pt x="3868" y="10660"/>
                </a:lnTo>
                <a:lnTo>
                  <a:pt x="3774" y="10094"/>
                </a:lnTo>
                <a:lnTo>
                  <a:pt x="3680" y="9623"/>
                </a:lnTo>
                <a:lnTo>
                  <a:pt x="3774" y="9434"/>
                </a:lnTo>
                <a:lnTo>
                  <a:pt x="3868" y="9245"/>
                </a:lnTo>
                <a:lnTo>
                  <a:pt x="4057" y="8491"/>
                </a:lnTo>
                <a:lnTo>
                  <a:pt x="4340" y="6321"/>
                </a:lnTo>
                <a:lnTo>
                  <a:pt x="4623" y="2264"/>
                </a:lnTo>
                <a:lnTo>
                  <a:pt x="3491" y="7170"/>
                </a:lnTo>
                <a:lnTo>
                  <a:pt x="2925" y="9906"/>
                </a:lnTo>
                <a:lnTo>
                  <a:pt x="2359" y="12736"/>
                </a:lnTo>
                <a:lnTo>
                  <a:pt x="1982" y="15377"/>
                </a:lnTo>
                <a:lnTo>
                  <a:pt x="1699" y="17830"/>
                </a:lnTo>
                <a:lnTo>
                  <a:pt x="1510" y="19905"/>
                </a:lnTo>
                <a:lnTo>
                  <a:pt x="1604" y="20754"/>
                </a:lnTo>
                <a:lnTo>
                  <a:pt x="1699" y="21509"/>
                </a:lnTo>
                <a:lnTo>
                  <a:pt x="1321" y="22453"/>
                </a:lnTo>
                <a:lnTo>
                  <a:pt x="1133" y="23585"/>
                </a:lnTo>
                <a:lnTo>
                  <a:pt x="1038" y="24905"/>
                </a:lnTo>
                <a:lnTo>
                  <a:pt x="1038" y="26226"/>
                </a:lnTo>
                <a:lnTo>
                  <a:pt x="1038" y="28962"/>
                </a:lnTo>
                <a:lnTo>
                  <a:pt x="1038" y="31415"/>
                </a:lnTo>
                <a:lnTo>
                  <a:pt x="661" y="40188"/>
                </a:lnTo>
                <a:lnTo>
                  <a:pt x="472" y="44999"/>
                </a:lnTo>
                <a:lnTo>
                  <a:pt x="378" y="49622"/>
                </a:lnTo>
                <a:lnTo>
                  <a:pt x="472" y="51603"/>
                </a:lnTo>
                <a:lnTo>
                  <a:pt x="378" y="53961"/>
                </a:lnTo>
                <a:lnTo>
                  <a:pt x="189" y="53301"/>
                </a:lnTo>
                <a:lnTo>
                  <a:pt x="95" y="52641"/>
                </a:lnTo>
                <a:lnTo>
                  <a:pt x="189" y="53867"/>
                </a:lnTo>
                <a:lnTo>
                  <a:pt x="189" y="55093"/>
                </a:lnTo>
                <a:lnTo>
                  <a:pt x="378" y="55188"/>
                </a:lnTo>
                <a:lnTo>
                  <a:pt x="284" y="56508"/>
                </a:lnTo>
                <a:lnTo>
                  <a:pt x="95" y="54905"/>
                </a:lnTo>
                <a:lnTo>
                  <a:pt x="1" y="58489"/>
                </a:lnTo>
                <a:lnTo>
                  <a:pt x="1" y="62357"/>
                </a:lnTo>
                <a:lnTo>
                  <a:pt x="6038" y="61886"/>
                </a:lnTo>
                <a:lnTo>
                  <a:pt x="8963" y="61697"/>
                </a:lnTo>
                <a:lnTo>
                  <a:pt x="11698" y="61603"/>
                </a:lnTo>
                <a:lnTo>
                  <a:pt x="11698" y="61414"/>
                </a:lnTo>
                <a:lnTo>
                  <a:pt x="11887" y="61225"/>
                </a:lnTo>
                <a:lnTo>
                  <a:pt x="12264" y="61225"/>
                </a:lnTo>
                <a:lnTo>
                  <a:pt x="12548" y="61320"/>
                </a:lnTo>
                <a:lnTo>
                  <a:pt x="12736" y="61414"/>
                </a:lnTo>
                <a:lnTo>
                  <a:pt x="12642" y="61320"/>
                </a:lnTo>
                <a:lnTo>
                  <a:pt x="13302" y="61508"/>
                </a:lnTo>
                <a:lnTo>
                  <a:pt x="13302" y="61508"/>
                </a:lnTo>
                <a:lnTo>
                  <a:pt x="12736" y="61414"/>
                </a:lnTo>
                <a:lnTo>
                  <a:pt x="13019" y="61508"/>
                </a:lnTo>
                <a:lnTo>
                  <a:pt x="12736" y="61603"/>
                </a:lnTo>
                <a:lnTo>
                  <a:pt x="12831" y="61697"/>
                </a:lnTo>
                <a:lnTo>
                  <a:pt x="14246" y="61508"/>
                </a:lnTo>
                <a:lnTo>
                  <a:pt x="13491" y="61508"/>
                </a:lnTo>
                <a:lnTo>
                  <a:pt x="14717" y="61225"/>
                </a:lnTo>
                <a:lnTo>
                  <a:pt x="16038" y="61131"/>
                </a:lnTo>
                <a:lnTo>
                  <a:pt x="18962" y="61131"/>
                </a:lnTo>
                <a:lnTo>
                  <a:pt x="19151" y="61225"/>
                </a:lnTo>
                <a:lnTo>
                  <a:pt x="19623" y="61320"/>
                </a:lnTo>
                <a:lnTo>
                  <a:pt x="21227" y="61320"/>
                </a:lnTo>
                <a:lnTo>
                  <a:pt x="23302" y="61225"/>
                </a:lnTo>
                <a:lnTo>
                  <a:pt x="24245" y="61131"/>
                </a:lnTo>
                <a:lnTo>
                  <a:pt x="25094" y="60942"/>
                </a:lnTo>
                <a:lnTo>
                  <a:pt x="28868" y="60848"/>
                </a:lnTo>
                <a:lnTo>
                  <a:pt x="32642" y="60659"/>
                </a:lnTo>
                <a:lnTo>
                  <a:pt x="36415" y="60376"/>
                </a:lnTo>
                <a:lnTo>
                  <a:pt x="40283" y="60093"/>
                </a:lnTo>
                <a:lnTo>
                  <a:pt x="47830" y="59339"/>
                </a:lnTo>
                <a:lnTo>
                  <a:pt x="55377" y="58678"/>
                </a:lnTo>
                <a:lnTo>
                  <a:pt x="61037" y="58678"/>
                </a:lnTo>
                <a:lnTo>
                  <a:pt x="62264" y="58584"/>
                </a:lnTo>
                <a:lnTo>
                  <a:pt x="63207" y="58395"/>
                </a:lnTo>
                <a:lnTo>
                  <a:pt x="63490" y="58206"/>
                </a:lnTo>
                <a:lnTo>
                  <a:pt x="63773" y="58018"/>
                </a:lnTo>
                <a:lnTo>
                  <a:pt x="63962" y="57735"/>
                </a:lnTo>
                <a:lnTo>
                  <a:pt x="64150" y="57357"/>
                </a:lnTo>
                <a:lnTo>
                  <a:pt x="64339" y="56225"/>
                </a:lnTo>
                <a:lnTo>
                  <a:pt x="64528" y="54716"/>
                </a:lnTo>
                <a:lnTo>
                  <a:pt x="64528" y="53018"/>
                </a:lnTo>
                <a:lnTo>
                  <a:pt x="64622" y="49810"/>
                </a:lnTo>
                <a:lnTo>
                  <a:pt x="64622" y="47546"/>
                </a:lnTo>
                <a:lnTo>
                  <a:pt x="64905" y="40848"/>
                </a:lnTo>
                <a:lnTo>
                  <a:pt x="64999" y="36320"/>
                </a:lnTo>
                <a:lnTo>
                  <a:pt x="65094" y="33301"/>
                </a:lnTo>
                <a:lnTo>
                  <a:pt x="65188" y="33396"/>
                </a:lnTo>
                <a:lnTo>
                  <a:pt x="65188" y="31603"/>
                </a:lnTo>
                <a:lnTo>
                  <a:pt x="65188" y="29811"/>
                </a:lnTo>
                <a:lnTo>
                  <a:pt x="65094" y="30660"/>
                </a:lnTo>
                <a:lnTo>
                  <a:pt x="64905" y="28301"/>
                </a:lnTo>
                <a:lnTo>
                  <a:pt x="64811" y="25849"/>
                </a:lnTo>
                <a:lnTo>
                  <a:pt x="64716" y="23302"/>
                </a:lnTo>
                <a:lnTo>
                  <a:pt x="64622" y="20849"/>
                </a:lnTo>
                <a:lnTo>
                  <a:pt x="64811" y="22075"/>
                </a:lnTo>
                <a:lnTo>
                  <a:pt x="64811" y="20754"/>
                </a:lnTo>
                <a:lnTo>
                  <a:pt x="64811" y="18962"/>
                </a:lnTo>
                <a:lnTo>
                  <a:pt x="64811" y="18868"/>
                </a:lnTo>
                <a:lnTo>
                  <a:pt x="64716" y="17358"/>
                </a:lnTo>
                <a:lnTo>
                  <a:pt x="64811" y="18113"/>
                </a:lnTo>
                <a:lnTo>
                  <a:pt x="64999" y="16981"/>
                </a:lnTo>
                <a:lnTo>
                  <a:pt x="64905" y="15755"/>
                </a:lnTo>
                <a:lnTo>
                  <a:pt x="64811" y="14528"/>
                </a:lnTo>
                <a:lnTo>
                  <a:pt x="64716" y="13396"/>
                </a:lnTo>
                <a:lnTo>
                  <a:pt x="64622" y="13679"/>
                </a:lnTo>
                <a:lnTo>
                  <a:pt x="64551" y="13679"/>
                </a:lnTo>
                <a:lnTo>
                  <a:pt x="64622" y="13962"/>
                </a:lnTo>
                <a:lnTo>
                  <a:pt x="64716" y="15000"/>
                </a:lnTo>
                <a:lnTo>
                  <a:pt x="64528" y="14623"/>
                </a:lnTo>
                <a:lnTo>
                  <a:pt x="64528" y="15094"/>
                </a:lnTo>
                <a:lnTo>
                  <a:pt x="64339" y="12736"/>
                </a:lnTo>
                <a:lnTo>
                  <a:pt x="64150" y="11698"/>
                </a:lnTo>
                <a:lnTo>
                  <a:pt x="64056" y="11604"/>
                </a:lnTo>
                <a:lnTo>
                  <a:pt x="64056" y="11226"/>
                </a:lnTo>
                <a:lnTo>
                  <a:pt x="64245" y="10566"/>
                </a:lnTo>
                <a:lnTo>
                  <a:pt x="64245" y="9811"/>
                </a:lnTo>
                <a:lnTo>
                  <a:pt x="64245" y="9560"/>
                </a:lnTo>
                <a:lnTo>
                  <a:pt x="64433" y="10189"/>
                </a:lnTo>
                <a:lnTo>
                  <a:pt x="64622" y="11604"/>
                </a:lnTo>
                <a:lnTo>
                  <a:pt x="64811" y="13019"/>
                </a:lnTo>
                <a:lnTo>
                  <a:pt x="64905" y="14151"/>
                </a:lnTo>
                <a:lnTo>
                  <a:pt x="64905" y="12830"/>
                </a:lnTo>
                <a:lnTo>
                  <a:pt x="64811" y="11698"/>
                </a:lnTo>
                <a:lnTo>
                  <a:pt x="64528" y="9340"/>
                </a:lnTo>
                <a:lnTo>
                  <a:pt x="64433" y="9528"/>
                </a:lnTo>
                <a:lnTo>
                  <a:pt x="64433" y="9340"/>
                </a:lnTo>
                <a:lnTo>
                  <a:pt x="64245" y="8585"/>
                </a:lnTo>
                <a:lnTo>
                  <a:pt x="64150" y="7264"/>
                </a:lnTo>
                <a:lnTo>
                  <a:pt x="64056" y="9434"/>
                </a:lnTo>
                <a:lnTo>
                  <a:pt x="63773" y="8868"/>
                </a:lnTo>
                <a:lnTo>
                  <a:pt x="63679" y="7925"/>
                </a:lnTo>
                <a:lnTo>
                  <a:pt x="63584" y="6792"/>
                </a:lnTo>
                <a:lnTo>
                  <a:pt x="63490" y="5566"/>
                </a:lnTo>
                <a:lnTo>
                  <a:pt x="63490" y="1227"/>
                </a:lnTo>
                <a:lnTo>
                  <a:pt x="63490" y="661"/>
                </a:lnTo>
                <a:lnTo>
                  <a:pt x="63396" y="566"/>
                </a:lnTo>
                <a:lnTo>
                  <a:pt x="63207" y="378"/>
                </a:lnTo>
                <a:lnTo>
                  <a:pt x="62641" y="189"/>
                </a:lnTo>
                <a:lnTo>
                  <a:pt x="61792" y="95"/>
                </a:lnTo>
                <a:lnTo>
                  <a:pt x="60849" y="0"/>
                </a:lnTo>
                <a:close/>
              </a:path>
            </a:pathLst>
          </a:custGeom>
          <a:solidFill>
            <a:schemeClr val="accent2"/>
          </a:solidFill>
          <a:ln>
            <a:noFill/>
          </a:ln>
        </p:spPr>
        <p:txBody>
          <a:bodyPr spcFirstLastPara="1" wrap="square" lIns="302702" tIns="302702" rIns="302702" bIns="302702" anchor="ctr" anchorCtr="0">
            <a:noAutofit/>
          </a:bodyPr>
          <a:lstStyle/>
          <a:p>
            <a:pPr defTabSz="3027425" fontAlgn="auto">
              <a:spcBef>
                <a:spcPts val="0"/>
              </a:spcBef>
              <a:spcAft>
                <a:spcPts val="0"/>
              </a:spcAft>
              <a:buClr>
                <a:srgbClr val="000000"/>
              </a:buClr>
              <a:buNone/>
            </a:pPr>
            <a:endParaRPr sz="4635" kern="0" spc="0">
              <a:solidFill>
                <a:srgbClr val="000000"/>
              </a:solidFill>
              <a:latin typeface="Arial"/>
              <a:cs typeface="Arial"/>
              <a:sym typeface="Arial"/>
            </a:endParaRPr>
          </a:p>
        </p:txBody>
      </p:sp>
      <p:sp>
        <p:nvSpPr>
          <p:cNvPr id="39" name="TextBox 38">
            <a:extLst>
              <a:ext uri="{FF2B5EF4-FFF2-40B4-BE49-F238E27FC236}">
                <a16:creationId xmlns:a16="http://schemas.microsoft.com/office/drawing/2014/main" id="{1322A687-9B08-9575-DBA6-301D64EDD270}"/>
              </a:ext>
            </a:extLst>
          </p:cNvPr>
          <p:cNvSpPr txBox="1"/>
          <p:nvPr/>
        </p:nvSpPr>
        <p:spPr>
          <a:xfrm>
            <a:off x="4499572" y="1705734"/>
            <a:ext cx="3449371" cy="3065442"/>
          </a:xfrm>
          <a:prstGeom prst="rect">
            <a:avLst/>
          </a:prstGeom>
          <a:solidFill>
            <a:srgbClr val="E6E6E6"/>
          </a:solidFill>
        </p:spPr>
        <p:txBody>
          <a:bodyPr wrap="square" lIns="0" tIns="0" rIns="0" bIns="0" rtlCol="0">
            <a:spAutoFit/>
          </a:bodyPr>
          <a:lstStyle/>
          <a:p>
            <a:endParaRPr lang="da-DK" sz="2000" err="1"/>
          </a:p>
        </p:txBody>
      </p:sp>
      <p:sp>
        <p:nvSpPr>
          <p:cNvPr id="38" name="Shape 396">
            <a:extLst>
              <a:ext uri="{FF2B5EF4-FFF2-40B4-BE49-F238E27FC236}">
                <a16:creationId xmlns:a16="http://schemas.microsoft.com/office/drawing/2014/main" id="{123D5526-0ACA-7636-CC6E-9BFEC9A99261}"/>
              </a:ext>
            </a:extLst>
          </p:cNvPr>
          <p:cNvSpPr>
            <a:spLocks noChangeAspect="1"/>
          </p:cNvSpPr>
          <p:nvPr/>
        </p:nvSpPr>
        <p:spPr>
          <a:xfrm>
            <a:off x="4573834" y="1904623"/>
            <a:ext cx="3044332" cy="2650977"/>
          </a:xfrm>
          <a:custGeom>
            <a:avLst/>
            <a:gdLst/>
            <a:ahLst/>
            <a:cxnLst/>
            <a:rect l="0" t="0" r="0" b="0"/>
            <a:pathLst>
              <a:path w="73112" h="68207" extrusionOk="0">
                <a:moveTo>
                  <a:pt x="46809" y="1210"/>
                </a:moveTo>
                <a:lnTo>
                  <a:pt x="46886" y="1227"/>
                </a:lnTo>
                <a:lnTo>
                  <a:pt x="46886" y="1227"/>
                </a:lnTo>
                <a:lnTo>
                  <a:pt x="46866" y="1215"/>
                </a:lnTo>
                <a:lnTo>
                  <a:pt x="46809" y="1210"/>
                </a:lnTo>
                <a:close/>
                <a:moveTo>
                  <a:pt x="35754" y="1982"/>
                </a:moveTo>
                <a:lnTo>
                  <a:pt x="36320" y="2170"/>
                </a:lnTo>
                <a:lnTo>
                  <a:pt x="36037" y="2170"/>
                </a:lnTo>
                <a:lnTo>
                  <a:pt x="35660" y="2076"/>
                </a:lnTo>
                <a:lnTo>
                  <a:pt x="35754" y="1982"/>
                </a:lnTo>
                <a:close/>
                <a:moveTo>
                  <a:pt x="42641" y="1321"/>
                </a:moveTo>
                <a:lnTo>
                  <a:pt x="44622" y="1510"/>
                </a:lnTo>
                <a:lnTo>
                  <a:pt x="46603" y="1793"/>
                </a:lnTo>
                <a:lnTo>
                  <a:pt x="46226" y="1793"/>
                </a:lnTo>
                <a:lnTo>
                  <a:pt x="46320" y="1982"/>
                </a:lnTo>
                <a:lnTo>
                  <a:pt x="45660" y="1793"/>
                </a:lnTo>
                <a:lnTo>
                  <a:pt x="44905" y="1699"/>
                </a:lnTo>
                <a:lnTo>
                  <a:pt x="44905" y="1699"/>
                </a:lnTo>
                <a:lnTo>
                  <a:pt x="45188" y="2076"/>
                </a:lnTo>
                <a:lnTo>
                  <a:pt x="45282" y="2265"/>
                </a:lnTo>
                <a:lnTo>
                  <a:pt x="45094" y="2265"/>
                </a:lnTo>
                <a:lnTo>
                  <a:pt x="44716" y="2170"/>
                </a:lnTo>
                <a:lnTo>
                  <a:pt x="43773" y="1793"/>
                </a:lnTo>
                <a:lnTo>
                  <a:pt x="42641" y="1321"/>
                </a:lnTo>
                <a:close/>
                <a:moveTo>
                  <a:pt x="34622" y="5095"/>
                </a:moveTo>
                <a:lnTo>
                  <a:pt x="34169" y="5151"/>
                </a:lnTo>
                <a:lnTo>
                  <a:pt x="34169" y="5151"/>
                </a:lnTo>
                <a:lnTo>
                  <a:pt x="34056" y="5189"/>
                </a:lnTo>
                <a:lnTo>
                  <a:pt x="34622" y="5095"/>
                </a:lnTo>
                <a:close/>
                <a:moveTo>
                  <a:pt x="58490" y="6793"/>
                </a:moveTo>
                <a:lnTo>
                  <a:pt x="59056" y="7453"/>
                </a:lnTo>
                <a:lnTo>
                  <a:pt x="59087" y="7476"/>
                </a:lnTo>
                <a:lnTo>
                  <a:pt x="58490" y="6793"/>
                </a:lnTo>
                <a:close/>
                <a:moveTo>
                  <a:pt x="56697" y="7736"/>
                </a:moveTo>
                <a:lnTo>
                  <a:pt x="57358" y="8113"/>
                </a:lnTo>
                <a:lnTo>
                  <a:pt x="57075" y="8113"/>
                </a:lnTo>
                <a:lnTo>
                  <a:pt x="56697" y="7736"/>
                </a:lnTo>
                <a:close/>
                <a:moveTo>
                  <a:pt x="59810" y="8679"/>
                </a:moveTo>
                <a:lnTo>
                  <a:pt x="60087" y="8956"/>
                </a:lnTo>
                <a:lnTo>
                  <a:pt x="59905" y="8774"/>
                </a:lnTo>
                <a:lnTo>
                  <a:pt x="59810" y="8679"/>
                </a:lnTo>
                <a:close/>
                <a:moveTo>
                  <a:pt x="57546" y="8019"/>
                </a:moveTo>
                <a:lnTo>
                  <a:pt x="58395" y="8774"/>
                </a:lnTo>
                <a:lnTo>
                  <a:pt x="59339" y="9434"/>
                </a:lnTo>
                <a:lnTo>
                  <a:pt x="58490" y="8868"/>
                </a:lnTo>
                <a:lnTo>
                  <a:pt x="57735" y="8208"/>
                </a:lnTo>
                <a:lnTo>
                  <a:pt x="57546" y="8019"/>
                </a:lnTo>
                <a:close/>
                <a:moveTo>
                  <a:pt x="60282" y="9246"/>
                </a:moveTo>
                <a:lnTo>
                  <a:pt x="60565" y="9812"/>
                </a:lnTo>
                <a:lnTo>
                  <a:pt x="60282" y="9529"/>
                </a:lnTo>
                <a:lnTo>
                  <a:pt x="60282" y="9340"/>
                </a:lnTo>
                <a:lnTo>
                  <a:pt x="60282" y="9246"/>
                </a:lnTo>
                <a:close/>
                <a:moveTo>
                  <a:pt x="59999" y="8396"/>
                </a:moveTo>
                <a:lnTo>
                  <a:pt x="60659" y="8774"/>
                </a:lnTo>
                <a:lnTo>
                  <a:pt x="61131" y="9340"/>
                </a:lnTo>
                <a:lnTo>
                  <a:pt x="61603" y="9906"/>
                </a:lnTo>
                <a:lnTo>
                  <a:pt x="61886" y="10566"/>
                </a:lnTo>
                <a:lnTo>
                  <a:pt x="60942" y="9434"/>
                </a:lnTo>
                <a:lnTo>
                  <a:pt x="61320" y="10095"/>
                </a:lnTo>
                <a:lnTo>
                  <a:pt x="59999" y="8396"/>
                </a:lnTo>
                <a:close/>
                <a:moveTo>
                  <a:pt x="63773" y="11132"/>
                </a:moveTo>
                <a:lnTo>
                  <a:pt x="64537" y="12278"/>
                </a:lnTo>
                <a:lnTo>
                  <a:pt x="64622" y="12359"/>
                </a:lnTo>
                <a:lnTo>
                  <a:pt x="63773" y="11132"/>
                </a:lnTo>
                <a:close/>
                <a:moveTo>
                  <a:pt x="65093" y="14528"/>
                </a:moveTo>
                <a:lnTo>
                  <a:pt x="65376" y="15189"/>
                </a:lnTo>
                <a:lnTo>
                  <a:pt x="65659" y="15755"/>
                </a:lnTo>
                <a:lnTo>
                  <a:pt x="66037" y="16981"/>
                </a:lnTo>
                <a:lnTo>
                  <a:pt x="65659" y="16321"/>
                </a:lnTo>
                <a:lnTo>
                  <a:pt x="65282" y="15377"/>
                </a:lnTo>
                <a:lnTo>
                  <a:pt x="65093" y="14528"/>
                </a:lnTo>
                <a:close/>
                <a:moveTo>
                  <a:pt x="65093" y="16321"/>
                </a:moveTo>
                <a:lnTo>
                  <a:pt x="65565" y="16698"/>
                </a:lnTo>
                <a:lnTo>
                  <a:pt x="65942" y="17076"/>
                </a:lnTo>
                <a:lnTo>
                  <a:pt x="66320" y="17547"/>
                </a:lnTo>
                <a:lnTo>
                  <a:pt x="66414" y="17830"/>
                </a:lnTo>
                <a:lnTo>
                  <a:pt x="66508" y="18113"/>
                </a:lnTo>
                <a:lnTo>
                  <a:pt x="65848" y="17170"/>
                </a:lnTo>
                <a:lnTo>
                  <a:pt x="65093" y="16321"/>
                </a:lnTo>
                <a:close/>
                <a:moveTo>
                  <a:pt x="72074" y="36226"/>
                </a:moveTo>
                <a:lnTo>
                  <a:pt x="71791" y="37547"/>
                </a:lnTo>
                <a:lnTo>
                  <a:pt x="71603" y="38773"/>
                </a:lnTo>
                <a:lnTo>
                  <a:pt x="71320" y="40000"/>
                </a:lnTo>
                <a:lnTo>
                  <a:pt x="70754" y="41509"/>
                </a:lnTo>
                <a:lnTo>
                  <a:pt x="70942" y="40283"/>
                </a:lnTo>
                <a:lnTo>
                  <a:pt x="71225" y="38962"/>
                </a:lnTo>
                <a:lnTo>
                  <a:pt x="72074" y="36226"/>
                </a:lnTo>
                <a:close/>
                <a:moveTo>
                  <a:pt x="69150" y="44433"/>
                </a:moveTo>
                <a:lnTo>
                  <a:pt x="68867" y="44905"/>
                </a:lnTo>
                <a:lnTo>
                  <a:pt x="68584" y="45377"/>
                </a:lnTo>
                <a:lnTo>
                  <a:pt x="68206" y="45754"/>
                </a:lnTo>
                <a:lnTo>
                  <a:pt x="67923" y="46132"/>
                </a:lnTo>
                <a:lnTo>
                  <a:pt x="68112" y="45754"/>
                </a:lnTo>
                <a:lnTo>
                  <a:pt x="68678" y="45188"/>
                </a:lnTo>
                <a:lnTo>
                  <a:pt x="69150" y="44433"/>
                </a:lnTo>
                <a:close/>
                <a:moveTo>
                  <a:pt x="67357" y="47830"/>
                </a:moveTo>
                <a:lnTo>
                  <a:pt x="66886" y="48584"/>
                </a:lnTo>
                <a:lnTo>
                  <a:pt x="66508" y="48867"/>
                </a:lnTo>
                <a:lnTo>
                  <a:pt x="66414" y="48867"/>
                </a:lnTo>
                <a:lnTo>
                  <a:pt x="66414" y="48773"/>
                </a:lnTo>
                <a:lnTo>
                  <a:pt x="66886" y="48301"/>
                </a:lnTo>
                <a:lnTo>
                  <a:pt x="67357" y="47830"/>
                </a:lnTo>
                <a:close/>
                <a:moveTo>
                  <a:pt x="65093" y="48396"/>
                </a:moveTo>
                <a:lnTo>
                  <a:pt x="65376" y="48490"/>
                </a:lnTo>
                <a:lnTo>
                  <a:pt x="64905" y="49056"/>
                </a:lnTo>
                <a:lnTo>
                  <a:pt x="64622" y="49528"/>
                </a:lnTo>
                <a:lnTo>
                  <a:pt x="64244" y="49811"/>
                </a:lnTo>
                <a:lnTo>
                  <a:pt x="64244" y="49905"/>
                </a:lnTo>
                <a:lnTo>
                  <a:pt x="64056" y="49905"/>
                </a:lnTo>
                <a:lnTo>
                  <a:pt x="64056" y="49811"/>
                </a:lnTo>
                <a:lnTo>
                  <a:pt x="64433" y="49150"/>
                </a:lnTo>
                <a:lnTo>
                  <a:pt x="64622" y="48867"/>
                </a:lnTo>
                <a:lnTo>
                  <a:pt x="64905" y="48584"/>
                </a:lnTo>
                <a:lnTo>
                  <a:pt x="65093" y="48396"/>
                </a:lnTo>
                <a:close/>
                <a:moveTo>
                  <a:pt x="6981" y="52452"/>
                </a:moveTo>
                <a:lnTo>
                  <a:pt x="7170" y="53112"/>
                </a:lnTo>
                <a:lnTo>
                  <a:pt x="7075" y="53018"/>
                </a:lnTo>
                <a:lnTo>
                  <a:pt x="6981" y="52641"/>
                </a:lnTo>
                <a:lnTo>
                  <a:pt x="6981" y="52452"/>
                </a:lnTo>
                <a:close/>
                <a:moveTo>
                  <a:pt x="7736" y="54339"/>
                </a:moveTo>
                <a:lnTo>
                  <a:pt x="7641" y="54433"/>
                </a:lnTo>
                <a:lnTo>
                  <a:pt x="7641" y="54339"/>
                </a:lnTo>
                <a:close/>
                <a:moveTo>
                  <a:pt x="61225" y="55094"/>
                </a:moveTo>
                <a:lnTo>
                  <a:pt x="61037" y="55377"/>
                </a:lnTo>
                <a:lnTo>
                  <a:pt x="60754" y="55471"/>
                </a:lnTo>
                <a:lnTo>
                  <a:pt x="60754" y="55471"/>
                </a:lnTo>
                <a:lnTo>
                  <a:pt x="60942" y="55282"/>
                </a:lnTo>
                <a:lnTo>
                  <a:pt x="61225" y="55094"/>
                </a:lnTo>
                <a:close/>
                <a:moveTo>
                  <a:pt x="6132" y="53867"/>
                </a:moveTo>
                <a:lnTo>
                  <a:pt x="7358" y="55377"/>
                </a:lnTo>
                <a:lnTo>
                  <a:pt x="7641" y="55471"/>
                </a:lnTo>
                <a:lnTo>
                  <a:pt x="7641" y="55471"/>
                </a:lnTo>
                <a:lnTo>
                  <a:pt x="7641" y="55471"/>
                </a:lnTo>
                <a:lnTo>
                  <a:pt x="7830" y="55565"/>
                </a:lnTo>
                <a:lnTo>
                  <a:pt x="8302" y="56414"/>
                </a:lnTo>
                <a:lnTo>
                  <a:pt x="7170" y="55471"/>
                </a:lnTo>
                <a:lnTo>
                  <a:pt x="6509" y="54622"/>
                </a:lnTo>
                <a:lnTo>
                  <a:pt x="6226" y="54245"/>
                </a:lnTo>
                <a:lnTo>
                  <a:pt x="6132" y="53867"/>
                </a:lnTo>
                <a:close/>
                <a:moveTo>
                  <a:pt x="9056" y="56414"/>
                </a:moveTo>
                <a:lnTo>
                  <a:pt x="9245" y="56509"/>
                </a:lnTo>
                <a:lnTo>
                  <a:pt x="9151" y="56509"/>
                </a:lnTo>
                <a:lnTo>
                  <a:pt x="9056" y="56414"/>
                </a:lnTo>
                <a:close/>
                <a:moveTo>
                  <a:pt x="10472" y="56980"/>
                </a:moveTo>
                <a:lnTo>
                  <a:pt x="11321" y="57358"/>
                </a:lnTo>
                <a:lnTo>
                  <a:pt x="11887" y="57735"/>
                </a:lnTo>
                <a:lnTo>
                  <a:pt x="12264" y="58018"/>
                </a:lnTo>
                <a:lnTo>
                  <a:pt x="11604" y="57641"/>
                </a:lnTo>
                <a:lnTo>
                  <a:pt x="11604" y="57641"/>
                </a:lnTo>
                <a:lnTo>
                  <a:pt x="11792" y="58112"/>
                </a:lnTo>
                <a:lnTo>
                  <a:pt x="11604" y="58018"/>
                </a:lnTo>
                <a:lnTo>
                  <a:pt x="11132" y="57452"/>
                </a:lnTo>
                <a:lnTo>
                  <a:pt x="10849" y="57169"/>
                </a:lnTo>
                <a:lnTo>
                  <a:pt x="10472" y="56980"/>
                </a:lnTo>
                <a:close/>
                <a:moveTo>
                  <a:pt x="18019" y="59433"/>
                </a:moveTo>
                <a:lnTo>
                  <a:pt x="18773" y="59810"/>
                </a:lnTo>
                <a:lnTo>
                  <a:pt x="19528" y="60376"/>
                </a:lnTo>
                <a:lnTo>
                  <a:pt x="19056" y="60282"/>
                </a:lnTo>
                <a:lnTo>
                  <a:pt x="18962" y="60188"/>
                </a:lnTo>
                <a:lnTo>
                  <a:pt x="18490" y="59810"/>
                </a:lnTo>
                <a:lnTo>
                  <a:pt x="18019" y="59433"/>
                </a:lnTo>
                <a:close/>
                <a:moveTo>
                  <a:pt x="14528" y="59999"/>
                </a:moveTo>
                <a:lnTo>
                  <a:pt x="14717" y="60093"/>
                </a:lnTo>
                <a:lnTo>
                  <a:pt x="14905" y="60188"/>
                </a:lnTo>
                <a:lnTo>
                  <a:pt x="15188" y="60471"/>
                </a:lnTo>
                <a:lnTo>
                  <a:pt x="15283" y="60565"/>
                </a:lnTo>
                <a:lnTo>
                  <a:pt x="15188" y="60565"/>
                </a:lnTo>
                <a:lnTo>
                  <a:pt x="14528" y="59999"/>
                </a:lnTo>
                <a:close/>
                <a:moveTo>
                  <a:pt x="49339" y="60188"/>
                </a:moveTo>
                <a:lnTo>
                  <a:pt x="48395" y="60565"/>
                </a:lnTo>
                <a:lnTo>
                  <a:pt x="47924" y="60754"/>
                </a:lnTo>
                <a:lnTo>
                  <a:pt x="47452" y="60754"/>
                </a:lnTo>
                <a:lnTo>
                  <a:pt x="47924" y="60471"/>
                </a:lnTo>
                <a:lnTo>
                  <a:pt x="48301" y="60282"/>
                </a:lnTo>
                <a:lnTo>
                  <a:pt x="49056" y="60188"/>
                </a:lnTo>
                <a:close/>
                <a:moveTo>
                  <a:pt x="19245" y="60565"/>
                </a:moveTo>
                <a:lnTo>
                  <a:pt x="19811" y="60659"/>
                </a:lnTo>
                <a:lnTo>
                  <a:pt x="20566" y="61037"/>
                </a:lnTo>
                <a:lnTo>
                  <a:pt x="20566" y="61037"/>
                </a:lnTo>
                <a:lnTo>
                  <a:pt x="19811" y="60848"/>
                </a:lnTo>
                <a:lnTo>
                  <a:pt x="19245" y="60565"/>
                </a:lnTo>
                <a:close/>
                <a:moveTo>
                  <a:pt x="47075" y="61226"/>
                </a:moveTo>
                <a:lnTo>
                  <a:pt x="46792" y="61414"/>
                </a:lnTo>
                <a:lnTo>
                  <a:pt x="46697" y="61509"/>
                </a:lnTo>
                <a:lnTo>
                  <a:pt x="46792" y="61603"/>
                </a:lnTo>
                <a:lnTo>
                  <a:pt x="47263" y="61603"/>
                </a:lnTo>
                <a:lnTo>
                  <a:pt x="47641" y="61509"/>
                </a:lnTo>
                <a:lnTo>
                  <a:pt x="46886" y="61792"/>
                </a:lnTo>
                <a:lnTo>
                  <a:pt x="46131" y="61886"/>
                </a:lnTo>
                <a:lnTo>
                  <a:pt x="46131" y="61980"/>
                </a:lnTo>
                <a:lnTo>
                  <a:pt x="46037" y="61980"/>
                </a:lnTo>
                <a:lnTo>
                  <a:pt x="45660" y="61697"/>
                </a:lnTo>
                <a:lnTo>
                  <a:pt x="46320" y="61320"/>
                </a:lnTo>
                <a:lnTo>
                  <a:pt x="47075" y="61226"/>
                </a:lnTo>
                <a:close/>
                <a:moveTo>
                  <a:pt x="24151" y="63678"/>
                </a:moveTo>
                <a:lnTo>
                  <a:pt x="24905" y="63961"/>
                </a:lnTo>
                <a:lnTo>
                  <a:pt x="25754" y="64244"/>
                </a:lnTo>
                <a:lnTo>
                  <a:pt x="25188" y="64244"/>
                </a:lnTo>
                <a:lnTo>
                  <a:pt x="24151" y="64150"/>
                </a:lnTo>
                <a:lnTo>
                  <a:pt x="23773" y="64056"/>
                </a:lnTo>
                <a:lnTo>
                  <a:pt x="23585" y="63961"/>
                </a:lnTo>
                <a:lnTo>
                  <a:pt x="23585" y="63867"/>
                </a:lnTo>
                <a:lnTo>
                  <a:pt x="23585" y="63773"/>
                </a:lnTo>
                <a:lnTo>
                  <a:pt x="24151" y="63678"/>
                </a:lnTo>
                <a:close/>
                <a:moveTo>
                  <a:pt x="34811" y="64622"/>
                </a:moveTo>
                <a:lnTo>
                  <a:pt x="35094" y="64810"/>
                </a:lnTo>
                <a:lnTo>
                  <a:pt x="35377" y="64905"/>
                </a:lnTo>
                <a:lnTo>
                  <a:pt x="34622" y="64999"/>
                </a:lnTo>
                <a:lnTo>
                  <a:pt x="34056" y="64999"/>
                </a:lnTo>
                <a:lnTo>
                  <a:pt x="34056" y="64905"/>
                </a:lnTo>
                <a:lnTo>
                  <a:pt x="34811" y="64622"/>
                </a:lnTo>
                <a:close/>
                <a:moveTo>
                  <a:pt x="46414" y="63773"/>
                </a:moveTo>
                <a:lnTo>
                  <a:pt x="46131" y="64056"/>
                </a:lnTo>
                <a:lnTo>
                  <a:pt x="44433" y="64716"/>
                </a:lnTo>
                <a:lnTo>
                  <a:pt x="43962" y="64905"/>
                </a:lnTo>
                <a:lnTo>
                  <a:pt x="44150" y="64810"/>
                </a:lnTo>
                <a:lnTo>
                  <a:pt x="42641" y="64999"/>
                </a:lnTo>
                <a:lnTo>
                  <a:pt x="42924" y="64810"/>
                </a:lnTo>
                <a:lnTo>
                  <a:pt x="43207" y="64622"/>
                </a:lnTo>
                <a:lnTo>
                  <a:pt x="42358" y="64905"/>
                </a:lnTo>
                <a:lnTo>
                  <a:pt x="43113" y="64622"/>
                </a:lnTo>
                <a:lnTo>
                  <a:pt x="45377" y="63867"/>
                </a:lnTo>
                <a:lnTo>
                  <a:pt x="44999" y="64150"/>
                </a:lnTo>
                <a:lnTo>
                  <a:pt x="44622" y="64433"/>
                </a:lnTo>
                <a:lnTo>
                  <a:pt x="46414" y="63773"/>
                </a:lnTo>
                <a:close/>
                <a:moveTo>
                  <a:pt x="39905" y="64622"/>
                </a:moveTo>
                <a:lnTo>
                  <a:pt x="39811" y="64716"/>
                </a:lnTo>
                <a:lnTo>
                  <a:pt x="39622" y="64810"/>
                </a:lnTo>
                <a:lnTo>
                  <a:pt x="38962" y="64999"/>
                </a:lnTo>
                <a:lnTo>
                  <a:pt x="38207" y="65093"/>
                </a:lnTo>
                <a:lnTo>
                  <a:pt x="37641" y="65093"/>
                </a:lnTo>
                <a:lnTo>
                  <a:pt x="39056" y="64810"/>
                </a:lnTo>
                <a:lnTo>
                  <a:pt x="39528" y="64716"/>
                </a:lnTo>
                <a:lnTo>
                  <a:pt x="39905" y="64622"/>
                </a:lnTo>
                <a:close/>
                <a:moveTo>
                  <a:pt x="42829" y="64056"/>
                </a:moveTo>
                <a:lnTo>
                  <a:pt x="42452" y="64244"/>
                </a:lnTo>
                <a:lnTo>
                  <a:pt x="42263" y="64433"/>
                </a:lnTo>
                <a:lnTo>
                  <a:pt x="41980" y="64622"/>
                </a:lnTo>
                <a:lnTo>
                  <a:pt x="41886" y="64999"/>
                </a:lnTo>
                <a:lnTo>
                  <a:pt x="42263" y="64999"/>
                </a:lnTo>
                <a:lnTo>
                  <a:pt x="40094" y="65282"/>
                </a:lnTo>
                <a:lnTo>
                  <a:pt x="40848" y="64999"/>
                </a:lnTo>
                <a:lnTo>
                  <a:pt x="41131" y="64810"/>
                </a:lnTo>
                <a:lnTo>
                  <a:pt x="41131" y="64716"/>
                </a:lnTo>
                <a:lnTo>
                  <a:pt x="41037" y="64622"/>
                </a:lnTo>
                <a:lnTo>
                  <a:pt x="40754" y="64622"/>
                </a:lnTo>
                <a:lnTo>
                  <a:pt x="40282" y="64527"/>
                </a:lnTo>
                <a:lnTo>
                  <a:pt x="40188" y="64433"/>
                </a:lnTo>
                <a:lnTo>
                  <a:pt x="41509" y="64339"/>
                </a:lnTo>
                <a:lnTo>
                  <a:pt x="42829" y="64056"/>
                </a:lnTo>
                <a:close/>
                <a:moveTo>
                  <a:pt x="15660" y="60376"/>
                </a:moveTo>
                <a:lnTo>
                  <a:pt x="16887" y="61131"/>
                </a:lnTo>
                <a:lnTo>
                  <a:pt x="17924" y="62075"/>
                </a:lnTo>
                <a:lnTo>
                  <a:pt x="17924" y="61792"/>
                </a:lnTo>
                <a:lnTo>
                  <a:pt x="17830" y="61603"/>
                </a:lnTo>
                <a:lnTo>
                  <a:pt x="19056" y="61980"/>
                </a:lnTo>
                <a:lnTo>
                  <a:pt x="20283" y="62358"/>
                </a:lnTo>
                <a:lnTo>
                  <a:pt x="20849" y="62546"/>
                </a:lnTo>
                <a:lnTo>
                  <a:pt x="21415" y="62735"/>
                </a:lnTo>
                <a:lnTo>
                  <a:pt x="21886" y="63018"/>
                </a:lnTo>
                <a:lnTo>
                  <a:pt x="22358" y="63395"/>
                </a:lnTo>
                <a:lnTo>
                  <a:pt x="21509" y="63301"/>
                </a:lnTo>
                <a:lnTo>
                  <a:pt x="22547" y="63867"/>
                </a:lnTo>
                <a:lnTo>
                  <a:pt x="23868" y="64339"/>
                </a:lnTo>
                <a:lnTo>
                  <a:pt x="25471" y="64905"/>
                </a:lnTo>
                <a:lnTo>
                  <a:pt x="27169" y="65282"/>
                </a:lnTo>
                <a:lnTo>
                  <a:pt x="26603" y="65282"/>
                </a:lnTo>
                <a:lnTo>
                  <a:pt x="27075" y="65942"/>
                </a:lnTo>
                <a:lnTo>
                  <a:pt x="26886" y="65942"/>
                </a:lnTo>
                <a:lnTo>
                  <a:pt x="26603" y="65848"/>
                </a:lnTo>
                <a:lnTo>
                  <a:pt x="25849" y="65659"/>
                </a:lnTo>
                <a:lnTo>
                  <a:pt x="25283" y="65471"/>
                </a:lnTo>
                <a:lnTo>
                  <a:pt x="25188" y="65376"/>
                </a:lnTo>
                <a:lnTo>
                  <a:pt x="25754" y="65376"/>
                </a:lnTo>
                <a:lnTo>
                  <a:pt x="26226" y="65471"/>
                </a:lnTo>
                <a:lnTo>
                  <a:pt x="26320" y="65282"/>
                </a:lnTo>
                <a:lnTo>
                  <a:pt x="26320" y="65188"/>
                </a:lnTo>
                <a:lnTo>
                  <a:pt x="26226" y="65093"/>
                </a:lnTo>
                <a:lnTo>
                  <a:pt x="25660" y="65093"/>
                </a:lnTo>
                <a:lnTo>
                  <a:pt x="25188" y="65188"/>
                </a:lnTo>
                <a:lnTo>
                  <a:pt x="24528" y="65376"/>
                </a:lnTo>
                <a:lnTo>
                  <a:pt x="24528" y="65376"/>
                </a:lnTo>
                <a:lnTo>
                  <a:pt x="25000" y="65093"/>
                </a:lnTo>
                <a:lnTo>
                  <a:pt x="23679" y="64905"/>
                </a:lnTo>
                <a:lnTo>
                  <a:pt x="22547" y="64716"/>
                </a:lnTo>
                <a:lnTo>
                  <a:pt x="21603" y="64339"/>
                </a:lnTo>
                <a:lnTo>
                  <a:pt x="20660" y="63867"/>
                </a:lnTo>
                <a:lnTo>
                  <a:pt x="20943" y="63867"/>
                </a:lnTo>
                <a:lnTo>
                  <a:pt x="20377" y="63773"/>
                </a:lnTo>
                <a:lnTo>
                  <a:pt x="19339" y="63678"/>
                </a:lnTo>
                <a:lnTo>
                  <a:pt x="18868" y="63490"/>
                </a:lnTo>
                <a:lnTo>
                  <a:pt x="18396" y="63301"/>
                </a:lnTo>
                <a:lnTo>
                  <a:pt x="18585" y="63207"/>
                </a:lnTo>
                <a:lnTo>
                  <a:pt x="18868" y="63301"/>
                </a:lnTo>
                <a:lnTo>
                  <a:pt x="18019" y="62735"/>
                </a:lnTo>
                <a:lnTo>
                  <a:pt x="16981" y="62075"/>
                </a:lnTo>
                <a:lnTo>
                  <a:pt x="14811" y="60471"/>
                </a:lnTo>
                <a:lnTo>
                  <a:pt x="16415" y="61414"/>
                </a:lnTo>
                <a:lnTo>
                  <a:pt x="15660" y="60376"/>
                </a:lnTo>
                <a:close/>
                <a:moveTo>
                  <a:pt x="28867" y="65659"/>
                </a:moveTo>
                <a:lnTo>
                  <a:pt x="30660" y="65942"/>
                </a:lnTo>
                <a:lnTo>
                  <a:pt x="32547" y="66131"/>
                </a:lnTo>
                <a:lnTo>
                  <a:pt x="32075" y="66225"/>
                </a:lnTo>
                <a:lnTo>
                  <a:pt x="31320" y="66225"/>
                </a:lnTo>
                <a:lnTo>
                  <a:pt x="30566" y="66131"/>
                </a:lnTo>
                <a:lnTo>
                  <a:pt x="28867" y="65659"/>
                </a:lnTo>
                <a:close/>
                <a:moveTo>
                  <a:pt x="39150" y="0"/>
                </a:moveTo>
                <a:lnTo>
                  <a:pt x="39528" y="283"/>
                </a:lnTo>
                <a:lnTo>
                  <a:pt x="39622" y="378"/>
                </a:lnTo>
                <a:lnTo>
                  <a:pt x="41509" y="1038"/>
                </a:lnTo>
                <a:lnTo>
                  <a:pt x="40943" y="1132"/>
                </a:lnTo>
                <a:lnTo>
                  <a:pt x="40282" y="1227"/>
                </a:lnTo>
                <a:lnTo>
                  <a:pt x="38962" y="1038"/>
                </a:lnTo>
                <a:lnTo>
                  <a:pt x="37547" y="849"/>
                </a:lnTo>
                <a:lnTo>
                  <a:pt x="36320" y="661"/>
                </a:lnTo>
                <a:lnTo>
                  <a:pt x="36415" y="755"/>
                </a:lnTo>
                <a:lnTo>
                  <a:pt x="36415" y="849"/>
                </a:lnTo>
                <a:lnTo>
                  <a:pt x="35943" y="944"/>
                </a:lnTo>
                <a:lnTo>
                  <a:pt x="34150" y="1132"/>
                </a:lnTo>
                <a:lnTo>
                  <a:pt x="31698" y="1132"/>
                </a:lnTo>
                <a:lnTo>
                  <a:pt x="30660" y="1227"/>
                </a:lnTo>
                <a:lnTo>
                  <a:pt x="29716" y="1321"/>
                </a:lnTo>
                <a:lnTo>
                  <a:pt x="30377" y="1416"/>
                </a:lnTo>
                <a:lnTo>
                  <a:pt x="31037" y="1510"/>
                </a:lnTo>
                <a:lnTo>
                  <a:pt x="30094" y="1699"/>
                </a:lnTo>
                <a:lnTo>
                  <a:pt x="28773" y="2076"/>
                </a:lnTo>
                <a:lnTo>
                  <a:pt x="27924" y="2359"/>
                </a:lnTo>
                <a:lnTo>
                  <a:pt x="27924" y="2453"/>
                </a:lnTo>
                <a:lnTo>
                  <a:pt x="28207" y="2453"/>
                </a:lnTo>
                <a:lnTo>
                  <a:pt x="26509" y="3019"/>
                </a:lnTo>
                <a:lnTo>
                  <a:pt x="26792" y="2831"/>
                </a:lnTo>
                <a:lnTo>
                  <a:pt x="26792" y="2831"/>
                </a:lnTo>
                <a:lnTo>
                  <a:pt x="25660" y="2925"/>
                </a:lnTo>
                <a:lnTo>
                  <a:pt x="25754" y="2831"/>
                </a:lnTo>
                <a:lnTo>
                  <a:pt x="25377" y="2925"/>
                </a:lnTo>
                <a:lnTo>
                  <a:pt x="24905" y="3208"/>
                </a:lnTo>
                <a:lnTo>
                  <a:pt x="24056" y="3774"/>
                </a:lnTo>
                <a:lnTo>
                  <a:pt x="22264" y="4340"/>
                </a:lnTo>
                <a:lnTo>
                  <a:pt x="20471" y="5095"/>
                </a:lnTo>
                <a:lnTo>
                  <a:pt x="18679" y="5755"/>
                </a:lnTo>
                <a:lnTo>
                  <a:pt x="16981" y="6604"/>
                </a:lnTo>
                <a:lnTo>
                  <a:pt x="17453" y="6604"/>
                </a:lnTo>
                <a:lnTo>
                  <a:pt x="17830" y="6415"/>
                </a:lnTo>
                <a:lnTo>
                  <a:pt x="18868" y="6038"/>
                </a:lnTo>
                <a:lnTo>
                  <a:pt x="19905" y="5661"/>
                </a:lnTo>
                <a:lnTo>
                  <a:pt x="20377" y="5472"/>
                </a:lnTo>
                <a:lnTo>
                  <a:pt x="20943" y="5378"/>
                </a:lnTo>
                <a:lnTo>
                  <a:pt x="20943" y="5378"/>
                </a:lnTo>
                <a:lnTo>
                  <a:pt x="19528" y="6038"/>
                </a:lnTo>
                <a:lnTo>
                  <a:pt x="19528" y="6038"/>
                </a:lnTo>
                <a:lnTo>
                  <a:pt x="20094" y="5944"/>
                </a:lnTo>
                <a:lnTo>
                  <a:pt x="18396" y="7076"/>
                </a:lnTo>
                <a:lnTo>
                  <a:pt x="20849" y="6038"/>
                </a:lnTo>
                <a:lnTo>
                  <a:pt x="23396" y="5095"/>
                </a:lnTo>
                <a:lnTo>
                  <a:pt x="26037" y="4246"/>
                </a:lnTo>
                <a:lnTo>
                  <a:pt x="28679" y="3397"/>
                </a:lnTo>
                <a:lnTo>
                  <a:pt x="28301" y="3491"/>
                </a:lnTo>
                <a:lnTo>
                  <a:pt x="28773" y="3208"/>
                </a:lnTo>
                <a:lnTo>
                  <a:pt x="30283" y="2736"/>
                </a:lnTo>
                <a:lnTo>
                  <a:pt x="29905" y="2831"/>
                </a:lnTo>
                <a:lnTo>
                  <a:pt x="29056" y="2831"/>
                </a:lnTo>
                <a:lnTo>
                  <a:pt x="28584" y="2642"/>
                </a:lnTo>
                <a:lnTo>
                  <a:pt x="30566" y="2548"/>
                </a:lnTo>
                <a:lnTo>
                  <a:pt x="32641" y="2548"/>
                </a:lnTo>
                <a:lnTo>
                  <a:pt x="37264" y="2831"/>
                </a:lnTo>
                <a:lnTo>
                  <a:pt x="39528" y="3019"/>
                </a:lnTo>
                <a:lnTo>
                  <a:pt x="43490" y="3019"/>
                </a:lnTo>
                <a:lnTo>
                  <a:pt x="44339" y="2831"/>
                </a:lnTo>
                <a:lnTo>
                  <a:pt x="45094" y="2736"/>
                </a:lnTo>
                <a:lnTo>
                  <a:pt x="45943" y="3114"/>
                </a:lnTo>
                <a:lnTo>
                  <a:pt x="46886" y="3397"/>
                </a:lnTo>
                <a:lnTo>
                  <a:pt x="48678" y="3963"/>
                </a:lnTo>
                <a:lnTo>
                  <a:pt x="50565" y="4434"/>
                </a:lnTo>
                <a:lnTo>
                  <a:pt x="51509" y="4717"/>
                </a:lnTo>
                <a:lnTo>
                  <a:pt x="52358" y="5189"/>
                </a:lnTo>
                <a:lnTo>
                  <a:pt x="51792" y="4812"/>
                </a:lnTo>
                <a:lnTo>
                  <a:pt x="53584" y="5849"/>
                </a:lnTo>
                <a:lnTo>
                  <a:pt x="55376" y="6981"/>
                </a:lnTo>
                <a:lnTo>
                  <a:pt x="56320" y="7642"/>
                </a:lnTo>
                <a:lnTo>
                  <a:pt x="57169" y="8302"/>
                </a:lnTo>
                <a:lnTo>
                  <a:pt x="57924" y="9057"/>
                </a:lnTo>
                <a:lnTo>
                  <a:pt x="58678" y="9906"/>
                </a:lnTo>
                <a:lnTo>
                  <a:pt x="62357" y="14057"/>
                </a:lnTo>
                <a:lnTo>
                  <a:pt x="64622" y="16887"/>
                </a:lnTo>
                <a:lnTo>
                  <a:pt x="66697" y="19623"/>
                </a:lnTo>
                <a:lnTo>
                  <a:pt x="66603" y="19151"/>
                </a:lnTo>
                <a:lnTo>
                  <a:pt x="66603" y="18774"/>
                </a:lnTo>
                <a:lnTo>
                  <a:pt x="67357" y="20472"/>
                </a:lnTo>
                <a:lnTo>
                  <a:pt x="68772" y="23962"/>
                </a:lnTo>
                <a:lnTo>
                  <a:pt x="68867" y="24151"/>
                </a:lnTo>
                <a:lnTo>
                  <a:pt x="69810" y="26792"/>
                </a:lnTo>
                <a:lnTo>
                  <a:pt x="70565" y="29245"/>
                </a:lnTo>
                <a:lnTo>
                  <a:pt x="70754" y="30283"/>
                </a:lnTo>
                <a:lnTo>
                  <a:pt x="70848" y="31037"/>
                </a:lnTo>
                <a:lnTo>
                  <a:pt x="70848" y="31604"/>
                </a:lnTo>
                <a:lnTo>
                  <a:pt x="70754" y="31792"/>
                </a:lnTo>
                <a:lnTo>
                  <a:pt x="70565" y="31887"/>
                </a:lnTo>
                <a:lnTo>
                  <a:pt x="69433" y="36698"/>
                </a:lnTo>
                <a:lnTo>
                  <a:pt x="68206" y="41698"/>
                </a:lnTo>
                <a:lnTo>
                  <a:pt x="68584" y="41037"/>
                </a:lnTo>
                <a:lnTo>
                  <a:pt x="68961" y="40188"/>
                </a:lnTo>
                <a:lnTo>
                  <a:pt x="69244" y="40471"/>
                </a:lnTo>
                <a:lnTo>
                  <a:pt x="69244" y="40849"/>
                </a:lnTo>
                <a:lnTo>
                  <a:pt x="69244" y="41226"/>
                </a:lnTo>
                <a:lnTo>
                  <a:pt x="69055" y="41698"/>
                </a:lnTo>
                <a:lnTo>
                  <a:pt x="68489" y="42924"/>
                </a:lnTo>
                <a:lnTo>
                  <a:pt x="67735" y="44150"/>
                </a:lnTo>
                <a:lnTo>
                  <a:pt x="66791" y="45377"/>
                </a:lnTo>
                <a:lnTo>
                  <a:pt x="65942" y="46509"/>
                </a:lnTo>
                <a:lnTo>
                  <a:pt x="64716" y="47924"/>
                </a:lnTo>
                <a:lnTo>
                  <a:pt x="65565" y="47641"/>
                </a:lnTo>
                <a:lnTo>
                  <a:pt x="65093" y="48301"/>
                </a:lnTo>
                <a:lnTo>
                  <a:pt x="64433" y="48962"/>
                </a:lnTo>
                <a:lnTo>
                  <a:pt x="63112" y="50188"/>
                </a:lnTo>
                <a:lnTo>
                  <a:pt x="63678" y="48962"/>
                </a:lnTo>
                <a:lnTo>
                  <a:pt x="64244" y="47641"/>
                </a:lnTo>
                <a:lnTo>
                  <a:pt x="65754" y="44811"/>
                </a:lnTo>
                <a:lnTo>
                  <a:pt x="67169" y="42169"/>
                </a:lnTo>
                <a:lnTo>
                  <a:pt x="67735" y="41037"/>
                </a:lnTo>
                <a:lnTo>
                  <a:pt x="68206" y="40094"/>
                </a:lnTo>
                <a:lnTo>
                  <a:pt x="68206" y="39811"/>
                </a:lnTo>
                <a:lnTo>
                  <a:pt x="68301" y="39622"/>
                </a:lnTo>
                <a:lnTo>
                  <a:pt x="68301" y="39717"/>
                </a:lnTo>
                <a:lnTo>
                  <a:pt x="68395" y="39339"/>
                </a:lnTo>
                <a:lnTo>
                  <a:pt x="68772" y="37735"/>
                </a:lnTo>
                <a:lnTo>
                  <a:pt x="69055" y="36037"/>
                </a:lnTo>
                <a:lnTo>
                  <a:pt x="69150" y="32924"/>
                </a:lnTo>
                <a:lnTo>
                  <a:pt x="69150" y="30849"/>
                </a:lnTo>
                <a:lnTo>
                  <a:pt x="69150" y="28679"/>
                </a:lnTo>
                <a:lnTo>
                  <a:pt x="68961" y="28773"/>
                </a:lnTo>
                <a:lnTo>
                  <a:pt x="68961" y="29056"/>
                </a:lnTo>
                <a:lnTo>
                  <a:pt x="68678" y="28302"/>
                </a:lnTo>
                <a:lnTo>
                  <a:pt x="68395" y="27453"/>
                </a:lnTo>
                <a:lnTo>
                  <a:pt x="68018" y="25755"/>
                </a:lnTo>
                <a:lnTo>
                  <a:pt x="67923" y="25283"/>
                </a:lnTo>
                <a:lnTo>
                  <a:pt x="67923" y="25472"/>
                </a:lnTo>
                <a:lnTo>
                  <a:pt x="67546" y="24906"/>
                </a:lnTo>
                <a:lnTo>
                  <a:pt x="67074" y="24245"/>
                </a:lnTo>
                <a:lnTo>
                  <a:pt x="66980" y="24057"/>
                </a:lnTo>
                <a:lnTo>
                  <a:pt x="65471" y="22264"/>
                </a:lnTo>
                <a:lnTo>
                  <a:pt x="64810" y="21415"/>
                </a:lnTo>
                <a:lnTo>
                  <a:pt x="64339" y="20755"/>
                </a:lnTo>
                <a:lnTo>
                  <a:pt x="64622" y="20943"/>
                </a:lnTo>
                <a:lnTo>
                  <a:pt x="64527" y="20755"/>
                </a:lnTo>
                <a:lnTo>
                  <a:pt x="64339" y="20472"/>
                </a:lnTo>
                <a:lnTo>
                  <a:pt x="63301" y="19434"/>
                </a:lnTo>
                <a:lnTo>
                  <a:pt x="62357" y="18585"/>
                </a:lnTo>
                <a:lnTo>
                  <a:pt x="62452" y="18679"/>
                </a:lnTo>
                <a:lnTo>
                  <a:pt x="62357" y="18868"/>
                </a:lnTo>
                <a:lnTo>
                  <a:pt x="61508" y="18019"/>
                </a:lnTo>
                <a:lnTo>
                  <a:pt x="61791" y="18396"/>
                </a:lnTo>
                <a:lnTo>
                  <a:pt x="60848" y="17547"/>
                </a:lnTo>
                <a:lnTo>
                  <a:pt x="60471" y="17076"/>
                </a:lnTo>
                <a:lnTo>
                  <a:pt x="60471" y="16981"/>
                </a:lnTo>
                <a:lnTo>
                  <a:pt x="60565" y="17076"/>
                </a:lnTo>
                <a:lnTo>
                  <a:pt x="61225" y="17547"/>
                </a:lnTo>
                <a:lnTo>
                  <a:pt x="58961" y="15566"/>
                </a:lnTo>
                <a:lnTo>
                  <a:pt x="59527" y="16227"/>
                </a:lnTo>
                <a:lnTo>
                  <a:pt x="58584" y="15566"/>
                </a:lnTo>
                <a:lnTo>
                  <a:pt x="57641" y="14906"/>
                </a:lnTo>
                <a:lnTo>
                  <a:pt x="57546" y="15000"/>
                </a:lnTo>
                <a:lnTo>
                  <a:pt x="57452" y="15094"/>
                </a:lnTo>
                <a:lnTo>
                  <a:pt x="58301" y="15660"/>
                </a:lnTo>
                <a:lnTo>
                  <a:pt x="59056" y="16227"/>
                </a:lnTo>
                <a:lnTo>
                  <a:pt x="60471" y="17547"/>
                </a:lnTo>
                <a:lnTo>
                  <a:pt x="61886" y="18774"/>
                </a:lnTo>
                <a:lnTo>
                  <a:pt x="62640" y="19340"/>
                </a:lnTo>
                <a:lnTo>
                  <a:pt x="63395" y="19906"/>
                </a:lnTo>
                <a:lnTo>
                  <a:pt x="62829" y="19528"/>
                </a:lnTo>
                <a:lnTo>
                  <a:pt x="62074" y="19057"/>
                </a:lnTo>
                <a:lnTo>
                  <a:pt x="62074" y="19245"/>
                </a:lnTo>
                <a:lnTo>
                  <a:pt x="62357" y="19717"/>
                </a:lnTo>
                <a:lnTo>
                  <a:pt x="63584" y="21415"/>
                </a:lnTo>
                <a:lnTo>
                  <a:pt x="65093" y="23207"/>
                </a:lnTo>
                <a:lnTo>
                  <a:pt x="65754" y="23962"/>
                </a:lnTo>
                <a:lnTo>
                  <a:pt x="66225" y="24434"/>
                </a:lnTo>
                <a:lnTo>
                  <a:pt x="66414" y="24528"/>
                </a:lnTo>
                <a:lnTo>
                  <a:pt x="66320" y="24057"/>
                </a:lnTo>
                <a:lnTo>
                  <a:pt x="66697" y="24906"/>
                </a:lnTo>
                <a:lnTo>
                  <a:pt x="67074" y="26038"/>
                </a:lnTo>
                <a:lnTo>
                  <a:pt x="66414" y="24811"/>
                </a:lnTo>
                <a:lnTo>
                  <a:pt x="66791" y="25566"/>
                </a:lnTo>
                <a:lnTo>
                  <a:pt x="67169" y="26321"/>
                </a:lnTo>
                <a:lnTo>
                  <a:pt x="67263" y="26415"/>
                </a:lnTo>
                <a:lnTo>
                  <a:pt x="67923" y="28679"/>
                </a:lnTo>
                <a:lnTo>
                  <a:pt x="68206" y="29339"/>
                </a:lnTo>
                <a:lnTo>
                  <a:pt x="68678" y="30471"/>
                </a:lnTo>
                <a:lnTo>
                  <a:pt x="68772" y="30660"/>
                </a:lnTo>
                <a:lnTo>
                  <a:pt x="68678" y="30660"/>
                </a:lnTo>
                <a:lnTo>
                  <a:pt x="68395" y="30377"/>
                </a:lnTo>
                <a:lnTo>
                  <a:pt x="68206" y="30094"/>
                </a:lnTo>
                <a:lnTo>
                  <a:pt x="68206" y="30566"/>
                </a:lnTo>
                <a:lnTo>
                  <a:pt x="68301" y="31037"/>
                </a:lnTo>
                <a:lnTo>
                  <a:pt x="68395" y="31509"/>
                </a:lnTo>
                <a:lnTo>
                  <a:pt x="68395" y="31887"/>
                </a:lnTo>
                <a:lnTo>
                  <a:pt x="68301" y="31792"/>
                </a:lnTo>
                <a:lnTo>
                  <a:pt x="68301" y="31698"/>
                </a:lnTo>
                <a:lnTo>
                  <a:pt x="68301" y="31415"/>
                </a:lnTo>
                <a:lnTo>
                  <a:pt x="68018" y="30094"/>
                </a:lnTo>
                <a:lnTo>
                  <a:pt x="67735" y="28868"/>
                </a:lnTo>
                <a:lnTo>
                  <a:pt x="68112" y="31698"/>
                </a:lnTo>
                <a:lnTo>
                  <a:pt x="68206" y="33113"/>
                </a:lnTo>
                <a:lnTo>
                  <a:pt x="68206" y="34528"/>
                </a:lnTo>
                <a:lnTo>
                  <a:pt x="68112" y="35943"/>
                </a:lnTo>
                <a:lnTo>
                  <a:pt x="67923" y="37358"/>
                </a:lnTo>
                <a:lnTo>
                  <a:pt x="67546" y="38679"/>
                </a:lnTo>
                <a:lnTo>
                  <a:pt x="67074" y="40000"/>
                </a:lnTo>
                <a:lnTo>
                  <a:pt x="67263" y="39717"/>
                </a:lnTo>
                <a:lnTo>
                  <a:pt x="67357" y="39622"/>
                </a:lnTo>
                <a:lnTo>
                  <a:pt x="67357" y="39717"/>
                </a:lnTo>
                <a:lnTo>
                  <a:pt x="67263" y="40377"/>
                </a:lnTo>
                <a:lnTo>
                  <a:pt x="66980" y="41226"/>
                </a:lnTo>
                <a:lnTo>
                  <a:pt x="66791" y="41509"/>
                </a:lnTo>
                <a:lnTo>
                  <a:pt x="66697" y="41603"/>
                </a:lnTo>
                <a:lnTo>
                  <a:pt x="66414" y="42075"/>
                </a:lnTo>
                <a:lnTo>
                  <a:pt x="65754" y="43962"/>
                </a:lnTo>
                <a:lnTo>
                  <a:pt x="64905" y="46132"/>
                </a:lnTo>
                <a:lnTo>
                  <a:pt x="64150" y="47547"/>
                </a:lnTo>
                <a:lnTo>
                  <a:pt x="63395" y="48867"/>
                </a:lnTo>
                <a:lnTo>
                  <a:pt x="62546" y="50094"/>
                </a:lnTo>
                <a:lnTo>
                  <a:pt x="61697" y="51320"/>
                </a:lnTo>
                <a:lnTo>
                  <a:pt x="60376" y="52452"/>
                </a:lnTo>
                <a:lnTo>
                  <a:pt x="59810" y="53112"/>
                </a:lnTo>
                <a:lnTo>
                  <a:pt x="59244" y="53773"/>
                </a:lnTo>
                <a:lnTo>
                  <a:pt x="59999" y="53301"/>
                </a:lnTo>
                <a:lnTo>
                  <a:pt x="59905" y="53490"/>
                </a:lnTo>
                <a:lnTo>
                  <a:pt x="58018" y="54999"/>
                </a:lnTo>
                <a:lnTo>
                  <a:pt x="57075" y="55660"/>
                </a:lnTo>
                <a:lnTo>
                  <a:pt x="56037" y="56226"/>
                </a:lnTo>
                <a:lnTo>
                  <a:pt x="57924" y="54716"/>
                </a:lnTo>
                <a:lnTo>
                  <a:pt x="58867" y="53867"/>
                </a:lnTo>
                <a:lnTo>
                  <a:pt x="59716" y="53018"/>
                </a:lnTo>
                <a:lnTo>
                  <a:pt x="58961" y="53679"/>
                </a:lnTo>
                <a:lnTo>
                  <a:pt x="58207" y="54245"/>
                </a:lnTo>
                <a:lnTo>
                  <a:pt x="56603" y="55282"/>
                </a:lnTo>
                <a:lnTo>
                  <a:pt x="54905" y="56226"/>
                </a:lnTo>
                <a:lnTo>
                  <a:pt x="53301" y="57263"/>
                </a:lnTo>
                <a:lnTo>
                  <a:pt x="52735" y="57452"/>
                </a:lnTo>
                <a:lnTo>
                  <a:pt x="51509" y="57924"/>
                </a:lnTo>
                <a:lnTo>
                  <a:pt x="47829" y="59527"/>
                </a:lnTo>
                <a:lnTo>
                  <a:pt x="43962" y="61226"/>
                </a:lnTo>
                <a:lnTo>
                  <a:pt x="42358" y="61886"/>
                </a:lnTo>
                <a:lnTo>
                  <a:pt x="41414" y="62169"/>
                </a:lnTo>
                <a:lnTo>
                  <a:pt x="39433" y="62452"/>
                </a:lnTo>
                <a:lnTo>
                  <a:pt x="37169" y="62641"/>
                </a:lnTo>
                <a:lnTo>
                  <a:pt x="33679" y="62829"/>
                </a:lnTo>
                <a:lnTo>
                  <a:pt x="31226" y="62924"/>
                </a:lnTo>
                <a:lnTo>
                  <a:pt x="29528" y="62924"/>
                </a:lnTo>
                <a:lnTo>
                  <a:pt x="28301" y="62735"/>
                </a:lnTo>
                <a:lnTo>
                  <a:pt x="27075" y="62546"/>
                </a:lnTo>
                <a:lnTo>
                  <a:pt x="25754" y="62263"/>
                </a:lnTo>
                <a:lnTo>
                  <a:pt x="24622" y="61886"/>
                </a:lnTo>
                <a:lnTo>
                  <a:pt x="23396" y="61414"/>
                </a:lnTo>
                <a:lnTo>
                  <a:pt x="21320" y="60565"/>
                </a:lnTo>
                <a:lnTo>
                  <a:pt x="21509" y="60754"/>
                </a:lnTo>
                <a:lnTo>
                  <a:pt x="21698" y="60848"/>
                </a:lnTo>
                <a:lnTo>
                  <a:pt x="22169" y="61131"/>
                </a:lnTo>
                <a:lnTo>
                  <a:pt x="21037" y="60659"/>
                </a:lnTo>
                <a:lnTo>
                  <a:pt x="19434" y="59905"/>
                </a:lnTo>
                <a:lnTo>
                  <a:pt x="15754" y="57924"/>
                </a:lnTo>
                <a:lnTo>
                  <a:pt x="12453" y="56037"/>
                </a:lnTo>
                <a:lnTo>
                  <a:pt x="11415" y="55377"/>
                </a:lnTo>
                <a:lnTo>
                  <a:pt x="11226" y="55188"/>
                </a:lnTo>
                <a:lnTo>
                  <a:pt x="11132" y="55094"/>
                </a:lnTo>
                <a:lnTo>
                  <a:pt x="10377" y="54433"/>
                </a:lnTo>
                <a:lnTo>
                  <a:pt x="9717" y="53679"/>
                </a:lnTo>
                <a:lnTo>
                  <a:pt x="9717" y="53962"/>
                </a:lnTo>
                <a:lnTo>
                  <a:pt x="9622" y="54150"/>
                </a:lnTo>
                <a:lnTo>
                  <a:pt x="9528" y="54245"/>
                </a:lnTo>
                <a:lnTo>
                  <a:pt x="9434" y="54245"/>
                </a:lnTo>
                <a:lnTo>
                  <a:pt x="9151" y="54056"/>
                </a:lnTo>
                <a:lnTo>
                  <a:pt x="8868" y="53679"/>
                </a:lnTo>
                <a:lnTo>
                  <a:pt x="8585" y="53301"/>
                </a:lnTo>
                <a:lnTo>
                  <a:pt x="8302" y="52829"/>
                </a:lnTo>
                <a:lnTo>
                  <a:pt x="8302" y="52546"/>
                </a:lnTo>
                <a:lnTo>
                  <a:pt x="8302" y="52452"/>
                </a:lnTo>
                <a:lnTo>
                  <a:pt x="8396" y="52452"/>
                </a:lnTo>
                <a:lnTo>
                  <a:pt x="7924" y="52263"/>
                </a:lnTo>
                <a:lnTo>
                  <a:pt x="7358" y="51886"/>
                </a:lnTo>
                <a:lnTo>
                  <a:pt x="6038" y="50660"/>
                </a:lnTo>
                <a:lnTo>
                  <a:pt x="5849" y="50377"/>
                </a:lnTo>
                <a:lnTo>
                  <a:pt x="5566" y="50094"/>
                </a:lnTo>
                <a:lnTo>
                  <a:pt x="5566" y="50188"/>
                </a:lnTo>
                <a:lnTo>
                  <a:pt x="4811" y="49339"/>
                </a:lnTo>
                <a:lnTo>
                  <a:pt x="4717" y="49150"/>
                </a:lnTo>
                <a:lnTo>
                  <a:pt x="5189" y="49433"/>
                </a:lnTo>
                <a:lnTo>
                  <a:pt x="5377" y="49528"/>
                </a:lnTo>
                <a:lnTo>
                  <a:pt x="5472" y="49716"/>
                </a:lnTo>
                <a:lnTo>
                  <a:pt x="5660" y="50094"/>
                </a:lnTo>
                <a:lnTo>
                  <a:pt x="5377" y="49056"/>
                </a:lnTo>
                <a:lnTo>
                  <a:pt x="5000" y="48113"/>
                </a:lnTo>
                <a:lnTo>
                  <a:pt x="4057" y="45660"/>
                </a:lnTo>
                <a:lnTo>
                  <a:pt x="3585" y="44150"/>
                </a:lnTo>
                <a:lnTo>
                  <a:pt x="3208" y="42358"/>
                </a:lnTo>
                <a:lnTo>
                  <a:pt x="3396" y="42547"/>
                </a:lnTo>
                <a:lnTo>
                  <a:pt x="3491" y="42452"/>
                </a:lnTo>
                <a:lnTo>
                  <a:pt x="3585" y="42547"/>
                </a:lnTo>
                <a:lnTo>
                  <a:pt x="3774" y="42641"/>
                </a:lnTo>
                <a:lnTo>
                  <a:pt x="3679" y="40849"/>
                </a:lnTo>
                <a:lnTo>
                  <a:pt x="3585" y="38962"/>
                </a:lnTo>
                <a:lnTo>
                  <a:pt x="3679" y="37169"/>
                </a:lnTo>
                <a:lnTo>
                  <a:pt x="3774" y="36320"/>
                </a:lnTo>
                <a:lnTo>
                  <a:pt x="4057" y="35566"/>
                </a:lnTo>
                <a:lnTo>
                  <a:pt x="4434" y="33585"/>
                </a:lnTo>
                <a:lnTo>
                  <a:pt x="4434" y="33962"/>
                </a:lnTo>
                <a:lnTo>
                  <a:pt x="4528" y="34245"/>
                </a:lnTo>
                <a:lnTo>
                  <a:pt x="4717" y="32264"/>
                </a:lnTo>
                <a:lnTo>
                  <a:pt x="5189" y="30283"/>
                </a:lnTo>
                <a:lnTo>
                  <a:pt x="5755" y="28302"/>
                </a:lnTo>
                <a:lnTo>
                  <a:pt x="6604" y="26321"/>
                </a:lnTo>
                <a:lnTo>
                  <a:pt x="7453" y="24340"/>
                </a:lnTo>
                <a:lnTo>
                  <a:pt x="8585" y="22547"/>
                </a:lnTo>
                <a:lnTo>
                  <a:pt x="9717" y="20755"/>
                </a:lnTo>
                <a:lnTo>
                  <a:pt x="10943" y="19245"/>
                </a:lnTo>
                <a:lnTo>
                  <a:pt x="10849" y="19057"/>
                </a:lnTo>
                <a:lnTo>
                  <a:pt x="10849" y="18868"/>
                </a:lnTo>
                <a:lnTo>
                  <a:pt x="11132" y="18396"/>
                </a:lnTo>
                <a:lnTo>
                  <a:pt x="11604" y="17830"/>
                </a:lnTo>
                <a:lnTo>
                  <a:pt x="12264" y="17076"/>
                </a:lnTo>
                <a:lnTo>
                  <a:pt x="14151" y="15472"/>
                </a:lnTo>
                <a:lnTo>
                  <a:pt x="16415" y="13585"/>
                </a:lnTo>
                <a:lnTo>
                  <a:pt x="18868" y="11793"/>
                </a:lnTo>
                <a:lnTo>
                  <a:pt x="21226" y="10095"/>
                </a:lnTo>
                <a:lnTo>
                  <a:pt x="23302" y="8868"/>
                </a:lnTo>
                <a:lnTo>
                  <a:pt x="24717" y="8113"/>
                </a:lnTo>
                <a:lnTo>
                  <a:pt x="24245" y="8491"/>
                </a:lnTo>
                <a:lnTo>
                  <a:pt x="23773" y="8774"/>
                </a:lnTo>
                <a:lnTo>
                  <a:pt x="24811" y="8208"/>
                </a:lnTo>
                <a:lnTo>
                  <a:pt x="25566" y="7830"/>
                </a:lnTo>
                <a:lnTo>
                  <a:pt x="27452" y="6981"/>
                </a:lnTo>
                <a:lnTo>
                  <a:pt x="27264" y="6981"/>
                </a:lnTo>
                <a:lnTo>
                  <a:pt x="26981" y="6887"/>
                </a:lnTo>
                <a:lnTo>
                  <a:pt x="27830" y="6604"/>
                </a:lnTo>
                <a:lnTo>
                  <a:pt x="29056" y="6132"/>
                </a:lnTo>
                <a:lnTo>
                  <a:pt x="28679" y="6415"/>
                </a:lnTo>
                <a:lnTo>
                  <a:pt x="29056" y="6510"/>
                </a:lnTo>
                <a:lnTo>
                  <a:pt x="28962" y="6698"/>
                </a:lnTo>
                <a:lnTo>
                  <a:pt x="30283" y="6227"/>
                </a:lnTo>
                <a:lnTo>
                  <a:pt x="31698" y="5755"/>
                </a:lnTo>
                <a:lnTo>
                  <a:pt x="33113" y="5378"/>
                </a:lnTo>
                <a:lnTo>
                  <a:pt x="33867" y="5189"/>
                </a:lnTo>
                <a:lnTo>
                  <a:pt x="34169" y="5151"/>
                </a:lnTo>
                <a:lnTo>
                  <a:pt x="34169" y="5151"/>
                </a:lnTo>
                <a:lnTo>
                  <a:pt x="34905" y="4906"/>
                </a:lnTo>
                <a:lnTo>
                  <a:pt x="35754" y="4812"/>
                </a:lnTo>
                <a:lnTo>
                  <a:pt x="36603" y="4812"/>
                </a:lnTo>
                <a:lnTo>
                  <a:pt x="37547" y="4717"/>
                </a:lnTo>
                <a:lnTo>
                  <a:pt x="37830" y="4717"/>
                </a:lnTo>
                <a:lnTo>
                  <a:pt x="38396" y="4529"/>
                </a:lnTo>
                <a:lnTo>
                  <a:pt x="38867" y="4340"/>
                </a:lnTo>
                <a:lnTo>
                  <a:pt x="38867" y="4623"/>
                </a:lnTo>
                <a:lnTo>
                  <a:pt x="42735" y="4340"/>
                </a:lnTo>
                <a:lnTo>
                  <a:pt x="43207" y="4529"/>
                </a:lnTo>
                <a:lnTo>
                  <a:pt x="43018" y="4529"/>
                </a:lnTo>
                <a:lnTo>
                  <a:pt x="43867" y="4623"/>
                </a:lnTo>
                <a:lnTo>
                  <a:pt x="44811" y="4434"/>
                </a:lnTo>
                <a:lnTo>
                  <a:pt x="45094" y="4717"/>
                </a:lnTo>
                <a:lnTo>
                  <a:pt x="45754" y="4906"/>
                </a:lnTo>
                <a:lnTo>
                  <a:pt x="47546" y="5189"/>
                </a:lnTo>
                <a:lnTo>
                  <a:pt x="49622" y="5566"/>
                </a:lnTo>
                <a:lnTo>
                  <a:pt x="51131" y="5849"/>
                </a:lnTo>
                <a:lnTo>
                  <a:pt x="51131" y="5849"/>
                </a:lnTo>
                <a:lnTo>
                  <a:pt x="49244" y="5095"/>
                </a:lnTo>
                <a:lnTo>
                  <a:pt x="46886" y="4529"/>
                </a:lnTo>
                <a:lnTo>
                  <a:pt x="44433" y="3963"/>
                </a:lnTo>
                <a:lnTo>
                  <a:pt x="41980" y="3491"/>
                </a:lnTo>
                <a:lnTo>
                  <a:pt x="39528" y="3302"/>
                </a:lnTo>
                <a:lnTo>
                  <a:pt x="37358" y="3208"/>
                </a:lnTo>
                <a:lnTo>
                  <a:pt x="36415" y="3208"/>
                </a:lnTo>
                <a:lnTo>
                  <a:pt x="35565" y="3302"/>
                </a:lnTo>
                <a:lnTo>
                  <a:pt x="34811" y="3491"/>
                </a:lnTo>
                <a:lnTo>
                  <a:pt x="34150" y="3680"/>
                </a:lnTo>
                <a:lnTo>
                  <a:pt x="33490" y="3585"/>
                </a:lnTo>
                <a:lnTo>
                  <a:pt x="32830" y="3491"/>
                </a:lnTo>
                <a:lnTo>
                  <a:pt x="31509" y="3585"/>
                </a:lnTo>
                <a:lnTo>
                  <a:pt x="30000" y="3868"/>
                </a:lnTo>
                <a:lnTo>
                  <a:pt x="28490" y="4246"/>
                </a:lnTo>
                <a:lnTo>
                  <a:pt x="26981" y="4812"/>
                </a:lnTo>
                <a:lnTo>
                  <a:pt x="25471" y="5472"/>
                </a:lnTo>
                <a:lnTo>
                  <a:pt x="23868" y="6321"/>
                </a:lnTo>
                <a:lnTo>
                  <a:pt x="22358" y="7170"/>
                </a:lnTo>
                <a:lnTo>
                  <a:pt x="20849" y="8113"/>
                </a:lnTo>
                <a:lnTo>
                  <a:pt x="19339" y="9151"/>
                </a:lnTo>
                <a:lnTo>
                  <a:pt x="17924" y="10283"/>
                </a:lnTo>
                <a:lnTo>
                  <a:pt x="16604" y="11321"/>
                </a:lnTo>
                <a:lnTo>
                  <a:pt x="14056" y="13491"/>
                </a:lnTo>
                <a:lnTo>
                  <a:pt x="12075" y="15472"/>
                </a:lnTo>
                <a:lnTo>
                  <a:pt x="9717" y="18491"/>
                </a:lnTo>
                <a:lnTo>
                  <a:pt x="10000" y="17830"/>
                </a:lnTo>
                <a:lnTo>
                  <a:pt x="10377" y="17264"/>
                </a:lnTo>
                <a:lnTo>
                  <a:pt x="9717" y="18113"/>
                </a:lnTo>
                <a:lnTo>
                  <a:pt x="9056" y="19057"/>
                </a:lnTo>
                <a:lnTo>
                  <a:pt x="9151" y="19245"/>
                </a:lnTo>
                <a:lnTo>
                  <a:pt x="8396" y="20189"/>
                </a:lnTo>
                <a:lnTo>
                  <a:pt x="9151" y="18774"/>
                </a:lnTo>
                <a:lnTo>
                  <a:pt x="8019" y="20377"/>
                </a:lnTo>
                <a:lnTo>
                  <a:pt x="7075" y="22075"/>
                </a:lnTo>
                <a:lnTo>
                  <a:pt x="6226" y="23868"/>
                </a:lnTo>
                <a:lnTo>
                  <a:pt x="5472" y="25755"/>
                </a:lnTo>
                <a:lnTo>
                  <a:pt x="4151" y="29434"/>
                </a:lnTo>
                <a:lnTo>
                  <a:pt x="2924" y="32924"/>
                </a:lnTo>
                <a:lnTo>
                  <a:pt x="3019" y="33113"/>
                </a:lnTo>
                <a:lnTo>
                  <a:pt x="2924" y="33773"/>
                </a:lnTo>
                <a:lnTo>
                  <a:pt x="2453" y="36509"/>
                </a:lnTo>
                <a:lnTo>
                  <a:pt x="1981" y="39434"/>
                </a:lnTo>
                <a:lnTo>
                  <a:pt x="1981" y="39528"/>
                </a:lnTo>
                <a:lnTo>
                  <a:pt x="1981" y="39905"/>
                </a:lnTo>
                <a:lnTo>
                  <a:pt x="1792" y="41415"/>
                </a:lnTo>
                <a:lnTo>
                  <a:pt x="1698" y="42358"/>
                </a:lnTo>
                <a:lnTo>
                  <a:pt x="1698" y="43301"/>
                </a:lnTo>
                <a:lnTo>
                  <a:pt x="1792" y="44245"/>
                </a:lnTo>
                <a:lnTo>
                  <a:pt x="1887" y="44999"/>
                </a:lnTo>
                <a:lnTo>
                  <a:pt x="2170" y="46603"/>
                </a:lnTo>
                <a:lnTo>
                  <a:pt x="2170" y="46603"/>
                </a:lnTo>
                <a:lnTo>
                  <a:pt x="1887" y="46415"/>
                </a:lnTo>
                <a:lnTo>
                  <a:pt x="1792" y="46320"/>
                </a:lnTo>
                <a:lnTo>
                  <a:pt x="1792" y="46509"/>
                </a:lnTo>
                <a:lnTo>
                  <a:pt x="1981" y="46981"/>
                </a:lnTo>
                <a:lnTo>
                  <a:pt x="1415" y="46132"/>
                </a:lnTo>
                <a:lnTo>
                  <a:pt x="1509" y="46509"/>
                </a:lnTo>
                <a:lnTo>
                  <a:pt x="1321" y="46981"/>
                </a:lnTo>
                <a:lnTo>
                  <a:pt x="472" y="45471"/>
                </a:lnTo>
                <a:lnTo>
                  <a:pt x="377" y="45565"/>
                </a:lnTo>
                <a:lnTo>
                  <a:pt x="283" y="45660"/>
                </a:lnTo>
                <a:lnTo>
                  <a:pt x="189" y="45660"/>
                </a:lnTo>
                <a:lnTo>
                  <a:pt x="0" y="45565"/>
                </a:lnTo>
                <a:lnTo>
                  <a:pt x="0" y="45565"/>
                </a:lnTo>
                <a:lnTo>
                  <a:pt x="1038" y="47924"/>
                </a:lnTo>
                <a:lnTo>
                  <a:pt x="2264" y="50282"/>
                </a:lnTo>
                <a:lnTo>
                  <a:pt x="2075" y="49905"/>
                </a:lnTo>
                <a:lnTo>
                  <a:pt x="2170" y="49528"/>
                </a:lnTo>
                <a:lnTo>
                  <a:pt x="2736" y="50188"/>
                </a:lnTo>
                <a:lnTo>
                  <a:pt x="3208" y="50660"/>
                </a:lnTo>
                <a:lnTo>
                  <a:pt x="3396" y="50943"/>
                </a:lnTo>
                <a:lnTo>
                  <a:pt x="3396" y="51037"/>
                </a:lnTo>
                <a:lnTo>
                  <a:pt x="3302" y="50943"/>
                </a:lnTo>
                <a:lnTo>
                  <a:pt x="3302" y="50943"/>
                </a:lnTo>
                <a:lnTo>
                  <a:pt x="3585" y="51320"/>
                </a:lnTo>
                <a:lnTo>
                  <a:pt x="4623" y="53207"/>
                </a:lnTo>
                <a:lnTo>
                  <a:pt x="5755" y="55094"/>
                </a:lnTo>
                <a:lnTo>
                  <a:pt x="7075" y="56886"/>
                </a:lnTo>
                <a:lnTo>
                  <a:pt x="8585" y="58490"/>
                </a:lnTo>
                <a:lnTo>
                  <a:pt x="10189" y="59999"/>
                </a:lnTo>
                <a:lnTo>
                  <a:pt x="11792" y="61414"/>
                </a:lnTo>
                <a:lnTo>
                  <a:pt x="13585" y="62735"/>
                </a:lnTo>
                <a:lnTo>
                  <a:pt x="15471" y="63867"/>
                </a:lnTo>
                <a:lnTo>
                  <a:pt x="17641" y="64905"/>
                </a:lnTo>
                <a:lnTo>
                  <a:pt x="20000" y="65942"/>
                </a:lnTo>
                <a:lnTo>
                  <a:pt x="22358" y="66697"/>
                </a:lnTo>
                <a:lnTo>
                  <a:pt x="24811" y="67263"/>
                </a:lnTo>
                <a:lnTo>
                  <a:pt x="27264" y="67735"/>
                </a:lnTo>
                <a:lnTo>
                  <a:pt x="29811" y="68018"/>
                </a:lnTo>
                <a:lnTo>
                  <a:pt x="32264" y="68206"/>
                </a:lnTo>
                <a:lnTo>
                  <a:pt x="34811" y="68112"/>
                </a:lnTo>
                <a:lnTo>
                  <a:pt x="36981" y="67829"/>
                </a:lnTo>
                <a:lnTo>
                  <a:pt x="40471" y="67263"/>
                </a:lnTo>
                <a:lnTo>
                  <a:pt x="44056" y="66508"/>
                </a:lnTo>
                <a:lnTo>
                  <a:pt x="45565" y="66131"/>
                </a:lnTo>
                <a:lnTo>
                  <a:pt x="46509" y="65848"/>
                </a:lnTo>
                <a:lnTo>
                  <a:pt x="46509" y="65942"/>
                </a:lnTo>
                <a:lnTo>
                  <a:pt x="48018" y="65376"/>
                </a:lnTo>
                <a:lnTo>
                  <a:pt x="49527" y="64622"/>
                </a:lnTo>
                <a:lnTo>
                  <a:pt x="48867" y="64810"/>
                </a:lnTo>
                <a:lnTo>
                  <a:pt x="50754" y="63773"/>
                </a:lnTo>
                <a:lnTo>
                  <a:pt x="52546" y="62641"/>
                </a:lnTo>
                <a:lnTo>
                  <a:pt x="54244" y="61320"/>
                </a:lnTo>
                <a:lnTo>
                  <a:pt x="56037" y="59810"/>
                </a:lnTo>
                <a:lnTo>
                  <a:pt x="55282" y="60659"/>
                </a:lnTo>
                <a:lnTo>
                  <a:pt x="57263" y="59056"/>
                </a:lnTo>
                <a:lnTo>
                  <a:pt x="58112" y="58395"/>
                </a:lnTo>
                <a:lnTo>
                  <a:pt x="58207" y="58301"/>
                </a:lnTo>
                <a:lnTo>
                  <a:pt x="58112" y="58301"/>
                </a:lnTo>
                <a:lnTo>
                  <a:pt x="58584" y="57924"/>
                </a:lnTo>
                <a:lnTo>
                  <a:pt x="59056" y="57546"/>
                </a:lnTo>
                <a:lnTo>
                  <a:pt x="59999" y="56414"/>
                </a:lnTo>
                <a:lnTo>
                  <a:pt x="61414" y="55188"/>
                </a:lnTo>
                <a:lnTo>
                  <a:pt x="61414" y="55188"/>
                </a:lnTo>
                <a:lnTo>
                  <a:pt x="61131" y="55282"/>
                </a:lnTo>
                <a:lnTo>
                  <a:pt x="61508" y="54811"/>
                </a:lnTo>
                <a:lnTo>
                  <a:pt x="62735" y="53867"/>
                </a:lnTo>
                <a:lnTo>
                  <a:pt x="63867" y="52735"/>
                </a:lnTo>
                <a:lnTo>
                  <a:pt x="66131" y="50471"/>
                </a:lnTo>
                <a:lnTo>
                  <a:pt x="66131" y="50565"/>
                </a:lnTo>
                <a:lnTo>
                  <a:pt x="66320" y="50660"/>
                </a:lnTo>
                <a:lnTo>
                  <a:pt x="66414" y="50660"/>
                </a:lnTo>
                <a:lnTo>
                  <a:pt x="66603" y="50565"/>
                </a:lnTo>
                <a:lnTo>
                  <a:pt x="66603" y="50754"/>
                </a:lnTo>
                <a:lnTo>
                  <a:pt x="66508" y="50943"/>
                </a:lnTo>
                <a:lnTo>
                  <a:pt x="65848" y="51603"/>
                </a:lnTo>
                <a:lnTo>
                  <a:pt x="64999" y="52546"/>
                </a:lnTo>
                <a:lnTo>
                  <a:pt x="65376" y="52358"/>
                </a:lnTo>
                <a:lnTo>
                  <a:pt x="65848" y="52075"/>
                </a:lnTo>
                <a:lnTo>
                  <a:pt x="66697" y="51320"/>
                </a:lnTo>
                <a:lnTo>
                  <a:pt x="67546" y="50282"/>
                </a:lnTo>
                <a:lnTo>
                  <a:pt x="68301" y="49056"/>
                </a:lnTo>
                <a:lnTo>
                  <a:pt x="69055" y="47830"/>
                </a:lnTo>
                <a:lnTo>
                  <a:pt x="69716" y="46603"/>
                </a:lnTo>
                <a:lnTo>
                  <a:pt x="70565" y="44811"/>
                </a:lnTo>
                <a:lnTo>
                  <a:pt x="70282" y="45094"/>
                </a:lnTo>
                <a:lnTo>
                  <a:pt x="70942" y="43490"/>
                </a:lnTo>
                <a:lnTo>
                  <a:pt x="71037" y="43396"/>
                </a:lnTo>
                <a:lnTo>
                  <a:pt x="71697" y="41320"/>
                </a:lnTo>
                <a:lnTo>
                  <a:pt x="72263" y="39245"/>
                </a:lnTo>
                <a:lnTo>
                  <a:pt x="72640" y="37358"/>
                </a:lnTo>
                <a:lnTo>
                  <a:pt x="72923" y="35849"/>
                </a:lnTo>
                <a:lnTo>
                  <a:pt x="72829" y="36226"/>
                </a:lnTo>
                <a:lnTo>
                  <a:pt x="72735" y="36698"/>
                </a:lnTo>
                <a:lnTo>
                  <a:pt x="72452" y="36981"/>
                </a:lnTo>
                <a:lnTo>
                  <a:pt x="72169" y="37358"/>
                </a:lnTo>
                <a:lnTo>
                  <a:pt x="72263" y="36981"/>
                </a:lnTo>
                <a:lnTo>
                  <a:pt x="72452" y="36415"/>
                </a:lnTo>
                <a:lnTo>
                  <a:pt x="72452" y="35849"/>
                </a:lnTo>
                <a:lnTo>
                  <a:pt x="72357" y="35660"/>
                </a:lnTo>
                <a:lnTo>
                  <a:pt x="72263" y="35471"/>
                </a:lnTo>
                <a:lnTo>
                  <a:pt x="72640" y="33868"/>
                </a:lnTo>
                <a:lnTo>
                  <a:pt x="72735" y="33113"/>
                </a:lnTo>
                <a:lnTo>
                  <a:pt x="72735" y="32358"/>
                </a:lnTo>
                <a:lnTo>
                  <a:pt x="72923" y="33207"/>
                </a:lnTo>
                <a:lnTo>
                  <a:pt x="73018" y="34151"/>
                </a:lnTo>
                <a:lnTo>
                  <a:pt x="72923" y="32358"/>
                </a:lnTo>
                <a:lnTo>
                  <a:pt x="72923" y="31792"/>
                </a:lnTo>
                <a:lnTo>
                  <a:pt x="73112" y="30754"/>
                </a:lnTo>
                <a:lnTo>
                  <a:pt x="72829" y="31604"/>
                </a:lnTo>
                <a:lnTo>
                  <a:pt x="72735" y="30283"/>
                </a:lnTo>
                <a:lnTo>
                  <a:pt x="72546" y="28868"/>
                </a:lnTo>
                <a:lnTo>
                  <a:pt x="72357" y="27641"/>
                </a:lnTo>
                <a:lnTo>
                  <a:pt x="71980" y="26038"/>
                </a:lnTo>
                <a:lnTo>
                  <a:pt x="71414" y="24151"/>
                </a:lnTo>
                <a:lnTo>
                  <a:pt x="70754" y="22170"/>
                </a:lnTo>
                <a:lnTo>
                  <a:pt x="69905" y="20000"/>
                </a:lnTo>
                <a:lnTo>
                  <a:pt x="68867" y="18019"/>
                </a:lnTo>
                <a:lnTo>
                  <a:pt x="68301" y="16981"/>
                </a:lnTo>
                <a:lnTo>
                  <a:pt x="67735" y="16132"/>
                </a:lnTo>
                <a:lnTo>
                  <a:pt x="67074" y="15283"/>
                </a:lnTo>
                <a:lnTo>
                  <a:pt x="66414" y="14434"/>
                </a:lnTo>
                <a:lnTo>
                  <a:pt x="66508" y="14623"/>
                </a:lnTo>
                <a:lnTo>
                  <a:pt x="66414" y="14906"/>
                </a:lnTo>
                <a:lnTo>
                  <a:pt x="65754" y="14057"/>
                </a:lnTo>
                <a:lnTo>
                  <a:pt x="65093" y="13113"/>
                </a:lnTo>
                <a:lnTo>
                  <a:pt x="64537" y="12278"/>
                </a:lnTo>
                <a:lnTo>
                  <a:pt x="62924" y="10755"/>
                </a:lnTo>
                <a:lnTo>
                  <a:pt x="63018" y="10755"/>
                </a:lnTo>
                <a:lnTo>
                  <a:pt x="63018" y="10661"/>
                </a:lnTo>
                <a:lnTo>
                  <a:pt x="62924" y="10472"/>
                </a:lnTo>
                <a:lnTo>
                  <a:pt x="62263" y="9717"/>
                </a:lnTo>
                <a:lnTo>
                  <a:pt x="60376" y="7830"/>
                </a:lnTo>
                <a:lnTo>
                  <a:pt x="60754" y="8396"/>
                </a:lnTo>
                <a:lnTo>
                  <a:pt x="61131" y="8774"/>
                </a:lnTo>
                <a:lnTo>
                  <a:pt x="60376" y="8396"/>
                </a:lnTo>
                <a:lnTo>
                  <a:pt x="59716" y="7925"/>
                </a:lnTo>
                <a:lnTo>
                  <a:pt x="59087" y="7476"/>
                </a:lnTo>
                <a:lnTo>
                  <a:pt x="59810" y="8302"/>
                </a:lnTo>
                <a:lnTo>
                  <a:pt x="58678" y="7642"/>
                </a:lnTo>
                <a:lnTo>
                  <a:pt x="57641" y="6981"/>
                </a:lnTo>
                <a:lnTo>
                  <a:pt x="55471" y="5472"/>
                </a:lnTo>
                <a:lnTo>
                  <a:pt x="53301" y="4057"/>
                </a:lnTo>
                <a:lnTo>
                  <a:pt x="52169" y="3397"/>
                </a:lnTo>
                <a:lnTo>
                  <a:pt x="51037" y="2831"/>
                </a:lnTo>
                <a:lnTo>
                  <a:pt x="52075" y="2831"/>
                </a:lnTo>
                <a:lnTo>
                  <a:pt x="50660" y="1982"/>
                </a:lnTo>
                <a:lnTo>
                  <a:pt x="49811" y="1604"/>
                </a:lnTo>
                <a:lnTo>
                  <a:pt x="48867" y="1227"/>
                </a:lnTo>
                <a:lnTo>
                  <a:pt x="48018" y="849"/>
                </a:lnTo>
                <a:lnTo>
                  <a:pt x="47075" y="661"/>
                </a:lnTo>
                <a:lnTo>
                  <a:pt x="46226" y="566"/>
                </a:lnTo>
                <a:lnTo>
                  <a:pt x="45471" y="661"/>
                </a:lnTo>
                <a:lnTo>
                  <a:pt x="46226" y="849"/>
                </a:lnTo>
                <a:lnTo>
                  <a:pt x="46866" y="1215"/>
                </a:lnTo>
                <a:lnTo>
                  <a:pt x="46980" y="1227"/>
                </a:lnTo>
                <a:lnTo>
                  <a:pt x="47452" y="1416"/>
                </a:lnTo>
                <a:lnTo>
                  <a:pt x="47924" y="1510"/>
                </a:lnTo>
                <a:lnTo>
                  <a:pt x="47358" y="1321"/>
                </a:lnTo>
                <a:lnTo>
                  <a:pt x="46886" y="944"/>
                </a:lnTo>
                <a:lnTo>
                  <a:pt x="47829" y="1227"/>
                </a:lnTo>
                <a:lnTo>
                  <a:pt x="48773" y="1604"/>
                </a:lnTo>
                <a:lnTo>
                  <a:pt x="49622" y="2076"/>
                </a:lnTo>
                <a:lnTo>
                  <a:pt x="50377" y="2642"/>
                </a:lnTo>
                <a:lnTo>
                  <a:pt x="50377" y="2642"/>
                </a:lnTo>
                <a:lnTo>
                  <a:pt x="49622" y="2265"/>
                </a:lnTo>
                <a:lnTo>
                  <a:pt x="48584" y="1887"/>
                </a:lnTo>
                <a:lnTo>
                  <a:pt x="47358" y="1510"/>
                </a:lnTo>
                <a:lnTo>
                  <a:pt x="46037" y="1132"/>
                </a:lnTo>
                <a:lnTo>
                  <a:pt x="46809" y="1210"/>
                </a:lnTo>
                <a:lnTo>
                  <a:pt x="44339" y="661"/>
                </a:lnTo>
                <a:lnTo>
                  <a:pt x="44716" y="755"/>
                </a:lnTo>
                <a:lnTo>
                  <a:pt x="43113" y="472"/>
                </a:lnTo>
                <a:lnTo>
                  <a:pt x="41603" y="283"/>
                </a:lnTo>
                <a:lnTo>
                  <a:pt x="40282" y="95"/>
                </a:lnTo>
                <a:lnTo>
                  <a:pt x="39150" y="0"/>
                </a:lnTo>
                <a:close/>
              </a:path>
            </a:pathLst>
          </a:custGeom>
          <a:solidFill>
            <a:schemeClr val="accent6"/>
          </a:solidFill>
          <a:ln>
            <a:noFill/>
          </a:ln>
        </p:spPr>
        <p:txBody>
          <a:bodyPr spcFirstLastPara="1" wrap="square" lIns="302702" tIns="302702" rIns="302702" bIns="302702" anchor="ctr" anchorCtr="0">
            <a:noAutofit/>
          </a:bodyPr>
          <a:lstStyle/>
          <a:p>
            <a:pPr defTabSz="3027425" fontAlgn="auto">
              <a:spcBef>
                <a:spcPts val="0"/>
              </a:spcBef>
              <a:spcAft>
                <a:spcPts val="0"/>
              </a:spcAft>
              <a:buClr>
                <a:srgbClr val="000000"/>
              </a:buClr>
              <a:buNone/>
            </a:pPr>
            <a:endParaRPr sz="4635" kern="0" spc="0">
              <a:solidFill>
                <a:srgbClr val="000000"/>
              </a:solidFill>
              <a:latin typeface="Arial"/>
              <a:cs typeface="Arial"/>
              <a:sym typeface="Arial"/>
            </a:endParaRPr>
          </a:p>
        </p:txBody>
      </p:sp>
      <p:sp>
        <p:nvSpPr>
          <p:cNvPr id="40" name="TextBox 39">
            <a:extLst>
              <a:ext uri="{FF2B5EF4-FFF2-40B4-BE49-F238E27FC236}">
                <a16:creationId xmlns:a16="http://schemas.microsoft.com/office/drawing/2014/main" id="{5EE86C41-8503-73D4-F123-944D58533171}"/>
              </a:ext>
            </a:extLst>
          </p:cNvPr>
          <p:cNvSpPr txBox="1"/>
          <p:nvPr/>
        </p:nvSpPr>
        <p:spPr>
          <a:xfrm>
            <a:off x="4810408" y="2898020"/>
            <a:ext cx="2571185" cy="615553"/>
          </a:xfrm>
          <a:prstGeom prst="rect">
            <a:avLst/>
          </a:prstGeom>
          <a:noFill/>
        </p:spPr>
        <p:txBody>
          <a:bodyPr wrap="square" lIns="0" tIns="0" rIns="0" bIns="0" rtlCol="0">
            <a:spAutoFit/>
          </a:bodyPr>
          <a:lstStyle/>
          <a:p>
            <a:pPr algn="ctr"/>
            <a:r>
              <a:rPr lang="da-DK" sz="4000" b="1">
                <a:latin typeface="Amatic SC" panose="00000500000000000000" pitchFamily="2" charset="-79"/>
                <a:cs typeface="Amatic SC" panose="00000500000000000000" pitchFamily="2" charset="-79"/>
              </a:rPr>
              <a:t>AKTIV LYTNING</a:t>
            </a:r>
          </a:p>
        </p:txBody>
      </p:sp>
      <p:sp>
        <p:nvSpPr>
          <p:cNvPr id="41" name="Rectangle 40">
            <a:extLst>
              <a:ext uri="{FF2B5EF4-FFF2-40B4-BE49-F238E27FC236}">
                <a16:creationId xmlns:a16="http://schemas.microsoft.com/office/drawing/2014/main" id="{857A8BF5-4D86-427E-4527-9C48D4CC4E8B}"/>
              </a:ext>
            </a:extLst>
          </p:cNvPr>
          <p:cNvSpPr/>
          <p:nvPr/>
        </p:nvSpPr>
        <p:spPr>
          <a:xfrm>
            <a:off x="588438" y="205672"/>
            <a:ext cx="2076980" cy="572351"/>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42" name="TextBox 41">
            <a:extLst>
              <a:ext uri="{FF2B5EF4-FFF2-40B4-BE49-F238E27FC236}">
                <a16:creationId xmlns:a16="http://schemas.microsoft.com/office/drawing/2014/main" id="{3D928DB6-D9E8-7D3A-0EFC-790EE3426CE6}"/>
              </a:ext>
            </a:extLst>
          </p:cNvPr>
          <p:cNvSpPr txBox="1"/>
          <p:nvPr/>
        </p:nvSpPr>
        <p:spPr bwMode="auto">
          <a:xfrm>
            <a:off x="1125463" y="557244"/>
            <a:ext cx="3305831"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da-DK" sz="1400" b="0" i="0" u="none" strike="noStrike" kern="1200" cap="none" spc="0" normalizeH="0" baseline="0" noProof="0">
                <a:ln>
                  <a:noFill/>
                </a:ln>
                <a:solidFill>
                  <a:schemeClr val="tx1"/>
                </a:solidFill>
                <a:effectLst/>
                <a:uLnTx/>
                <a:uFillTx/>
                <a:latin typeface="Quicksand" panose="020B0604020202020204"/>
                <a:ea typeface="Verdana" pitchFamily="34" charset="0"/>
                <a:cs typeface="Verdana" pitchFamily="34" charset="0"/>
              </a:rPr>
              <a:t>Hvad undrer mig? Hvilke spørgsmål har jeg?</a:t>
            </a:r>
          </a:p>
        </p:txBody>
      </p:sp>
      <p:sp>
        <p:nvSpPr>
          <p:cNvPr id="43" name="Shape 317">
            <a:extLst>
              <a:ext uri="{FF2B5EF4-FFF2-40B4-BE49-F238E27FC236}">
                <a16:creationId xmlns:a16="http://schemas.microsoft.com/office/drawing/2014/main" id="{D01313E5-63E6-FA19-8098-789D124D6259}"/>
              </a:ext>
            </a:extLst>
          </p:cNvPr>
          <p:cNvSpPr>
            <a:spLocks noChangeAspect="1"/>
          </p:cNvSpPr>
          <p:nvPr/>
        </p:nvSpPr>
        <p:spPr>
          <a:xfrm>
            <a:off x="608462" y="233813"/>
            <a:ext cx="414154" cy="477759"/>
          </a:xfrm>
          <a:custGeom>
            <a:avLst/>
            <a:gdLst/>
            <a:ahLst/>
            <a:cxnLst/>
            <a:rect l="0" t="0" r="0" b="0"/>
            <a:pathLst>
              <a:path w="18956" h="17763" extrusionOk="0">
                <a:moveTo>
                  <a:pt x="17592" y="6229"/>
                </a:moveTo>
                <a:lnTo>
                  <a:pt x="17836" y="6375"/>
                </a:lnTo>
                <a:lnTo>
                  <a:pt x="17957" y="6473"/>
                </a:lnTo>
                <a:lnTo>
                  <a:pt x="18079" y="6570"/>
                </a:lnTo>
                <a:lnTo>
                  <a:pt x="17933" y="6619"/>
                </a:lnTo>
                <a:lnTo>
                  <a:pt x="17811" y="6667"/>
                </a:lnTo>
                <a:lnTo>
                  <a:pt x="17617" y="6789"/>
                </a:lnTo>
                <a:lnTo>
                  <a:pt x="17592" y="6229"/>
                </a:lnTo>
                <a:close/>
                <a:moveTo>
                  <a:pt x="18225" y="6765"/>
                </a:moveTo>
                <a:lnTo>
                  <a:pt x="18298" y="6911"/>
                </a:lnTo>
                <a:lnTo>
                  <a:pt x="18128" y="6935"/>
                </a:lnTo>
                <a:lnTo>
                  <a:pt x="17957" y="7008"/>
                </a:lnTo>
                <a:lnTo>
                  <a:pt x="17787" y="7081"/>
                </a:lnTo>
                <a:lnTo>
                  <a:pt x="17617" y="7203"/>
                </a:lnTo>
                <a:lnTo>
                  <a:pt x="17617" y="6984"/>
                </a:lnTo>
                <a:lnTo>
                  <a:pt x="17909" y="6862"/>
                </a:lnTo>
                <a:lnTo>
                  <a:pt x="18079" y="6813"/>
                </a:lnTo>
                <a:lnTo>
                  <a:pt x="18225" y="6765"/>
                </a:lnTo>
                <a:close/>
                <a:moveTo>
                  <a:pt x="18371" y="7203"/>
                </a:moveTo>
                <a:lnTo>
                  <a:pt x="18395" y="7397"/>
                </a:lnTo>
                <a:lnTo>
                  <a:pt x="18225" y="7470"/>
                </a:lnTo>
                <a:lnTo>
                  <a:pt x="18079" y="7543"/>
                </a:lnTo>
                <a:lnTo>
                  <a:pt x="17860" y="7689"/>
                </a:lnTo>
                <a:lnTo>
                  <a:pt x="17641" y="7835"/>
                </a:lnTo>
                <a:lnTo>
                  <a:pt x="17641" y="7738"/>
                </a:lnTo>
                <a:lnTo>
                  <a:pt x="17617" y="7470"/>
                </a:lnTo>
                <a:lnTo>
                  <a:pt x="17787" y="7397"/>
                </a:lnTo>
                <a:lnTo>
                  <a:pt x="18347" y="7227"/>
                </a:lnTo>
                <a:lnTo>
                  <a:pt x="18371" y="7203"/>
                </a:lnTo>
                <a:close/>
                <a:moveTo>
                  <a:pt x="18420" y="7689"/>
                </a:moveTo>
                <a:lnTo>
                  <a:pt x="18420" y="7835"/>
                </a:lnTo>
                <a:lnTo>
                  <a:pt x="18420" y="7908"/>
                </a:lnTo>
                <a:lnTo>
                  <a:pt x="18225" y="7981"/>
                </a:lnTo>
                <a:lnTo>
                  <a:pt x="18006" y="8103"/>
                </a:lnTo>
                <a:lnTo>
                  <a:pt x="17811" y="8249"/>
                </a:lnTo>
                <a:lnTo>
                  <a:pt x="17641" y="8395"/>
                </a:lnTo>
                <a:lnTo>
                  <a:pt x="17641" y="8006"/>
                </a:lnTo>
                <a:lnTo>
                  <a:pt x="17860" y="7933"/>
                </a:lnTo>
                <a:lnTo>
                  <a:pt x="18079" y="7835"/>
                </a:lnTo>
                <a:lnTo>
                  <a:pt x="18420" y="7689"/>
                </a:lnTo>
                <a:close/>
                <a:moveTo>
                  <a:pt x="18420" y="8200"/>
                </a:moveTo>
                <a:lnTo>
                  <a:pt x="18395" y="8468"/>
                </a:lnTo>
                <a:lnTo>
                  <a:pt x="18322" y="8492"/>
                </a:lnTo>
                <a:lnTo>
                  <a:pt x="18249" y="8517"/>
                </a:lnTo>
                <a:lnTo>
                  <a:pt x="18103" y="8614"/>
                </a:lnTo>
                <a:lnTo>
                  <a:pt x="17884" y="8736"/>
                </a:lnTo>
                <a:lnTo>
                  <a:pt x="17665" y="8833"/>
                </a:lnTo>
                <a:lnTo>
                  <a:pt x="17665" y="8565"/>
                </a:lnTo>
                <a:lnTo>
                  <a:pt x="17860" y="8517"/>
                </a:lnTo>
                <a:lnTo>
                  <a:pt x="18055" y="8419"/>
                </a:lnTo>
                <a:lnTo>
                  <a:pt x="18225" y="8298"/>
                </a:lnTo>
                <a:lnTo>
                  <a:pt x="18420" y="8200"/>
                </a:lnTo>
                <a:close/>
                <a:moveTo>
                  <a:pt x="18298" y="8784"/>
                </a:moveTo>
                <a:lnTo>
                  <a:pt x="18201" y="8979"/>
                </a:lnTo>
                <a:lnTo>
                  <a:pt x="18079" y="9174"/>
                </a:lnTo>
                <a:lnTo>
                  <a:pt x="17884" y="9344"/>
                </a:lnTo>
                <a:lnTo>
                  <a:pt x="17690" y="9514"/>
                </a:lnTo>
                <a:lnTo>
                  <a:pt x="17665" y="8955"/>
                </a:lnTo>
                <a:lnTo>
                  <a:pt x="17860" y="8930"/>
                </a:lnTo>
                <a:lnTo>
                  <a:pt x="18079" y="8857"/>
                </a:lnTo>
                <a:lnTo>
                  <a:pt x="18298" y="8784"/>
                </a:lnTo>
                <a:close/>
                <a:moveTo>
                  <a:pt x="2969" y="5061"/>
                </a:moveTo>
                <a:lnTo>
                  <a:pt x="3674" y="5086"/>
                </a:lnTo>
                <a:lnTo>
                  <a:pt x="4380" y="5086"/>
                </a:lnTo>
                <a:lnTo>
                  <a:pt x="4331" y="5305"/>
                </a:lnTo>
                <a:lnTo>
                  <a:pt x="4307" y="5572"/>
                </a:lnTo>
                <a:lnTo>
                  <a:pt x="4283" y="6083"/>
                </a:lnTo>
                <a:lnTo>
                  <a:pt x="4258" y="7543"/>
                </a:lnTo>
                <a:lnTo>
                  <a:pt x="4258" y="9003"/>
                </a:lnTo>
                <a:lnTo>
                  <a:pt x="4283" y="10488"/>
                </a:lnTo>
                <a:lnTo>
                  <a:pt x="3869" y="10536"/>
                </a:lnTo>
                <a:lnTo>
                  <a:pt x="3869" y="10512"/>
                </a:lnTo>
                <a:lnTo>
                  <a:pt x="3991" y="10317"/>
                </a:lnTo>
                <a:lnTo>
                  <a:pt x="4088" y="10123"/>
                </a:lnTo>
                <a:lnTo>
                  <a:pt x="4161" y="9904"/>
                </a:lnTo>
                <a:lnTo>
                  <a:pt x="4185" y="9782"/>
                </a:lnTo>
                <a:lnTo>
                  <a:pt x="4185" y="9660"/>
                </a:lnTo>
                <a:lnTo>
                  <a:pt x="4161" y="9612"/>
                </a:lnTo>
                <a:lnTo>
                  <a:pt x="4112" y="9587"/>
                </a:lnTo>
                <a:lnTo>
                  <a:pt x="4064" y="9587"/>
                </a:lnTo>
                <a:lnTo>
                  <a:pt x="4015" y="9612"/>
                </a:lnTo>
                <a:lnTo>
                  <a:pt x="3796" y="9977"/>
                </a:lnTo>
                <a:lnTo>
                  <a:pt x="3601" y="10342"/>
                </a:lnTo>
                <a:lnTo>
                  <a:pt x="3431" y="10561"/>
                </a:lnTo>
                <a:lnTo>
                  <a:pt x="3115" y="10585"/>
                </a:lnTo>
                <a:lnTo>
                  <a:pt x="3115" y="10585"/>
                </a:lnTo>
                <a:lnTo>
                  <a:pt x="3188" y="10390"/>
                </a:lnTo>
                <a:lnTo>
                  <a:pt x="3261" y="10220"/>
                </a:lnTo>
                <a:lnTo>
                  <a:pt x="3334" y="10001"/>
                </a:lnTo>
                <a:lnTo>
                  <a:pt x="3431" y="9806"/>
                </a:lnTo>
                <a:lnTo>
                  <a:pt x="3553" y="9612"/>
                </a:lnTo>
                <a:lnTo>
                  <a:pt x="3626" y="9539"/>
                </a:lnTo>
                <a:lnTo>
                  <a:pt x="3723" y="9490"/>
                </a:lnTo>
                <a:lnTo>
                  <a:pt x="3747" y="9466"/>
                </a:lnTo>
                <a:lnTo>
                  <a:pt x="3747" y="9441"/>
                </a:lnTo>
                <a:lnTo>
                  <a:pt x="3723" y="9417"/>
                </a:lnTo>
                <a:lnTo>
                  <a:pt x="3699" y="9417"/>
                </a:lnTo>
                <a:lnTo>
                  <a:pt x="3601" y="9441"/>
                </a:lnTo>
                <a:lnTo>
                  <a:pt x="3504" y="9466"/>
                </a:lnTo>
                <a:lnTo>
                  <a:pt x="3358" y="9587"/>
                </a:lnTo>
                <a:lnTo>
                  <a:pt x="3212" y="9733"/>
                </a:lnTo>
                <a:lnTo>
                  <a:pt x="3115" y="9904"/>
                </a:lnTo>
                <a:lnTo>
                  <a:pt x="2993" y="10098"/>
                </a:lnTo>
                <a:lnTo>
                  <a:pt x="2896" y="10317"/>
                </a:lnTo>
                <a:lnTo>
                  <a:pt x="2847" y="10463"/>
                </a:lnTo>
                <a:lnTo>
                  <a:pt x="2798" y="10585"/>
                </a:lnTo>
                <a:lnTo>
                  <a:pt x="2409" y="10561"/>
                </a:lnTo>
                <a:lnTo>
                  <a:pt x="2506" y="10244"/>
                </a:lnTo>
                <a:lnTo>
                  <a:pt x="2652" y="9928"/>
                </a:lnTo>
                <a:lnTo>
                  <a:pt x="2823" y="9660"/>
                </a:lnTo>
                <a:lnTo>
                  <a:pt x="3017" y="9393"/>
                </a:lnTo>
                <a:lnTo>
                  <a:pt x="3017" y="9368"/>
                </a:lnTo>
                <a:lnTo>
                  <a:pt x="2993" y="9368"/>
                </a:lnTo>
                <a:lnTo>
                  <a:pt x="2847" y="9441"/>
                </a:lnTo>
                <a:lnTo>
                  <a:pt x="2701" y="9563"/>
                </a:lnTo>
                <a:lnTo>
                  <a:pt x="2579" y="9685"/>
                </a:lnTo>
                <a:lnTo>
                  <a:pt x="2458" y="9831"/>
                </a:lnTo>
                <a:lnTo>
                  <a:pt x="2360" y="10001"/>
                </a:lnTo>
                <a:lnTo>
                  <a:pt x="2287" y="10171"/>
                </a:lnTo>
                <a:lnTo>
                  <a:pt x="2166" y="10512"/>
                </a:lnTo>
                <a:lnTo>
                  <a:pt x="2068" y="10512"/>
                </a:lnTo>
                <a:lnTo>
                  <a:pt x="1776" y="10439"/>
                </a:lnTo>
                <a:lnTo>
                  <a:pt x="1849" y="10366"/>
                </a:lnTo>
                <a:lnTo>
                  <a:pt x="1898" y="10269"/>
                </a:lnTo>
                <a:lnTo>
                  <a:pt x="1995" y="10025"/>
                </a:lnTo>
                <a:lnTo>
                  <a:pt x="2117" y="9806"/>
                </a:lnTo>
                <a:lnTo>
                  <a:pt x="2287" y="9490"/>
                </a:lnTo>
                <a:lnTo>
                  <a:pt x="2385" y="9320"/>
                </a:lnTo>
                <a:lnTo>
                  <a:pt x="2409" y="9149"/>
                </a:lnTo>
                <a:lnTo>
                  <a:pt x="2409" y="9125"/>
                </a:lnTo>
                <a:lnTo>
                  <a:pt x="2360" y="9125"/>
                </a:lnTo>
                <a:lnTo>
                  <a:pt x="2287" y="9174"/>
                </a:lnTo>
                <a:lnTo>
                  <a:pt x="2190" y="9222"/>
                </a:lnTo>
                <a:lnTo>
                  <a:pt x="2044" y="9393"/>
                </a:lnTo>
                <a:lnTo>
                  <a:pt x="1922" y="9563"/>
                </a:lnTo>
                <a:lnTo>
                  <a:pt x="1825" y="9733"/>
                </a:lnTo>
                <a:lnTo>
                  <a:pt x="1752" y="9879"/>
                </a:lnTo>
                <a:lnTo>
                  <a:pt x="1655" y="10050"/>
                </a:lnTo>
                <a:lnTo>
                  <a:pt x="1630" y="10220"/>
                </a:lnTo>
                <a:lnTo>
                  <a:pt x="1630" y="10317"/>
                </a:lnTo>
                <a:lnTo>
                  <a:pt x="1655" y="10390"/>
                </a:lnTo>
                <a:lnTo>
                  <a:pt x="1436" y="10293"/>
                </a:lnTo>
                <a:lnTo>
                  <a:pt x="1217" y="10171"/>
                </a:lnTo>
                <a:lnTo>
                  <a:pt x="1265" y="10098"/>
                </a:lnTo>
                <a:lnTo>
                  <a:pt x="1387" y="9782"/>
                </a:lnTo>
                <a:lnTo>
                  <a:pt x="1557" y="9490"/>
                </a:lnTo>
                <a:lnTo>
                  <a:pt x="1752" y="9174"/>
                </a:lnTo>
                <a:lnTo>
                  <a:pt x="1874" y="9028"/>
                </a:lnTo>
                <a:lnTo>
                  <a:pt x="1971" y="8906"/>
                </a:lnTo>
                <a:lnTo>
                  <a:pt x="1995" y="8857"/>
                </a:lnTo>
                <a:lnTo>
                  <a:pt x="1995" y="8833"/>
                </a:lnTo>
                <a:lnTo>
                  <a:pt x="1922" y="8833"/>
                </a:lnTo>
                <a:lnTo>
                  <a:pt x="1606" y="9052"/>
                </a:lnTo>
                <a:lnTo>
                  <a:pt x="1460" y="9198"/>
                </a:lnTo>
                <a:lnTo>
                  <a:pt x="1314" y="9344"/>
                </a:lnTo>
                <a:lnTo>
                  <a:pt x="1119" y="9636"/>
                </a:lnTo>
                <a:lnTo>
                  <a:pt x="1022" y="9806"/>
                </a:lnTo>
                <a:lnTo>
                  <a:pt x="973" y="9952"/>
                </a:lnTo>
                <a:lnTo>
                  <a:pt x="852" y="9831"/>
                </a:lnTo>
                <a:lnTo>
                  <a:pt x="754" y="9709"/>
                </a:lnTo>
                <a:lnTo>
                  <a:pt x="779" y="9660"/>
                </a:lnTo>
                <a:lnTo>
                  <a:pt x="852" y="9490"/>
                </a:lnTo>
                <a:lnTo>
                  <a:pt x="925" y="9320"/>
                </a:lnTo>
                <a:lnTo>
                  <a:pt x="1144" y="9003"/>
                </a:lnTo>
                <a:lnTo>
                  <a:pt x="1387" y="8736"/>
                </a:lnTo>
                <a:lnTo>
                  <a:pt x="1484" y="8565"/>
                </a:lnTo>
                <a:lnTo>
                  <a:pt x="1582" y="8419"/>
                </a:lnTo>
                <a:lnTo>
                  <a:pt x="1582" y="8371"/>
                </a:lnTo>
                <a:lnTo>
                  <a:pt x="1533" y="8346"/>
                </a:lnTo>
                <a:lnTo>
                  <a:pt x="1436" y="8371"/>
                </a:lnTo>
                <a:lnTo>
                  <a:pt x="1338" y="8419"/>
                </a:lnTo>
                <a:lnTo>
                  <a:pt x="1217" y="8468"/>
                </a:lnTo>
                <a:lnTo>
                  <a:pt x="1119" y="8565"/>
                </a:lnTo>
                <a:lnTo>
                  <a:pt x="949" y="8736"/>
                </a:lnTo>
                <a:lnTo>
                  <a:pt x="827" y="8906"/>
                </a:lnTo>
                <a:lnTo>
                  <a:pt x="681" y="9052"/>
                </a:lnTo>
                <a:lnTo>
                  <a:pt x="560" y="9247"/>
                </a:lnTo>
                <a:lnTo>
                  <a:pt x="511" y="9003"/>
                </a:lnTo>
                <a:lnTo>
                  <a:pt x="535" y="8930"/>
                </a:lnTo>
                <a:lnTo>
                  <a:pt x="633" y="8760"/>
                </a:lnTo>
                <a:lnTo>
                  <a:pt x="730" y="8565"/>
                </a:lnTo>
                <a:lnTo>
                  <a:pt x="998" y="8200"/>
                </a:lnTo>
                <a:lnTo>
                  <a:pt x="1265" y="7835"/>
                </a:lnTo>
                <a:lnTo>
                  <a:pt x="1265" y="7787"/>
                </a:lnTo>
                <a:lnTo>
                  <a:pt x="1241" y="7787"/>
                </a:lnTo>
                <a:lnTo>
                  <a:pt x="1022" y="7908"/>
                </a:lnTo>
                <a:lnTo>
                  <a:pt x="852" y="8054"/>
                </a:lnTo>
                <a:lnTo>
                  <a:pt x="681" y="8200"/>
                </a:lnTo>
                <a:lnTo>
                  <a:pt x="511" y="8395"/>
                </a:lnTo>
                <a:lnTo>
                  <a:pt x="462" y="8444"/>
                </a:lnTo>
                <a:lnTo>
                  <a:pt x="487" y="8030"/>
                </a:lnTo>
                <a:lnTo>
                  <a:pt x="487" y="7981"/>
                </a:lnTo>
                <a:lnTo>
                  <a:pt x="608" y="7835"/>
                </a:lnTo>
                <a:lnTo>
                  <a:pt x="730" y="7689"/>
                </a:lnTo>
                <a:lnTo>
                  <a:pt x="852" y="7543"/>
                </a:lnTo>
                <a:lnTo>
                  <a:pt x="949" y="7373"/>
                </a:lnTo>
                <a:lnTo>
                  <a:pt x="949" y="7349"/>
                </a:lnTo>
                <a:lnTo>
                  <a:pt x="949" y="7324"/>
                </a:lnTo>
                <a:lnTo>
                  <a:pt x="900" y="7324"/>
                </a:lnTo>
                <a:lnTo>
                  <a:pt x="730" y="7446"/>
                </a:lnTo>
                <a:lnTo>
                  <a:pt x="511" y="7592"/>
                </a:lnTo>
                <a:lnTo>
                  <a:pt x="560" y="7276"/>
                </a:lnTo>
                <a:lnTo>
                  <a:pt x="608" y="6959"/>
                </a:lnTo>
                <a:lnTo>
                  <a:pt x="681" y="6643"/>
                </a:lnTo>
                <a:lnTo>
                  <a:pt x="779" y="6351"/>
                </a:lnTo>
                <a:lnTo>
                  <a:pt x="925" y="6083"/>
                </a:lnTo>
                <a:lnTo>
                  <a:pt x="1119" y="5840"/>
                </a:lnTo>
                <a:lnTo>
                  <a:pt x="1338" y="5597"/>
                </a:lnTo>
                <a:lnTo>
                  <a:pt x="1630" y="5402"/>
                </a:lnTo>
                <a:lnTo>
                  <a:pt x="1776" y="5305"/>
                </a:lnTo>
                <a:lnTo>
                  <a:pt x="1922" y="5232"/>
                </a:lnTo>
                <a:lnTo>
                  <a:pt x="2263" y="5134"/>
                </a:lnTo>
                <a:lnTo>
                  <a:pt x="2604" y="5086"/>
                </a:lnTo>
                <a:lnTo>
                  <a:pt x="2969" y="5061"/>
                </a:lnTo>
                <a:close/>
                <a:moveTo>
                  <a:pt x="15622" y="1631"/>
                </a:moveTo>
                <a:lnTo>
                  <a:pt x="15622" y="2044"/>
                </a:lnTo>
                <a:lnTo>
                  <a:pt x="15597" y="2896"/>
                </a:lnTo>
                <a:lnTo>
                  <a:pt x="15597" y="3310"/>
                </a:lnTo>
                <a:lnTo>
                  <a:pt x="15622" y="3748"/>
                </a:lnTo>
                <a:lnTo>
                  <a:pt x="15622" y="4186"/>
                </a:lnTo>
                <a:lnTo>
                  <a:pt x="15622" y="4648"/>
                </a:lnTo>
                <a:lnTo>
                  <a:pt x="15549" y="5524"/>
                </a:lnTo>
                <a:lnTo>
                  <a:pt x="15524" y="6035"/>
                </a:lnTo>
                <a:lnTo>
                  <a:pt x="15524" y="6521"/>
                </a:lnTo>
                <a:lnTo>
                  <a:pt x="15524" y="7519"/>
                </a:lnTo>
                <a:lnTo>
                  <a:pt x="15524" y="9441"/>
                </a:lnTo>
                <a:lnTo>
                  <a:pt x="15500" y="11364"/>
                </a:lnTo>
                <a:lnTo>
                  <a:pt x="15524" y="12142"/>
                </a:lnTo>
                <a:lnTo>
                  <a:pt x="15403" y="12264"/>
                </a:lnTo>
                <a:lnTo>
                  <a:pt x="15281" y="12386"/>
                </a:lnTo>
                <a:lnTo>
                  <a:pt x="15184" y="12532"/>
                </a:lnTo>
                <a:lnTo>
                  <a:pt x="15111" y="12702"/>
                </a:lnTo>
                <a:lnTo>
                  <a:pt x="14940" y="13018"/>
                </a:lnTo>
                <a:lnTo>
                  <a:pt x="14819" y="13334"/>
                </a:lnTo>
                <a:lnTo>
                  <a:pt x="14624" y="13213"/>
                </a:lnTo>
                <a:lnTo>
                  <a:pt x="14746" y="13018"/>
                </a:lnTo>
                <a:lnTo>
                  <a:pt x="14867" y="12775"/>
                </a:lnTo>
                <a:lnTo>
                  <a:pt x="15013" y="12337"/>
                </a:lnTo>
                <a:lnTo>
                  <a:pt x="15184" y="11948"/>
                </a:lnTo>
                <a:lnTo>
                  <a:pt x="15232" y="11729"/>
                </a:lnTo>
                <a:lnTo>
                  <a:pt x="15281" y="11534"/>
                </a:lnTo>
                <a:lnTo>
                  <a:pt x="15281" y="11485"/>
                </a:lnTo>
                <a:lnTo>
                  <a:pt x="15257" y="11485"/>
                </a:lnTo>
                <a:lnTo>
                  <a:pt x="15184" y="11510"/>
                </a:lnTo>
                <a:lnTo>
                  <a:pt x="15111" y="11558"/>
                </a:lnTo>
                <a:lnTo>
                  <a:pt x="15038" y="11607"/>
                </a:lnTo>
                <a:lnTo>
                  <a:pt x="14989" y="11680"/>
                </a:lnTo>
                <a:lnTo>
                  <a:pt x="14916" y="11850"/>
                </a:lnTo>
                <a:lnTo>
                  <a:pt x="14843" y="11996"/>
                </a:lnTo>
                <a:lnTo>
                  <a:pt x="14527" y="12629"/>
                </a:lnTo>
                <a:lnTo>
                  <a:pt x="14405" y="12824"/>
                </a:lnTo>
                <a:lnTo>
                  <a:pt x="14332" y="13042"/>
                </a:lnTo>
                <a:lnTo>
                  <a:pt x="14016" y="12872"/>
                </a:lnTo>
                <a:lnTo>
                  <a:pt x="14089" y="12799"/>
                </a:lnTo>
                <a:lnTo>
                  <a:pt x="14162" y="12726"/>
                </a:lnTo>
                <a:lnTo>
                  <a:pt x="14259" y="12532"/>
                </a:lnTo>
                <a:lnTo>
                  <a:pt x="14405" y="12118"/>
                </a:lnTo>
                <a:lnTo>
                  <a:pt x="14673" y="11558"/>
                </a:lnTo>
                <a:lnTo>
                  <a:pt x="14965" y="10999"/>
                </a:lnTo>
                <a:lnTo>
                  <a:pt x="14965" y="10974"/>
                </a:lnTo>
                <a:lnTo>
                  <a:pt x="14940" y="10950"/>
                </a:lnTo>
                <a:lnTo>
                  <a:pt x="14794" y="11047"/>
                </a:lnTo>
                <a:lnTo>
                  <a:pt x="14697" y="11145"/>
                </a:lnTo>
                <a:lnTo>
                  <a:pt x="14502" y="11364"/>
                </a:lnTo>
                <a:lnTo>
                  <a:pt x="14332" y="11607"/>
                </a:lnTo>
                <a:lnTo>
                  <a:pt x="14210" y="11875"/>
                </a:lnTo>
                <a:lnTo>
                  <a:pt x="13967" y="12288"/>
                </a:lnTo>
                <a:lnTo>
                  <a:pt x="13870" y="12532"/>
                </a:lnTo>
                <a:lnTo>
                  <a:pt x="13821" y="12653"/>
                </a:lnTo>
                <a:lnTo>
                  <a:pt x="13821" y="12775"/>
                </a:lnTo>
                <a:lnTo>
                  <a:pt x="13626" y="12678"/>
                </a:lnTo>
                <a:lnTo>
                  <a:pt x="13651" y="12605"/>
                </a:lnTo>
                <a:lnTo>
                  <a:pt x="13675" y="12507"/>
                </a:lnTo>
                <a:lnTo>
                  <a:pt x="13724" y="12337"/>
                </a:lnTo>
                <a:lnTo>
                  <a:pt x="13797" y="12167"/>
                </a:lnTo>
                <a:lnTo>
                  <a:pt x="13943" y="11875"/>
                </a:lnTo>
                <a:lnTo>
                  <a:pt x="14064" y="11558"/>
                </a:lnTo>
                <a:lnTo>
                  <a:pt x="14162" y="11218"/>
                </a:lnTo>
                <a:lnTo>
                  <a:pt x="14259" y="10901"/>
                </a:lnTo>
                <a:lnTo>
                  <a:pt x="14405" y="10585"/>
                </a:lnTo>
                <a:lnTo>
                  <a:pt x="14405" y="10561"/>
                </a:lnTo>
                <a:lnTo>
                  <a:pt x="14356" y="10561"/>
                </a:lnTo>
                <a:lnTo>
                  <a:pt x="14259" y="10634"/>
                </a:lnTo>
                <a:lnTo>
                  <a:pt x="14162" y="10731"/>
                </a:lnTo>
                <a:lnTo>
                  <a:pt x="13991" y="10950"/>
                </a:lnTo>
                <a:lnTo>
                  <a:pt x="13870" y="11218"/>
                </a:lnTo>
                <a:lnTo>
                  <a:pt x="13772" y="11461"/>
                </a:lnTo>
                <a:lnTo>
                  <a:pt x="13651" y="11729"/>
                </a:lnTo>
                <a:lnTo>
                  <a:pt x="13505" y="11996"/>
                </a:lnTo>
                <a:lnTo>
                  <a:pt x="13383" y="12264"/>
                </a:lnTo>
                <a:lnTo>
                  <a:pt x="13359" y="12410"/>
                </a:lnTo>
                <a:lnTo>
                  <a:pt x="13334" y="12556"/>
                </a:lnTo>
                <a:lnTo>
                  <a:pt x="12872" y="12337"/>
                </a:lnTo>
                <a:lnTo>
                  <a:pt x="12994" y="12191"/>
                </a:lnTo>
                <a:lnTo>
                  <a:pt x="13115" y="12021"/>
                </a:lnTo>
                <a:lnTo>
                  <a:pt x="13310" y="11607"/>
                </a:lnTo>
                <a:lnTo>
                  <a:pt x="13772" y="10609"/>
                </a:lnTo>
                <a:lnTo>
                  <a:pt x="13772" y="10585"/>
                </a:lnTo>
                <a:lnTo>
                  <a:pt x="13772" y="10561"/>
                </a:lnTo>
                <a:lnTo>
                  <a:pt x="13748" y="10561"/>
                </a:lnTo>
                <a:lnTo>
                  <a:pt x="13724" y="10585"/>
                </a:lnTo>
                <a:lnTo>
                  <a:pt x="13456" y="10999"/>
                </a:lnTo>
                <a:lnTo>
                  <a:pt x="13188" y="11412"/>
                </a:lnTo>
                <a:lnTo>
                  <a:pt x="12945" y="11850"/>
                </a:lnTo>
                <a:lnTo>
                  <a:pt x="12823" y="12069"/>
                </a:lnTo>
                <a:lnTo>
                  <a:pt x="12750" y="12313"/>
                </a:lnTo>
                <a:lnTo>
                  <a:pt x="12361" y="12118"/>
                </a:lnTo>
                <a:lnTo>
                  <a:pt x="12288" y="12094"/>
                </a:lnTo>
                <a:lnTo>
                  <a:pt x="12337" y="11923"/>
                </a:lnTo>
                <a:lnTo>
                  <a:pt x="12458" y="11631"/>
                </a:lnTo>
                <a:lnTo>
                  <a:pt x="12604" y="11339"/>
                </a:lnTo>
                <a:lnTo>
                  <a:pt x="12823" y="10828"/>
                </a:lnTo>
                <a:lnTo>
                  <a:pt x="12945" y="10585"/>
                </a:lnTo>
                <a:lnTo>
                  <a:pt x="13091" y="10342"/>
                </a:lnTo>
                <a:lnTo>
                  <a:pt x="13091" y="10293"/>
                </a:lnTo>
                <a:lnTo>
                  <a:pt x="13067" y="10244"/>
                </a:lnTo>
                <a:lnTo>
                  <a:pt x="12969" y="10244"/>
                </a:lnTo>
                <a:lnTo>
                  <a:pt x="12775" y="10463"/>
                </a:lnTo>
                <a:lnTo>
                  <a:pt x="12604" y="10682"/>
                </a:lnTo>
                <a:lnTo>
                  <a:pt x="12458" y="10926"/>
                </a:lnTo>
                <a:lnTo>
                  <a:pt x="12312" y="11193"/>
                </a:lnTo>
                <a:lnTo>
                  <a:pt x="12118" y="11510"/>
                </a:lnTo>
                <a:lnTo>
                  <a:pt x="12020" y="11729"/>
                </a:lnTo>
                <a:lnTo>
                  <a:pt x="11947" y="11923"/>
                </a:lnTo>
                <a:lnTo>
                  <a:pt x="11655" y="11802"/>
                </a:lnTo>
                <a:lnTo>
                  <a:pt x="11728" y="11631"/>
                </a:lnTo>
                <a:lnTo>
                  <a:pt x="11777" y="11461"/>
                </a:lnTo>
                <a:lnTo>
                  <a:pt x="11874" y="11145"/>
                </a:lnTo>
                <a:lnTo>
                  <a:pt x="12118" y="10658"/>
                </a:lnTo>
                <a:lnTo>
                  <a:pt x="12239" y="10415"/>
                </a:lnTo>
                <a:lnTo>
                  <a:pt x="12385" y="10196"/>
                </a:lnTo>
                <a:lnTo>
                  <a:pt x="12410" y="10171"/>
                </a:lnTo>
                <a:lnTo>
                  <a:pt x="12385" y="10147"/>
                </a:lnTo>
                <a:lnTo>
                  <a:pt x="12361" y="10123"/>
                </a:lnTo>
                <a:lnTo>
                  <a:pt x="12312" y="10147"/>
                </a:lnTo>
                <a:lnTo>
                  <a:pt x="12142" y="10342"/>
                </a:lnTo>
                <a:lnTo>
                  <a:pt x="11972" y="10561"/>
                </a:lnTo>
                <a:lnTo>
                  <a:pt x="11826" y="10780"/>
                </a:lnTo>
                <a:lnTo>
                  <a:pt x="11704" y="11023"/>
                </a:lnTo>
                <a:lnTo>
                  <a:pt x="11534" y="11339"/>
                </a:lnTo>
                <a:lnTo>
                  <a:pt x="11461" y="11510"/>
                </a:lnTo>
                <a:lnTo>
                  <a:pt x="11436" y="11704"/>
                </a:lnTo>
                <a:lnTo>
                  <a:pt x="10974" y="11510"/>
                </a:lnTo>
                <a:lnTo>
                  <a:pt x="11120" y="11120"/>
                </a:lnTo>
                <a:lnTo>
                  <a:pt x="11315" y="10755"/>
                </a:lnTo>
                <a:lnTo>
                  <a:pt x="11534" y="10317"/>
                </a:lnTo>
                <a:lnTo>
                  <a:pt x="11655" y="10123"/>
                </a:lnTo>
                <a:lnTo>
                  <a:pt x="11801" y="9928"/>
                </a:lnTo>
                <a:lnTo>
                  <a:pt x="11801" y="9904"/>
                </a:lnTo>
                <a:lnTo>
                  <a:pt x="11680" y="9952"/>
                </a:lnTo>
                <a:lnTo>
                  <a:pt x="11582" y="10001"/>
                </a:lnTo>
                <a:lnTo>
                  <a:pt x="11485" y="10074"/>
                </a:lnTo>
                <a:lnTo>
                  <a:pt x="11412" y="10171"/>
                </a:lnTo>
                <a:lnTo>
                  <a:pt x="11266" y="10366"/>
                </a:lnTo>
                <a:lnTo>
                  <a:pt x="11144" y="10561"/>
                </a:lnTo>
                <a:lnTo>
                  <a:pt x="10877" y="10974"/>
                </a:lnTo>
                <a:lnTo>
                  <a:pt x="10755" y="11193"/>
                </a:lnTo>
                <a:lnTo>
                  <a:pt x="10706" y="11315"/>
                </a:lnTo>
                <a:lnTo>
                  <a:pt x="10682" y="11437"/>
                </a:lnTo>
                <a:lnTo>
                  <a:pt x="10633" y="11412"/>
                </a:lnTo>
                <a:lnTo>
                  <a:pt x="10244" y="11315"/>
                </a:lnTo>
                <a:lnTo>
                  <a:pt x="10366" y="11023"/>
                </a:lnTo>
                <a:lnTo>
                  <a:pt x="10487" y="10731"/>
                </a:lnTo>
                <a:lnTo>
                  <a:pt x="10731" y="10244"/>
                </a:lnTo>
                <a:lnTo>
                  <a:pt x="10974" y="9782"/>
                </a:lnTo>
                <a:lnTo>
                  <a:pt x="10974" y="9758"/>
                </a:lnTo>
                <a:lnTo>
                  <a:pt x="10950" y="9758"/>
                </a:lnTo>
                <a:lnTo>
                  <a:pt x="10779" y="9928"/>
                </a:lnTo>
                <a:lnTo>
                  <a:pt x="10609" y="10123"/>
                </a:lnTo>
                <a:lnTo>
                  <a:pt x="10487" y="10317"/>
                </a:lnTo>
                <a:lnTo>
                  <a:pt x="10341" y="10536"/>
                </a:lnTo>
                <a:lnTo>
                  <a:pt x="10147" y="10877"/>
                </a:lnTo>
                <a:lnTo>
                  <a:pt x="10049" y="11072"/>
                </a:lnTo>
                <a:lnTo>
                  <a:pt x="9976" y="11266"/>
                </a:lnTo>
                <a:lnTo>
                  <a:pt x="9441" y="11169"/>
                </a:lnTo>
                <a:lnTo>
                  <a:pt x="9611" y="10828"/>
                </a:lnTo>
                <a:lnTo>
                  <a:pt x="9806" y="10463"/>
                </a:lnTo>
                <a:lnTo>
                  <a:pt x="9903" y="10269"/>
                </a:lnTo>
                <a:lnTo>
                  <a:pt x="9903" y="10171"/>
                </a:lnTo>
                <a:lnTo>
                  <a:pt x="9903" y="10074"/>
                </a:lnTo>
                <a:lnTo>
                  <a:pt x="9903" y="10050"/>
                </a:lnTo>
                <a:lnTo>
                  <a:pt x="9879" y="10050"/>
                </a:lnTo>
                <a:lnTo>
                  <a:pt x="9782" y="10098"/>
                </a:lnTo>
                <a:lnTo>
                  <a:pt x="9709" y="10147"/>
                </a:lnTo>
                <a:lnTo>
                  <a:pt x="9563" y="10317"/>
                </a:lnTo>
                <a:lnTo>
                  <a:pt x="9441" y="10488"/>
                </a:lnTo>
                <a:lnTo>
                  <a:pt x="9344" y="10658"/>
                </a:lnTo>
                <a:lnTo>
                  <a:pt x="9198" y="10877"/>
                </a:lnTo>
                <a:lnTo>
                  <a:pt x="9149" y="10999"/>
                </a:lnTo>
                <a:lnTo>
                  <a:pt x="9076" y="11120"/>
                </a:lnTo>
                <a:lnTo>
                  <a:pt x="8930" y="11072"/>
                </a:lnTo>
                <a:lnTo>
                  <a:pt x="8492" y="10974"/>
                </a:lnTo>
                <a:lnTo>
                  <a:pt x="8638" y="10731"/>
                </a:lnTo>
                <a:lnTo>
                  <a:pt x="8930" y="10244"/>
                </a:lnTo>
                <a:lnTo>
                  <a:pt x="9100" y="10025"/>
                </a:lnTo>
                <a:lnTo>
                  <a:pt x="9246" y="9782"/>
                </a:lnTo>
                <a:lnTo>
                  <a:pt x="9271" y="9758"/>
                </a:lnTo>
                <a:lnTo>
                  <a:pt x="9271" y="9733"/>
                </a:lnTo>
                <a:lnTo>
                  <a:pt x="9222" y="9733"/>
                </a:lnTo>
                <a:lnTo>
                  <a:pt x="9027" y="9879"/>
                </a:lnTo>
                <a:lnTo>
                  <a:pt x="8857" y="10025"/>
                </a:lnTo>
                <a:lnTo>
                  <a:pt x="8687" y="10196"/>
                </a:lnTo>
                <a:lnTo>
                  <a:pt x="8565" y="10390"/>
                </a:lnTo>
                <a:lnTo>
                  <a:pt x="8370" y="10634"/>
                </a:lnTo>
                <a:lnTo>
                  <a:pt x="8273" y="10780"/>
                </a:lnTo>
                <a:lnTo>
                  <a:pt x="8200" y="10926"/>
                </a:lnTo>
                <a:lnTo>
                  <a:pt x="7932" y="10853"/>
                </a:lnTo>
                <a:lnTo>
                  <a:pt x="8078" y="10536"/>
                </a:lnTo>
                <a:lnTo>
                  <a:pt x="8273" y="10220"/>
                </a:lnTo>
                <a:lnTo>
                  <a:pt x="8370" y="10074"/>
                </a:lnTo>
                <a:lnTo>
                  <a:pt x="8492" y="9952"/>
                </a:lnTo>
                <a:lnTo>
                  <a:pt x="8492" y="9928"/>
                </a:lnTo>
                <a:lnTo>
                  <a:pt x="8492" y="9904"/>
                </a:lnTo>
                <a:lnTo>
                  <a:pt x="8468" y="9879"/>
                </a:lnTo>
                <a:lnTo>
                  <a:pt x="8443" y="9904"/>
                </a:lnTo>
                <a:lnTo>
                  <a:pt x="8273" y="9977"/>
                </a:lnTo>
                <a:lnTo>
                  <a:pt x="8127" y="10074"/>
                </a:lnTo>
                <a:lnTo>
                  <a:pt x="8005" y="10196"/>
                </a:lnTo>
                <a:lnTo>
                  <a:pt x="7884" y="10342"/>
                </a:lnTo>
                <a:lnTo>
                  <a:pt x="7738" y="10561"/>
                </a:lnTo>
                <a:lnTo>
                  <a:pt x="7616" y="10804"/>
                </a:lnTo>
                <a:lnTo>
                  <a:pt x="7300" y="10731"/>
                </a:lnTo>
                <a:lnTo>
                  <a:pt x="7397" y="10561"/>
                </a:lnTo>
                <a:lnTo>
                  <a:pt x="7495" y="10390"/>
                </a:lnTo>
                <a:lnTo>
                  <a:pt x="7641" y="10123"/>
                </a:lnTo>
                <a:lnTo>
                  <a:pt x="7714" y="9977"/>
                </a:lnTo>
                <a:lnTo>
                  <a:pt x="7714" y="9831"/>
                </a:lnTo>
                <a:lnTo>
                  <a:pt x="7689" y="9831"/>
                </a:lnTo>
                <a:lnTo>
                  <a:pt x="7592" y="9904"/>
                </a:lnTo>
                <a:lnTo>
                  <a:pt x="7470" y="10025"/>
                </a:lnTo>
                <a:lnTo>
                  <a:pt x="7324" y="10293"/>
                </a:lnTo>
                <a:lnTo>
                  <a:pt x="7178" y="10488"/>
                </a:lnTo>
                <a:lnTo>
                  <a:pt x="7105" y="10585"/>
                </a:lnTo>
                <a:lnTo>
                  <a:pt x="7057" y="10682"/>
                </a:lnTo>
                <a:lnTo>
                  <a:pt x="6643" y="10585"/>
                </a:lnTo>
                <a:lnTo>
                  <a:pt x="6692" y="10488"/>
                </a:lnTo>
                <a:lnTo>
                  <a:pt x="6789" y="10293"/>
                </a:lnTo>
                <a:lnTo>
                  <a:pt x="6886" y="10074"/>
                </a:lnTo>
                <a:lnTo>
                  <a:pt x="7057" y="9636"/>
                </a:lnTo>
                <a:lnTo>
                  <a:pt x="7057" y="9612"/>
                </a:lnTo>
                <a:lnTo>
                  <a:pt x="7032" y="9587"/>
                </a:lnTo>
                <a:lnTo>
                  <a:pt x="7008" y="9612"/>
                </a:lnTo>
                <a:lnTo>
                  <a:pt x="6765" y="9904"/>
                </a:lnTo>
                <a:lnTo>
                  <a:pt x="6521" y="10196"/>
                </a:lnTo>
                <a:lnTo>
                  <a:pt x="6400" y="10342"/>
                </a:lnTo>
                <a:lnTo>
                  <a:pt x="6254" y="10512"/>
                </a:lnTo>
                <a:lnTo>
                  <a:pt x="5816" y="10463"/>
                </a:lnTo>
                <a:lnTo>
                  <a:pt x="5889" y="10244"/>
                </a:lnTo>
                <a:lnTo>
                  <a:pt x="6010" y="10050"/>
                </a:lnTo>
                <a:lnTo>
                  <a:pt x="6205" y="9806"/>
                </a:lnTo>
                <a:lnTo>
                  <a:pt x="6278" y="9685"/>
                </a:lnTo>
                <a:lnTo>
                  <a:pt x="6302" y="9612"/>
                </a:lnTo>
                <a:lnTo>
                  <a:pt x="6327" y="9539"/>
                </a:lnTo>
                <a:lnTo>
                  <a:pt x="6302" y="9514"/>
                </a:lnTo>
                <a:lnTo>
                  <a:pt x="6205" y="9514"/>
                </a:lnTo>
                <a:lnTo>
                  <a:pt x="6132" y="9539"/>
                </a:lnTo>
                <a:lnTo>
                  <a:pt x="5986" y="9660"/>
                </a:lnTo>
                <a:lnTo>
                  <a:pt x="5864" y="9782"/>
                </a:lnTo>
                <a:lnTo>
                  <a:pt x="5767" y="9928"/>
                </a:lnTo>
                <a:lnTo>
                  <a:pt x="5597" y="10171"/>
                </a:lnTo>
                <a:lnTo>
                  <a:pt x="5524" y="10293"/>
                </a:lnTo>
                <a:lnTo>
                  <a:pt x="5475" y="10439"/>
                </a:lnTo>
                <a:lnTo>
                  <a:pt x="5256" y="10463"/>
                </a:lnTo>
                <a:lnTo>
                  <a:pt x="5061" y="10488"/>
                </a:lnTo>
                <a:lnTo>
                  <a:pt x="5183" y="10220"/>
                </a:lnTo>
                <a:lnTo>
                  <a:pt x="5378" y="9855"/>
                </a:lnTo>
                <a:lnTo>
                  <a:pt x="5475" y="9660"/>
                </a:lnTo>
                <a:lnTo>
                  <a:pt x="5597" y="9490"/>
                </a:lnTo>
                <a:lnTo>
                  <a:pt x="5378" y="9636"/>
                </a:lnTo>
                <a:lnTo>
                  <a:pt x="5183" y="9806"/>
                </a:lnTo>
                <a:lnTo>
                  <a:pt x="4988" y="10025"/>
                </a:lnTo>
                <a:lnTo>
                  <a:pt x="4818" y="10244"/>
                </a:lnTo>
                <a:lnTo>
                  <a:pt x="4818" y="8979"/>
                </a:lnTo>
                <a:lnTo>
                  <a:pt x="4794" y="7714"/>
                </a:lnTo>
                <a:lnTo>
                  <a:pt x="4794" y="6254"/>
                </a:lnTo>
                <a:lnTo>
                  <a:pt x="4794" y="5718"/>
                </a:lnTo>
                <a:lnTo>
                  <a:pt x="4794" y="5426"/>
                </a:lnTo>
                <a:lnTo>
                  <a:pt x="4769" y="5159"/>
                </a:lnTo>
                <a:lnTo>
                  <a:pt x="5086" y="5159"/>
                </a:lnTo>
                <a:lnTo>
                  <a:pt x="5986" y="5134"/>
                </a:lnTo>
                <a:lnTo>
                  <a:pt x="6886" y="5086"/>
                </a:lnTo>
                <a:lnTo>
                  <a:pt x="7349" y="5037"/>
                </a:lnTo>
                <a:lnTo>
                  <a:pt x="7835" y="4988"/>
                </a:lnTo>
                <a:lnTo>
                  <a:pt x="8297" y="4916"/>
                </a:lnTo>
                <a:lnTo>
                  <a:pt x="8784" y="4843"/>
                </a:lnTo>
                <a:lnTo>
                  <a:pt x="9709" y="4624"/>
                </a:lnTo>
                <a:lnTo>
                  <a:pt x="10633" y="4356"/>
                </a:lnTo>
                <a:lnTo>
                  <a:pt x="11071" y="4210"/>
                </a:lnTo>
                <a:lnTo>
                  <a:pt x="11509" y="4040"/>
                </a:lnTo>
                <a:lnTo>
                  <a:pt x="11923" y="3869"/>
                </a:lnTo>
                <a:lnTo>
                  <a:pt x="12361" y="3675"/>
                </a:lnTo>
                <a:lnTo>
                  <a:pt x="13188" y="3261"/>
                </a:lnTo>
                <a:lnTo>
                  <a:pt x="14016" y="2823"/>
                </a:lnTo>
                <a:lnTo>
                  <a:pt x="14308" y="2653"/>
                </a:lnTo>
                <a:lnTo>
                  <a:pt x="14575" y="2458"/>
                </a:lnTo>
                <a:lnTo>
                  <a:pt x="15111" y="2044"/>
                </a:lnTo>
                <a:lnTo>
                  <a:pt x="15354" y="1850"/>
                </a:lnTo>
                <a:lnTo>
                  <a:pt x="15500" y="1752"/>
                </a:lnTo>
                <a:lnTo>
                  <a:pt x="15622" y="1631"/>
                </a:lnTo>
                <a:close/>
                <a:moveTo>
                  <a:pt x="15524" y="12605"/>
                </a:moveTo>
                <a:lnTo>
                  <a:pt x="15549" y="13164"/>
                </a:lnTo>
                <a:lnTo>
                  <a:pt x="15476" y="13164"/>
                </a:lnTo>
                <a:lnTo>
                  <a:pt x="15427" y="13213"/>
                </a:lnTo>
                <a:lnTo>
                  <a:pt x="15305" y="13286"/>
                </a:lnTo>
                <a:lnTo>
                  <a:pt x="15232" y="13432"/>
                </a:lnTo>
                <a:lnTo>
                  <a:pt x="15135" y="13578"/>
                </a:lnTo>
                <a:lnTo>
                  <a:pt x="15111" y="13529"/>
                </a:lnTo>
                <a:lnTo>
                  <a:pt x="15257" y="13213"/>
                </a:lnTo>
                <a:lnTo>
                  <a:pt x="15403" y="12872"/>
                </a:lnTo>
                <a:lnTo>
                  <a:pt x="15524" y="12605"/>
                </a:lnTo>
                <a:close/>
                <a:moveTo>
                  <a:pt x="15549" y="13359"/>
                </a:moveTo>
                <a:lnTo>
                  <a:pt x="15573" y="13943"/>
                </a:lnTo>
                <a:lnTo>
                  <a:pt x="15354" y="13748"/>
                </a:lnTo>
                <a:lnTo>
                  <a:pt x="15451" y="13553"/>
                </a:lnTo>
                <a:lnTo>
                  <a:pt x="15549" y="13359"/>
                </a:lnTo>
                <a:close/>
                <a:moveTo>
                  <a:pt x="16692" y="463"/>
                </a:moveTo>
                <a:lnTo>
                  <a:pt x="16789" y="487"/>
                </a:lnTo>
                <a:lnTo>
                  <a:pt x="16862" y="536"/>
                </a:lnTo>
                <a:lnTo>
                  <a:pt x="16935" y="633"/>
                </a:lnTo>
                <a:lnTo>
                  <a:pt x="16984" y="730"/>
                </a:lnTo>
                <a:lnTo>
                  <a:pt x="17033" y="852"/>
                </a:lnTo>
                <a:lnTo>
                  <a:pt x="17081" y="1047"/>
                </a:lnTo>
                <a:lnTo>
                  <a:pt x="17130" y="1314"/>
                </a:lnTo>
                <a:lnTo>
                  <a:pt x="17154" y="1582"/>
                </a:lnTo>
                <a:lnTo>
                  <a:pt x="17179" y="2142"/>
                </a:lnTo>
                <a:lnTo>
                  <a:pt x="17106" y="3237"/>
                </a:lnTo>
                <a:lnTo>
                  <a:pt x="17081" y="4380"/>
                </a:lnTo>
                <a:lnTo>
                  <a:pt x="17081" y="5499"/>
                </a:lnTo>
                <a:lnTo>
                  <a:pt x="17154" y="7738"/>
                </a:lnTo>
                <a:lnTo>
                  <a:pt x="17203" y="9928"/>
                </a:lnTo>
                <a:lnTo>
                  <a:pt x="17203" y="12094"/>
                </a:lnTo>
                <a:lnTo>
                  <a:pt x="17179" y="13213"/>
                </a:lnTo>
                <a:lnTo>
                  <a:pt x="17130" y="13748"/>
                </a:lnTo>
                <a:lnTo>
                  <a:pt x="17081" y="14283"/>
                </a:lnTo>
                <a:lnTo>
                  <a:pt x="17033" y="14502"/>
                </a:lnTo>
                <a:lnTo>
                  <a:pt x="16984" y="14746"/>
                </a:lnTo>
                <a:lnTo>
                  <a:pt x="16935" y="14867"/>
                </a:lnTo>
                <a:lnTo>
                  <a:pt x="16887" y="14965"/>
                </a:lnTo>
                <a:lnTo>
                  <a:pt x="16814" y="15038"/>
                </a:lnTo>
                <a:lnTo>
                  <a:pt x="16716" y="15111"/>
                </a:lnTo>
                <a:lnTo>
                  <a:pt x="16643" y="15111"/>
                </a:lnTo>
                <a:lnTo>
                  <a:pt x="16570" y="15086"/>
                </a:lnTo>
                <a:lnTo>
                  <a:pt x="16449" y="15038"/>
                </a:lnTo>
                <a:lnTo>
                  <a:pt x="16327" y="14916"/>
                </a:lnTo>
                <a:lnTo>
                  <a:pt x="16205" y="14794"/>
                </a:lnTo>
                <a:lnTo>
                  <a:pt x="16205" y="13991"/>
                </a:lnTo>
                <a:lnTo>
                  <a:pt x="16181" y="13188"/>
                </a:lnTo>
                <a:lnTo>
                  <a:pt x="16132" y="12361"/>
                </a:lnTo>
                <a:lnTo>
                  <a:pt x="16132" y="11558"/>
                </a:lnTo>
                <a:lnTo>
                  <a:pt x="16132" y="9636"/>
                </a:lnTo>
                <a:lnTo>
                  <a:pt x="16132" y="7714"/>
                </a:lnTo>
                <a:lnTo>
                  <a:pt x="16132" y="6789"/>
                </a:lnTo>
                <a:lnTo>
                  <a:pt x="16132" y="6327"/>
                </a:lnTo>
                <a:lnTo>
                  <a:pt x="16132" y="5864"/>
                </a:lnTo>
                <a:lnTo>
                  <a:pt x="16205" y="4988"/>
                </a:lnTo>
                <a:lnTo>
                  <a:pt x="16230" y="4551"/>
                </a:lnTo>
                <a:lnTo>
                  <a:pt x="16205" y="4113"/>
                </a:lnTo>
                <a:lnTo>
                  <a:pt x="16181" y="3237"/>
                </a:lnTo>
                <a:lnTo>
                  <a:pt x="16157" y="2799"/>
                </a:lnTo>
                <a:lnTo>
                  <a:pt x="16181" y="2361"/>
                </a:lnTo>
                <a:lnTo>
                  <a:pt x="16205" y="1558"/>
                </a:lnTo>
                <a:lnTo>
                  <a:pt x="16181" y="1144"/>
                </a:lnTo>
                <a:lnTo>
                  <a:pt x="16181" y="755"/>
                </a:lnTo>
                <a:lnTo>
                  <a:pt x="16254" y="657"/>
                </a:lnTo>
                <a:lnTo>
                  <a:pt x="16351" y="584"/>
                </a:lnTo>
                <a:lnTo>
                  <a:pt x="16570" y="487"/>
                </a:lnTo>
                <a:lnTo>
                  <a:pt x="16692" y="463"/>
                </a:lnTo>
                <a:close/>
                <a:moveTo>
                  <a:pt x="5597" y="10950"/>
                </a:moveTo>
                <a:lnTo>
                  <a:pt x="5597" y="11023"/>
                </a:lnTo>
                <a:lnTo>
                  <a:pt x="5621" y="11096"/>
                </a:lnTo>
                <a:lnTo>
                  <a:pt x="5694" y="11218"/>
                </a:lnTo>
                <a:lnTo>
                  <a:pt x="5743" y="11364"/>
                </a:lnTo>
                <a:lnTo>
                  <a:pt x="5767" y="11704"/>
                </a:lnTo>
                <a:lnTo>
                  <a:pt x="5791" y="12045"/>
                </a:lnTo>
                <a:lnTo>
                  <a:pt x="5816" y="12215"/>
                </a:lnTo>
                <a:lnTo>
                  <a:pt x="5840" y="12361"/>
                </a:lnTo>
                <a:lnTo>
                  <a:pt x="5864" y="12483"/>
                </a:lnTo>
                <a:lnTo>
                  <a:pt x="5548" y="12459"/>
                </a:lnTo>
                <a:lnTo>
                  <a:pt x="5207" y="12483"/>
                </a:lnTo>
                <a:lnTo>
                  <a:pt x="4988" y="12507"/>
                </a:lnTo>
                <a:lnTo>
                  <a:pt x="4745" y="12532"/>
                </a:lnTo>
                <a:lnTo>
                  <a:pt x="4502" y="12605"/>
                </a:lnTo>
                <a:lnTo>
                  <a:pt x="4404" y="12653"/>
                </a:lnTo>
                <a:lnTo>
                  <a:pt x="4307" y="12702"/>
                </a:lnTo>
                <a:lnTo>
                  <a:pt x="4258" y="12775"/>
                </a:lnTo>
                <a:lnTo>
                  <a:pt x="4210" y="12848"/>
                </a:lnTo>
                <a:lnTo>
                  <a:pt x="4210" y="12945"/>
                </a:lnTo>
                <a:lnTo>
                  <a:pt x="4258" y="13018"/>
                </a:lnTo>
                <a:lnTo>
                  <a:pt x="4356" y="13067"/>
                </a:lnTo>
                <a:lnTo>
                  <a:pt x="4453" y="13115"/>
                </a:lnTo>
                <a:lnTo>
                  <a:pt x="4623" y="13164"/>
                </a:lnTo>
                <a:lnTo>
                  <a:pt x="4842" y="13188"/>
                </a:lnTo>
                <a:lnTo>
                  <a:pt x="5037" y="13188"/>
                </a:lnTo>
                <a:lnTo>
                  <a:pt x="5475" y="13140"/>
                </a:lnTo>
                <a:lnTo>
                  <a:pt x="5670" y="13140"/>
                </a:lnTo>
                <a:lnTo>
                  <a:pt x="5864" y="13188"/>
                </a:lnTo>
                <a:lnTo>
                  <a:pt x="6035" y="13188"/>
                </a:lnTo>
                <a:lnTo>
                  <a:pt x="6205" y="13967"/>
                </a:lnTo>
                <a:lnTo>
                  <a:pt x="5572" y="13991"/>
                </a:lnTo>
                <a:lnTo>
                  <a:pt x="5183" y="13991"/>
                </a:lnTo>
                <a:lnTo>
                  <a:pt x="4988" y="14040"/>
                </a:lnTo>
                <a:lnTo>
                  <a:pt x="4891" y="14064"/>
                </a:lnTo>
                <a:lnTo>
                  <a:pt x="4794" y="14113"/>
                </a:lnTo>
                <a:lnTo>
                  <a:pt x="4745" y="14186"/>
                </a:lnTo>
                <a:lnTo>
                  <a:pt x="4696" y="14283"/>
                </a:lnTo>
                <a:lnTo>
                  <a:pt x="4696" y="14381"/>
                </a:lnTo>
                <a:lnTo>
                  <a:pt x="4721" y="14429"/>
                </a:lnTo>
                <a:lnTo>
                  <a:pt x="4769" y="14454"/>
                </a:lnTo>
                <a:lnTo>
                  <a:pt x="4915" y="14575"/>
                </a:lnTo>
                <a:lnTo>
                  <a:pt x="5110" y="14624"/>
                </a:lnTo>
                <a:lnTo>
                  <a:pt x="5305" y="14673"/>
                </a:lnTo>
                <a:lnTo>
                  <a:pt x="5499" y="14697"/>
                </a:lnTo>
                <a:lnTo>
                  <a:pt x="6327" y="14697"/>
                </a:lnTo>
                <a:lnTo>
                  <a:pt x="6473" y="15378"/>
                </a:lnTo>
                <a:lnTo>
                  <a:pt x="6010" y="15403"/>
                </a:lnTo>
                <a:lnTo>
                  <a:pt x="5645" y="15403"/>
                </a:lnTo>
                <a:lnTo>
                  <a:pt x="5475" y="15427"/>
                </a:lnTo>
                <a:lnTo>
                  <a:pt x="5305" y="15500"/>
                </a:lnTo>
                <a:lnTo>
                  <a:pt x="5256" y="15549"/>
                </a:lnTo>
                <a:lnTo>
                  <a:pt x="5207" y="15597"/>
                </a:lnTo>
                <a:lnTo>
                  <a:pt x="5183" y="15670"/>
                </a:lnTo>
                <a:lnTo>
                  <a:pt x="5183" y="15743"/>
                </a:lnTo>
                <a:lnTo>
                  <a:pt x="5183" y="15816"/>
                </a:lnTo>
                <a:lnTo>
                  <a:pt x="5207" y="15889"/>
                </a:lnTo>
                <a:lnTo>
                  <a:pt x="5256" y="15938"/>
                </a:lnTo>
                <a:lnTo>
                  <a:pt x="5305" y="15987"/>
                </a:lnTo>
                <a:lnTo>
                  <a:pt x="5475" y="16035"/>
                </a:lnTo>
                <a:lnTo>
                  <a:pt x="5645" y="16060"/>
                </a:lnTo>
                <a:lnTo>
                  <a:pt x="6010" y="16084"/>
                </a:lnTo>
                <a:lnTo>
                  <a:pt x="6278" y="16108"/>
                </a:lnTo>
                <a:lnTo>
                  <a:pt x="6448" y="16108"/>
                </a:lnTo>
                <a:lnTo>
                  <a:pt x="6570" y="16084"/>
                </a:lnTo>
                <a:lnTo>
                  <a:pt x="6619" y="16400"/>
                </a:lnTo>
                <a:lnTo>
                  <a:pt x="6643" y="16692"/>
                </a:lnTo>
                <a:lnTo>
                  <a:pt x="6619" y="16838"/>
                </a:lnTo>
                <a:lnTo>
                  <a:pt x="6594" y="16960"/>
                </a:lnTo>
                <a:lnTo>
                  <a:pt x="6521" y="17057"/>
                </a:lnTo>
                <a:lnTo>
                  <a:pt x="6424" y="17130"/>
                </a:lnTo>
                <a:lnTo>
                  <a:pt x="6327" y="17179"/>
                </a:lnTo>
                <a:lnTo>
                  <a:pt x="6205" y="17228"/>
                </a:lnTo>
                <a:lnTo>
                  <a:pt x="5913" y="17252"/>
                </a:lnTo>
                <a:lnTo>
                  <a:pt x="5597" y="17228"/>
                </a:lnTo>
                <a:lnTo>
                  <a:pt x="5305" y="17203"/>
                </a:lnTo>
                <a:lnTo>
                  <a:pt x="4794" y="17130"/>
                </a:lnTo>
                <a:lnTo>
                  <a:pt x="4575" y="17155"/>
                </a:lnTo>
                <a:lnTo>
                  <a:pt x="4307" y="17179"/>
                </a:lnTo>
                <a:lnTo>
                  <a:pt x="4064" y="17203"/>
                </a:lnTo>
                <a:lnTo>
                  <a:pt x="3796" y="17228"/>
                </a:lnTo>
                <a:lnTo>
                  <a:pt x="3553" y="17228"/>
                </a:lnTo>
                <a:lnTo>
                  <a:pt x="3455" y="17203"/>
                </a:lnTo>
                <a:lnTo>
                  <a:pt x="3358" y="17155"/>
                </a:lnTo>
                <a:lnTo>
                  <a:pt x="3261" y="17106"/>
                </a:lnTo>
                <a:lnTo>
                  <a:pt x="3163" y="17033"/>
                </a:lnTo>
                <a:lnTo>
                  <a:pt x="3115" y="16936"/>
                </a:lnTo>
                <a:lnTo>
                  <a:pt x="3042" y="16790"/>
                </a:lnTo>
                <a:lnTo>
                  <a:pt x="2969" y="16571"/>
                </a:lnTo>
                <a:lnTo>
                  <a:pt x="2920" y="16327"/>
                </a:lnTo>
                <a:lnTo>
                  <a:pt x="2847" y="15816"/>
                </a:lnTo>
                <a:lnTo>
                  <a:pt x="2750" y="14819"/>
                </a:lnTo>
                <a:lnTo>
                  <a:pt x="2725" y="14308"/>
                </a:lnTo>
                <a:lnTo>
                  <a:pt x="2677" y="13797"/>
                </a:lnTo>
                <a:lnTo>
                  <a:pt x="2652" y="13286"/>
                </a:lnTo>
                <a:lnTo>
                  <a:pt x="2628" y="12775"/>
                </a:lnTo>
                <a:lnTo>
                  <a:pt x="2506" y="11923"/>
                </a:lnTo>
                <a:lnTo>
                  <a:pt x="2385" y="11047"/>
                </a:lnTo>
                <a:lnTo>
                  <a:pt x="2385" y="11047"/>
                </a:lnTo>
                <a:lnTo>
                  <a:pt x="2823" y="11072"/>
                </a:lnTo>
                <a:lnTo>
                  <a:pt x="3090" y="11072"/>
                </a:lnTo>
                <a:lnTo>
                  <a:pt x="3358" y="11047"/>
                </a:lnTo>
                <a:lnTo>
                  <a:pt x="3407" y="11047"/>
                </a:lnTo>
                <a:lnTo>
                  <a:pt x="3504" y="11023"/>
                </a:lnTo>
                <a:lnTo>
                  <a:pt x="4064" y="10974"/>
                </a:lnTo>
                <a:lnTo>
                  <a:pt x="4331" y="10974"/>
                </a:lnTo>
                <a:lnTo>
                  <a:pt x="4599" y="10999"/>
                </a:lnTo>
                <a:lnTo>
                  <a:pt x="4623" y="11023"/>
                </a:lnTo>
                <a:lnTo>
                  <a:pt x="4672" y="11072"/>
                </a:lnTo>
                <a:lnTo>
                  <a:pt x="4745" y="11096"/>
                </a:lnTo>
                <a:lnTo>
                  <a:pt x="4818" y="11072"/>
                </a:lnTo>
                <a:lnTo>
                  <a:pt x="4867" y="11023"/>
                </a:lnTo>
                <a:lnTo>
                  <a:pt x="4891" y="10974"/>
                </a:lnTo>
                <a:lnTo>
                  <a:pt x="5597" y="10950"/>
                </a:lnTo>
                <a:close/>
                <a:moveTo>
                  <a:pt x="16546" y="0"/>
                </a:moveTo>
                <a:lnTo>
                  <a:pt x="16400" y="49"/>
                </a:lnTo>
                <a:lnTo>
                  <a:pt x="16278" y="122"/>
                </a:lnTo>
                <a:lnTo>
                  <a:pt x="16157" y="195"/>
                </a:lnTo>
                <a:lnTo>
                  <a:pt x="16035" y="292"/>
                </a:lnTo>
                <a:lnTo>
                  <a:pt x="15962" y="414"/>
                </a:lnTo>
                <a:lnTo>
                  <a:pt x="15889" y="414"/>
                </a:lnTo>
                <a:lnTo>
                  <a:pt x="15840" y="438"/>
                </a:lnTo>
                <a:lnTo>
                  <a:pt x="15792" y="487"/>
                </a:lnTo>
                <a:lnTo>
                  <a:pt x="15768" y="560"/>
                </a:lnTo>
                <a:lnTo>
                  <a:pt x="15695" y="803"/>
                </a:lnTo>
                <a:lnTo>
                  <a:pt x="15670" y="1071"/>
                </a:lnTo>
                <a:lnTo>
                  <a:pt x="15597" y="1047"/>
                </a:lnTo>
                <a:lnTo>
                  <a:pt x="15524" y="1071"/>
                </a:lnTo>
                <a:lnTo>
                  <a:pt x="15451" y="1095"/>
                </a:lnTo>
                <a:lnTo>
                  <a:pt x="15403" y="1168"/>
                </a:lnTo>
                <a:lnTo>
                  <a:pt x="15354" y="1266"/>
                </a:lnTo>
                <a:lnTo>
                  <a:pt x="15281" y="1339"/>
                </a:lnTo>
                <a:lnTo>
                  <a:pt x="15111" y="1485"/>
                </a:lnTo>
                <a:lnTo>
                  <a:pt x="14770" y="1728"/>
                </a:lnTo>
                <a:lnTo>
                  <a:pt x="14283" y="2093"/>
                </a:lnTo>
                <a:lnTo>
                  <a:pt x="14040" y="2288"/>
                </a:lnTo>
                <a:lnTo>
                  <a:pt x="13772" y="2434"/>
                </a:lnTo>
                <a:lnTo>
                  <a:pt x="13018" y="2847"/>
                </a:lnTo>
                <a:lnTo>
                  <a:pt x="12264" y="3237"/>
                </a:lnTo>
                <a:lnTo>
                  <a:pt x="11485" y="3577"/>
                </a:lnTo>
                <a:lnTo>
                  <a:pt x="11071" y="3723"/>
                </a:lnTo>
                <a:lnTo>
                  <a:pt x="10682" y="3869"/>
                </a:lnTo>
                <a:lnTo>
                  <a:pt x="9830" y="4137"/>
                </a:lnTo>
                <a:lnTo>
                  <a:pt x="8979" y="4356"/>
                </a:lnTo>
                <a:lnTo>
                  <a:pt x="8103" y="4526"/>
                </a:lnTo>
                <a:lnTo>
                  <a:pt x="7665" y="4575"/>
                </a:lnTo>
                <a:lnTo>
                  <a:pt x="7227" y="4624"/>
                </a:lnTo>
                <a:lnTo>
                  <a:pt x="6570" y="4672"/>
                </a:lnTo>
                <a:lnTo>
                  <a:pt x="5913" y="4697"/>
                </a:lnTo>
                <a:lnTo>
                  <a:pt x="5256" y="4721"/>
                </a:lnTo>
                <a:lnTo>
                  <a:pt x="4623" y="4745"/>
                </a:lnTo>
                <a:lnTo>
                  <a:pt x="4429" y="4697"/>
                </a:lnTo>
                <a:lnTo>
                  <a:pt x="4234" y="4672"/>
                </a:lnTo>
                <a:lnTo>
                  <a:pt x="3869" y="4624"/>
                </a:lnTo>
                <a:lnTo>
                  <a:pt x="3480" y="4648"/>
                </a:lnTo>
                <a:lnTo>
                  <a:pt x="3090" y="4648"/>
                </a:lnTo>
                <a:lnTo>
                  <a:pt x="2652" y="4672"/>
                </a:lnTo>
                <a:lnTo>
                  <a:pt x="2214" y="4721"/>
                </a:lnTo>
                <a:lnTo>
                  <a:pt x="1995" y="4770"/>
                </a:lnTo>
                <a:lnTo>
                  <a:pt x="1801" y="4818"/>
                </a:lnTo>
                <a:lnTo>
                  <a:pt x="1582" y="4916"/>
                </a:lnTo>
                <a:lnTo>
                  <a:pt x="1387" y="5013"/>
                </a:lnTo>
                <a:lnTo>
                  <a:pt x="1192" y="5110"/>
                </a:lnTo>
                <a:lnTo>
                  <a:pt x="1046" y="5232"/>
                </a:lnTo>
                <a:lnTo>
                  <a:pt x="876" y="5378"/>
                </a:lnTo>
                <a:lnTo>
                  <a:pt x="754" y="5524"/>
                </a:lnTo>
                <a:lnTo>
                  <a:pt x="633" y="5670"/>
                </a:lnTo>
                <a:lnTo>
                  <a:pt x="535" y="5840"/>
                </a:lnTo>
                <a:lnTo>
                  <a:pt x="365" y="6205"/>
                </a:lnTo>
                <a:lnTo>
                  <a:pt x="243" y="6570"/>
                </a:lnTo>
                <a:lnTo>
                  <a:pt x="146" y="6959"/>
                </a:lnTo>
                <a:lnTo>
                  <a:pt x="73" y="7373"/>
                </a:lnTo>
                <a:lnTo>
                  <a:pt x="49" y="7762"/>
                </a:lnTo>
                <a:lnTo>
                  <a:pt x="0" y="8200"/>
                </a:lnTo>
                <a:lnTo>
                  <a:pt x="0" y="8614"/>
                </a:lnTo>
                <a:lnTo>
                  <a:pt x="49" y="9028"/>
                </a:lnTo>
                <a:lnTo>
                  <a:pt x="146" y="9417"/>
                </a:lnTo>
                <a:lnTo>
                  <a:pt x="195" y="9612"/>
                </a:lnTo>
                <a:lnTo>
                  <a:pt x="292" y="9806"/>
                </a:lnTo>
                <a:lnTo>
                  <a:pt x="389" y="9977"/>
                </a:lnTo>
                <a:lnTo>
                  <a:pt x="487" y="10147"/>
                </a:lnTo>
                <a:lnTo>
                  <a:pt x="633" y="10293"/>
                </a:lnTo>
                <a:lnTo>
                  <a:pt x="779" y="10439"/>
                </a:lnTo>
                <a:lnTo>
                  <a:pt x="949" y="10585"/>
                </a:lnTo>
                <a:lnTo>
                  <a:pt x="1144" y="10707"/>
                </a:lnTo>
                <a:lnTo>
                  <a:pt x="1363" y="10804"/>
                </a:lnTo>
                <a:lnTo>
                  <a:pt x="1582" y="10901"/>
                </a:lnTo>
                <a:lnTo>
                  <a:pt x="1825" y="10950"/>
                </a:lnTo>
                <a:lnTo>
                  <a:pt x="2068" y="10999"/>
                </a:lnTo>
                <a:lnTo>
                  <a:pt x="2044" y="11242"/>
                </a:lnTo>
                <a:lnTo>
                  <a:pt x="2020" y="11510"/>
                </a:lnTo>
                <a:lnTo>
                  <a:pt x="2044" y="11777"/>
                </a:lnTo>
                <a:lnTo>
                  <a:pt x="2068" y="12021"/>
                </a:lnTo>
                <a:lnTo>
                  <a:pt x="2166" y="12556"/>
                </a:lnTo>
                <a:lnTo>
                  <a:pt x="2190" y="12824"/>
                </a:lnTo>
                <a:lnTo>
                  <a:pt x="2214" y="13067"/>
                </a:lnTo>
                <a:lnTo>
                  <a:pt x="2287" y="14478"/>
                </a:lnTo>
                <a:lnTo>
                  <a:pt x="2336" y="15184"/>
                </a:lnTo>
                <a:lnTo>
                  <a:pt x="2409" y="15914"/>
                </a:lnTo>
                <a:lnTo>
                  <a:pt x="2458" y="16327"/>
                </a:lnTo>
                <a:lnTo>
                  <a:pt x="2506" y="16741"/>
                </a:lnTo>
                <a:lnTo>
                  <a:pt x="2555" y="16960"/>
                </a:lnTo>
                <a:lnTo>
                  <a:pt x="2628" y="17155"/>
                </a:lnTo>
                <a:lnTo>
                  <a:pt x="2725" y="17325"/>
                </a:lnTo>
                <a:lnTo>
                  <a:pt x="2871" y="17495"/>
                </a:lnTo>
                <a:lnTo>
                  <a:pt x="2993" y="17593"/>
                </a:lnTo>
                <a:lnTo>
                  <a:pt x="3090" y="17641"/>
                </a:lnTo>
                <a:lnTo>
                  <a:pt x="3212" y="17714"/>
                </a:lnTo>
                <a:lnTo>
                  <a:pt x="3334" y="17739"/>
                </a:lnTo>
                <a:lnTo>
                  <a:pt x="3601" y="17763"/>
                </a:lnTo>
                <a:lnTo>
                  <a:pt x="3893" y="17763"/>
                </a:lnTo>
                <a:lnTo>
                  <a:pt x="4429" y="17690"/>
                </a:lnTo>
                <a:lnTo>
                  <a:pt x="4696" y="17666"/>
                </a:lnTo>
                <a:lnTo>
                  <a:pt x="4964" y="17666"/>
                </a:lnTo>
                <a:lnTo>
                  <a:pt x="5475" y="17714"/>
                </a:lnTo>
                <a:lnTo>
                  <a:pt x="5743" y="17739"/>
                </a:lnTo>
                <a:lnTo>
                  <a:pt x="6010" y="17763"/>
                </a:lnTo>
                <a:lnTo>
                  <a:pt x="6278" y="17739"/>
                </a:lnTo>
                <a:lnTo>
                  <a:pt x="6521" y="17690"/>
                </a:lnTo>
                <a:lnTo>
                  <a:pt x="6619" y="17641"/>
                </a:lnTo>
                <a:lnTo>
                  <a:pt x="6740" y="17568"/>
                </a:lnTo>
                <a:lnTo>
                  <a:pt x="6838" y="17495"/>
                </a:lnTo>
                <a:lnTo>
                  <a:pt x="6935" y="17398"/>
                </a:lnTo>
                <a:lnTo>
                  <a:pt x="7008" y="17301"/>
                </a:lnTo>
                <a:lnTo>
                  <a:pt x="7057" y="17179"/>
                </a:lnTo>
                <a:lnTo>
                  <a:pt x="7130" y="16960"/>
                </a:lnTo>
                <a:lnTo>
                  <a:pt x="7154" y="16717"/>
                </a:lnTo>
                <a:lnTo>
                  <a:pt x="7154" y="16449"/>
                </a:lnTo>
                <a:lnTo>
                  <a:pt x="7130" y="16181"/>
                </a:lnTo>
                <a:lnTo>
                  <a:pt x="7081" y="15938"/>
                </a:lnTo>
                <a:lnTo>
                  <a:pt x="6984" y="15451"/>
                </a:lnTo>
                <a:lnTo>
                  <a:pt x="6886" y="14770"/>
                </a:lnTo>
                <a:lnTo>
                  <a:pt x="6765" y="14089"/>
                </a:lnTo>
                <a:lnTo>
                  <a:pt x="6497" y="12726"/>
                </a:lnTo>
                <a:lnTo>
                  <a:pt x="6351" y="12167"/>
                </a:lnTo>
                <a:lnTo>
                  <a:pt x="6302" y="11875"/>
                </a:lnTo>
                <a:lnTo>
                  <a:pt x="6254" y="11583"/>
                </a:lnTo>
                <a:lnTo>
                  <a:pt x="6229" y="11291"/>
                </a:lnTo>
                <a:lnTo>
                  <a:pt x="6205" y="11120"/>
                </a:lnTo>
                <a:lnTo>
                  <a:pt x="6181" y="10974"/>
                </a:lnTo>
                <a:lnTo>
                  <a:pt x="6789" y="11096"/>
                </a:lnTo>
                <a:lnTo>
                  <a:pt x="7397" y="11218"/>
                </a:lnTo>
                <a:lnTo>
                  <a:pt x="10341" y="11826"/>
                </a:lnTo>
                <a:lnTo>
                  <a:pt x="10560" y="11875"/>
                </a:lnTo>
                <a:lnTo>
                  <a:pt x="10755" y="11923"/>
                </a:lnTo>
                <a:lnTo>
                  <a:pt x="11169" y="12094"/>
                </a:lnTo>
                <a:lnTo>
                  <a:pt x="11972" y="12459"/>
                </a:lnTo>
                <a:lnTo>
                  <a:pt x="13456" y="13115"/>
                </a:lnTo>
                <a:lnTo>
                  <a:pt x="14040" y="13407"/>
                </a:lnTo>
                <a:lnTo>
                  <a:pt x="14332" y="13553"/>
                </a:lnTo>
                <a:lnTo>
                  <a:pt x="14624" y="13748"/>
                </a:lnTo>
                <a:lnTo>
                  <a:pt x="14892" y="13943"/>
                </a:lnTo>
                <a:lnTo>
                  <a:pt x="15135" y="14162"/>
                </a:lnTo>
                <a:lnTo>
                  <a:pt x="15354" y="14381"/>
                </a:lnTo>
                <a:lnTo>
                  <a:pt x="15549" y="14648"/>
                </a:lnTo>
                <a:lnTo>
                  <a:pt x="15622" y="14721"/>
                </a:lnTo>
                <a:lnTo>
                  <a:pt x="15622" y="14940"/>
                </a:lnTo>
                <a:lnTo>
                  <a:pt x="15646" y="15062"/>
                </a:lnTo>
                <a:lnTo>
                  <a:pt x="15695" y="15159"/>
                </a:lnTo>
                <a:lnTo>
                  <a:pt x="15792" y="15208"/>
                </a:lnTo>
                <a:lnTo>
                  <a:pt x="15889" y="15232"/>
                </a:lnTo>
                <a:lnTo>
                  <a:pt x="16084" y="15427"/>
                </a:lnTo>
                <a:lnTo>
                  <a:pt x="16205" y="15500"/>
                </a:lnTo>
                <a:lnTo>
                  <a:pt x="16303" y="15573"/>
                </a:lnTo>
                <a:lnTo>
                  <a:pt x="16449" y="15622"/>
                </a:lnTo>
                <a:lnTo>
                  <a:pt x="16570" y="15646"/>
                </a:lnTo>
                <a:lnTo>
                  <a:pt x="16716" y="15670"/>
                </a:lnTo>
                <a:lnTo>
                  <a:pt x="16862" y="15646"/>
                </a:lnTo>
                <a:lnTo>
                  <a:pt x="16984" y="15622"/>
                </a:lnTo>
                <a:lnTo>
                  <a:pt x="17081" y="15573"/>
                </a:lnTo>
                <a:lnTo>
                  <a:pt x="17179" y="15500"/>
                </a:lnTo>
                <a:lnTo>
                  <a:pt x="17276" y="15427"/>
                </a:lnTo>
                <a:lnTo>
                  <a:pt x="17349" y="15330"/>
                </a:lnTo>
                <a:lnTo>
                  <a:pt x="17398" y="15232"/>
                </a:lnTo>
                <a:lnTo>
                  <a:pt x="17495" y="14989"/>
                </a:lnTo>
                <a:lnTo>
                  <a:pt x="17568" y="14721"/>
                </a:lnTo>
                <a:lnTo>
                  <a:pt x="17617" y="14478"/>
                </a:lnTo>
                <a:lnTo>
                  <a:pt x="17690" y="14016"/>
                </a:lnTo>
                <a:lnTo>
                  <a:pt x="17714" y="13651"/>
                </a:lnTo>
                <a:lnTo>
                  <a:pt x="17738" y="13261"/>
                </a:lnTo>
                <a:lnTo>
                  <a:pt x="17763" y="12507"/>
                </a:lnTo>
                <a:lnTo>
                  <a:pt x="17714" y="10974"/>
                </a:lnTo>
                <a:lnTo>
                  <a:pt x="17714" y="10123"/>
                </a:lnTo>
                <a:lnTo>
                  <a:pt x="17860" y="10098"/>
                </a:lnTo>
                <a:lnTo>
                  <a:pt x="17982" y="10001"/>
                </a:lnTo>
                <a:lnTo>
                  <a:pt x="18128" y="9904"/>
                </a:lnTo>
                <a:lnTo>
                  <a:pt x="18249" y="9782"/>
                </a:lnTo>
                <a:lnTo>
                  <a:pt x="18493" y="9514"/>
                </a:lnTo>
                <a:lnTo>
                  <a:pt x="18687" y="9271"/>
                </a:lnTo>
                <a:lnTo>
                  <a:pt x="18785" y="9101"/>
                </a:lnTo>
                <a:lnTo>
                  <a:pt x="18858" y="8906"/>
                </a:lnTo>
                <a:lnTo>
                  <a:pt x="18906" y="8711"/>
                </a:lnTo>
                <a:lnTo>
                  <a:pt x="18931" y="8517"/>
                </a:lnTo>
                <a:lnTo>
                  <a:pt x="18955" y="8103"/>
                </a:lnTo>
                <a:lnTo>
                  <a:pt x="18955" y="7714"/>
                </a:lnTo>
                <a:lnTo>
                  <a:pt x="18931" y="7373"/>
                </a:lnTo>
                <a:lnTo>
                  <a:pt x="18858" y="7057"/>
                </a:lnTo>
                <a:lnTo>
                  <a:pt x="18760" y="6740"/>
                </a:lnTo>
                <a:lnTo>
                  <a:pt x="18614" y="6448"/>
                </a:lnTo>
                <a:lnTo>
                  <a:pt x="18541" y="6327"/>
                </a:lnTo>
                <a:lnTo>
                  <a:pt x="18420" y="6205"/>
                </a:lnTo>
                <a:lnTo>
                  <a:pt x="18322" y="6083"/>
                </a:lnTo>
                <a:lnTo>
                  <a:pt x="18201" y="5986"/>
                </a:lnTo>
                <a:lnTo>
                  <a:pt x="18055" y="5889"/>
                </a:lnTo>
                <a:lnTo>
                  <a:pt x="17909" y="5840"/>
                </a:lnTo>
                <a:lnTo>
                  <a:pt x="17763" y="5767"/>
                </a:lnTo>
                <a:lnTo>
                  <a:pt x="17592" y="5743"/>
                </a:lnTo>
                <a:lnTo>
                  <a:pt x="17568" y="4697"/>
                </a:lnTo>
                <a:lnTo>
                  <a:pt x="17592" y="3942"/>
                </a:lnTo>
                <a:lnTo>
                  <a:pt x="17617" y="3164"/>
                </a:lnTo>
                <a:lnTo>
                  <a:pt x="17641" y="2409"/>
                </a:lnTo>
                <a:lnTo>
                  <a:pt x="17641" y="1631"/>
                </a:lnTo>
                <a:lnTo>
                  <a:pt x="17617" y="1193"/>
                </a:lnTo>
                <a:lnTo>
                  <a:pt x="17592" y="949"/>
                </a:lnTo>
                <a:lnTo>
                  <a:pt x="17519" y="730"/>
                </a:lnTo>
                <a:lnTo>
                  <a:pt x="17446" y="511"/>
                </a:lnTo>
                <a:lnTo>
                  <a:pt x="17325" y="317"/>
                </a:lnTo>
                <a:lnTo>
                  <a:pt x="17252" y="219"/>
                </a:lnTo>
                <a:lnTo>
                  <a:pt x="17179" y="146"/>
                </a:lnTo>
                <a:lnTo>
                  <a:pt x="17081" y="98"/>
                </a:lnTo>
                <a:lnTo>
                  <a:pt x="16984" y="49"/>
                </a:lnTo>
                <a:lnTo>
                  <a:pt x="16838" y="0"/>
                </a:lnTo>
                <a:close/>
              </a:path>
            </a:pathLst>
          </a:custGeom>
          <a:solidFill>
            <a:schemeClr val="accent2"/>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44" name="TextBox 43">
            <a:extLst>
              <a:ext uri="{FF2B5EF4-FFF2-40B4-BE49-F238E27FC236}">
                <a16:creationId xmlns:a16="http://schemas.microsoft.com/office/drawing/2014/main" id="{0FA5DCDE-FE23-92D6-9311-2ABA671E7E2C}"/>
              </a:ext>
            </a:extLst>
          </p:cNvPr>
          <p:cNvSpPr txBox="1"/>
          <p:nvPr/>
        </p:nvSpPr>
        <p:spPr bwMode="auto">
          <a:xfrm>
            <a:off x="1118841" y="205672"/>
            <a:ext cx="1706238" cy="36933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91" eaLnBrk="0" hangingPunct="0"/>
            <a:r>
              <a:rPr lang="da-DK" sz="2400" spc="0">
                <a:latin typeface="Quicksand" panose="020B0604020202020204"/>
              </a:rPr>
              <a:t>WHAT…?</a:t>
            </a:r>
          </a:p>
        </p:txBody>
      </p:sp>
      <p:sp>
        <p:nvSpPr>
          <p:cNvPr id="45" name="Rectangle 44">
            <a:extLst>
              <a:ext uri="{FF2B5EF4-FFF2-40B4-BE49-F238E27FC236}">
                <a16:creationId xmlns:a16="http://schemas.microsoft.com/office/drawing/2014/main" id="{8A65C995-1126-C590-E107-54044F316B81}"/>
              </a:ext>
            </a:extLst>
          </p:cNvPr>
          <p:cNvSpPr/>
          <p:nvPr/>
        </p:nvSpPr>
        <p:spPr>
          <a:xfrm>
            <a:off x="7105270" y="205672"/>
            <a:ext cx="2076980" cy="572351"/>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46" name="TextBox 45">
            <a:extLst>
              <a:ext uri="{FF2B5EF4-FFF2-40B4-BE49-F238E27FC236}">
                <a16:creationId xmlns:a16="http://schemas.microsoft.com/office/drawing/2014/main" id="{2880721F-AAB8-C37B-2B3A-E2F6E43C44DE}"/>
              </a:ext>
            </a:extLst>
          </p:cNvPr>
          <p:cNvSpPr txBox="1"/>
          <p:nvPr/>
        </p:nvSpPr>
        <p:spPr bwMode="auto">
          <a:xfrm>
            <a:off x="7793589" y="552604"/>
            <a:ext cx="1991421"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da-DK" sz="1400" b="0" i="0" u="none" strike="noStrike" kern="1200" cap="none" spc="0" normalizeH="0" baseline="0" noProof="0">
                <a:ln>
                  <a:noFill/>
                </a:ln>
                <a:solidFill>
                  <a:schemeClr val="tx1"/>
                </a:solidFill>
                <a:effectLst/>
                <a:uLnTx/>
                <a:uFillTx/>
                <a:latin typeface="Quicksand" panose="020B0604020202020204"/>
                <a:ea typeface="Verdana" pitchFamily="34" charset="0"/>
                <a:cs typeface="Verdana" pitchFamily="34" charset="0"/>
              </a:rPr>
              <a:t>Hvilke idéer får jeg?</a:t>
            </a:r>
          </a:p>
        </p:txBody>
      </p:sp>
      <p:sp>
        <p:nvSpPr>
          <p:cNvPr id="48" name="TextBox 47">
            <a:extLst>
              <a:ext uri="{FF2B5EF4-FFF2-40B4-BE49-F238E27FC236}">
                <a16:creationId xmlns:a16="http://schemas.microsoft.com/office/drawing/2014/main" id="{EB80DBB0-0D19-3C21-C3E6-499A5980BF71}"/>
              </a:ext>
            </a:extLst>
          </p:cNvPr>
          <p:cNvSpPr txBox="1"/>
          <p:nvPr/>
        </p:nvSpPr>
        <p:spPr bwMode="auto">
          <a:xfrm>
            <a:off x="7791675" y="198581"/>
            <a:ext cx="1141090" cy="36933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91" eaLnBrk="0" hangingPunct="0"/>
            <a:r>
              <a:rPr lang="da-DK" sz="2400" spc="0">
                <a:latin typeface="Quicksand" panose="020B0604020202020204"/>
              </a:rPr>
              <a:t>AHA!</a:t>
            </a:r>
          </a:p>
        </p:txBody>
      </p:sp>
      <p:sp>
        <p:nvSpPr>
          <p:cNvPr id="50" name="Shape 327">
            <a:extLst>
              <a:ext uri="{FF2B5EF4-FFF2-40B4-BE49-F238E27FC236}">
                <a16:creationId xmlns:a16="http://schemas.microsoft.com/office/drawing/2014/main" id="{1C361387-DF03-AD42-3C23-36D7B116CBCF}"/>
              </a:ext>
            </a:extLst>
          </p:cNvPr>
          <p:cNvSpPr>
            <a:spLocks noChangeAspect="1"/>
          </p:cNvSpPr>
          <p:nvPr/>
        </p:nvSpPr>
        <p:spPr>
          <a:xfrm>
            <a:off x="7183149" y="212763"/>
            <a:ext cx="530647" cy="572351"/>
          </a:xfrm>
          <a:custGeom>
            <a:avLst/>
            <a:gdLst/>
            <a:ahLst/>
            <a:cxnLst/>
            <a:rect l="0" t="0" r="0" b="0"/>
            <a:pathLst>
              <a:path w="15817" h="18981" extrusionOk="0">
                <a:moveTo>
                  <a:pt x="11364" y="1"/>
                </a:moveTo>
                <a:lnTo>
                  <a:pt x="11242" y="25"/>
                </a:lnTo>
                <a:lnTo>
                  <a:pt x="11169" y="74"/>
                </a:lnTo>
                <a:lnTo>
                  <a:pt x="11096" y="171"/>
                </a:lnTo>
                <a:lnTo>
                  <a:pt x="10780" y="731"/>
                </a:lnTo>
                <a:lnTo>
                  <a:pt x="10634" y="999"/>
                </a:lnTo>
                <a:lnTo>
                  <a:pt x="10537" y="1315"/>
                </a:lnTo>
                <a:lnTo>
                  <a:pt x="10512" y="1388"/>
                </a:lnTo>
                <a:lnTo>
                  <a:pt x="10537" y="1461"/>
                </a:lnTo>
                <a:lnTo>
                  <a:pt x="10585" y="1534"/>
                </a:lnTo>
                <a:lnTo>
                  <a:pt x="10634" y="1583"/>
                </a:lnTo>
                <a:lnTo>
                  <a:pt x="10707" y="1607"/>
                </a:lnTo>
                <a:lnTo>
                  <a:pt x="10804" y="1631"/>
                </a:lnTo>
                <a:lnTo>
                  <a:pt x="10877" y="1607"/>
                </a:lnTo>
                <a:lnTo>
                  <a:pt x="10950" y="1558"/>
                </a:lnTo>
                <a:lnTo>
                  <a:pt x="11145" y="1315"/>
                </a:lnTo>
                <a:lnTo>
                  <a:pt x="11291" y="1047"/>
                </a:lnTo>
                <a:lnTo>
                  <a:pt x="11510" y="731"/>
                </a:lnTo>
                <a:lnTo>
                  <a:pt x="11583" y="682"/>
                </a:lnTo>
                <a:lnTo>
                  <a:pt x="11656" y="609"/>
                </a:lnTo>
                <a:lnTo>
                  <a:pt x="11705" y="463"/>
                </a:lnTo>
                <a:lnTo>
                  <a:pt x="11729" y="342"/>
                </a:lnTo>
                <a:lnTo>
                  <a:pt x="11705" y="220"/>
                </a:lnTo>
                <a:lnTo>
                  <a:pt x="11656" y="123"/>
                </a:lnTo>
                <a:lnTo>
                  <a:pt x="11583" y="50"/>
                </a:lnTo>
                <a:lnTo>
                  <a:pt x="11486" y="25"/>
                </a:lnTo>
                <a:lnTo>
                  <a:pt x="11461" y="1"/>
                </a:lnTo>
                <a:close/>
                <a:moveTo>
                  <a:pt x="3821" y="171"/>
                </a:moveTo>
                <a:lnTo>
                  <a:pt x="3748" y="196"/>
                </a:lnTo>
                <a:lnTo>
                  <a:pt x="3699" y="244"/>
                </a:lnTo>
                <a:lnTo>
                  <a:pt x="3651" y="317"/>
                </a:lnTo>
                <a:lnTo>
                  <a:pt x="3651" y="390"/>
                </a:lnTo>
                <a:lnTo>
                  <a:pt x="3651" y="463"/>
                </a:lnTo>
                <a:lnTo>
                  <a:pt x="3699" y="634"/>
                </a:lnTo>
                <a:lnTo>
                  <a:pt x="3772" y="804"/>
                </a:lnTo>
                <a:lnTo>
                  <a:pt x="3943" y="1120"/>
                </a:lnTo>
                <a:lnTo>
                  <a:pt x="4113" y="1461"/>
                </a:lnTo>
                <a:lnTo>
                  <a:pt x="4259" y="1802"/>
                </a:lnTo>
                <a:lnTo>
                  <a:pt x="4332" y="1923"/>
                </a:lnTo>
                <a:lnTo>
                  <a:pt x="4429" y="1996"/>
                </a:lnTo>
                <a:lnTo>
                  <a:pt x="4527" y="2021"/>
                </a:lnTo>
                <a:lnTo>
                  <a:pt x="4624" y="1996"/>
                </a:lnTo>
                <a:lnTo>
                  <a:pt x="4721" y="1972"/>
                </a:lnTo>
                <a:lnTo>
                  <a:pt x="4794" y="1899"/>
                </a:lnTo>
                <a:lnTo>
                  <a:pt x="4843" y="1777"/>
                </a:lnTo>
                <a:lnTo>
                  <a:pt x="4843" y="1656"/>
                </a:lnTo>
                <a:lnTo>
                  <a:pt x="4794" y="1461"/>
                </a:lnTo>
                <a:lnTo>
                  <a:pt x="4697" y="1266"/>
                </a:lnTo>
                <a:lnTo>
                  <a:pt x="4502" y="901"/>
                </a:lnTo>
                <a:lnTo>
                  <a:pt x="4283" y="536"/>
                </a:lnTo>
                <a:lnTo>
                  <a:pt x="4162" y="390"/>
                </a:lnTo>
                <a:lnTo>
                  <a:pt x="4040" y="244"/>
                </a:lnTo>
                <a:lnTo>
                  <a:pt x="3967" y="196"/>
                </a:lnTo>
                <a:lnTo>
                  <a:pt x="3894" y="171"/>
                </a:lnTo>
                <a:close/>
                <a:moveTo>
                  <a:pt x="15452" y="4405"/>
                </a:moveTo>
                <a:lnTo>
                  <a:pt x="15379" y="4429"/>
                </a:lnTo>
                <a:lnTo>
                  <a:pt x="15306" y="4454"/>
                </a:lnTo>
                <a:lnTo>
                  <a:pt x="15135" y="4551"/>
                </a:lnTo>
                <a:lnTo>
                  <a:pt x="14941" y="4600"/>
                </a:lnTo>
                <a:lnTo>
                  <a:pt x="14551" y="4697"/>
                </a:lnTo>
                <a:lnTo>
                  <a:pt x="14357" y="4746"/>
                </a:lnTo>
                <a:lnTo>
                  <a:pt x="14162" y="4819"/>
                </a:lnTo>
                <a:lnTo>
                  <a:pt x="14016" y="4916"/>
                </a:lnTo>
                <a:lnTo>
                  <a:pt x="13870" y="5062"/>
                </a:lnTo>
                <a:lnTo>
                  <a:pt x="13822" y="5135"/>
                </a:lnTo>
                <a:lnTo>
                  <a:pt x="13822" y="5232"/>
                </a:lnTo>
                <a:lnTo>
                  <a:pt x="13846" y="5330"/>
                </a:lnTo>
                <a:lnTo>
                  <a:pt x="13895" y="5354"/>
                </a:lnTo>
                <a:lnTo>
                  <a:pt x="13943" y="5354"/>
                </a:lnTo>
                <a:lnTo>
                  <a:pt x="14138" y="5378"/>
                </a:lnTo>
                <a:lnTo>
                  <a:pt x="14357" y="5378"/>
                </a:lnTo>
                <a:lnTo>
                  <a:pt x="14600" y="5354"/>
                </a:lnTo>
                <a:lnTo>
                  <a:pt x="14819" y="5330"/>
                </a:lnTo>
                <a:lnTo>
                  <a:pt x="15038" y="5257"/>
                </a:lnTo>
                <a:lnTo>
                  <a:pt x="15257" y="5208"/>
                </a:lnTo>
                <a:lnTo>
                  <a:pt x="15452" y="5111"/>
                </a:lnTo>
                <a:lnTo>
                  <a:pt x="15646" y="5038"/>
                </a:lnTo>
                <a:lnTo>
                  <a:pt x="15719" y="4989"/>
                </a:lnTo>
                <a:lnTo>
                  <a:pt x="15768" y="4940"/>
                </a:lnTo>
                <a:lnTo>
                  <a:pt x="15817" y="4819"/>
                </a:lnTo>
                <a:lnTo>
                  <a:pt x="15792" y="4697"/>
                </a:lnTo>
                <a:lnTo>
                  <a:pt x="15768" y="4575"/>
                </a:lnTo>
                <a:lnTo>
                  <a:pt x="15671" y="4478"/>
                </a:lnTo>
                <a:lnTo>
                  <a:pt x="15573" y="4429"/>
                </a:lnTo>
                <a:lnTo>
                  <a:pt x="15452" y="4405"/>
                </a:lnTo>
                <a:close/>
                <a:moveTo>
                  <a:pt x="317" y="4697"/>
                </a:moveTo>
                <a:lnTo>
                  <a:pt x="220" y="4721"/>
                </a:lnTo>
                <a:lnTo>
                  <a:pt x="122" y="4746"/>
                </a:lnTo>
                <a:lnTo>
                  <a:pt x="25" y="4794"/>
                </a:lnTo>
                <a:lnTo>
                  <a:pt x="1" y="4867"/>
                </a:lnTo>
                <a:lnTo>
                  <a:pt x="1" y="4965"/>
                </a:lnTo>
                <a:lnTo>
                  <a:pt x="49" y="5038"/>
                </a:lnTo>
                <a:lnTo>
                  <a:pt x="195" y="5184"/>
                </a:lnTo>
                <a:lnTo>
                  <a:pt x="390" y="5305"/>
                </a:lnTo>
                <a:lnTo>
                  <a:pt x="779" y="5524"/>
                </a:lnTo>
                <a:lnTo>
                  <a:pt x="1169" y="5743"/>
                </a:lnTo>
                <a:lnTo>
                  <a:pt x="1388" y="5841"/>
                </a:lnTo>
                <a:lnTo>
                  <a:pt x="1582" y="5938"/>
                </a:lnTo>
                <a:lnTo>
                  <a:pt x="1655" y="5962"/>
                </a:lnTo>
                <a:lnTo>
                  <a:pt x="1801" y="5962"/>
                </a:lnTo>
                <a:lnTo>
                  <a:pt x="1850" y="5938"/>
                </a:lnTo>
                <a:lnTo>
                  <a:pt x="1923" y="5841"/>
                </a:lnTo>
                <a:lnTo>
                  <a:pt x="1972" y="5743"/>
                </a:lnTo>
                <a:lnTo>
                  <a:pt x="1996" y="5622"/>
                </a:lnTo>
                <a:lnTo>
                  <a:pt x="1972" y="5476"/>
                </a:lnTo>
                <a:lnTo>
                  <a:pt x="1899" y="5378"/>
                </a:lnTo>
                <a:lnTo>
                  <a:pt x="1826" y="5330"/>
                </a:lnTo>
                <a:lnTo>
                  <a:pt x="1777" y="5305"/>
                </a:lnTo>
                <a:lnTo>
                  <a:pt x="1582" y="5208"/>
                </a:lnTo>
                <a:lnTo>
                  <a:pt x="1388" y="5111"/>
                </a:lnTo>
                <a:lnTo>
                  <a:pt x="974" y="4892"/>
                </a:lnTo>
                <a:lnTo>
                  <a:pt x="755" y="4794"/>
                </a:lnTo>
                <a:lnTo>
                  <a:pt x="536" y="4721"/>
                </a:lnTo>
                <a:lnTo>
                  <a:pt x="317" y="4697"/>
                </a:lnTo>
                <a:close/>
                <a:moveTo>
                  <a:pt x="8809" y="6936"/>
                </a:moveTo>
                <a:lnTo>
                  <a:pt x="8736" y="6984"/>
                </a:lnTo>
                <a:lnTo>
                  <a:pt x="8663" y="7057"/>
                </a:lnTo>
                <a:lnTo>
                  <a:pt x="8566" y="7252"/>
                </a:lnTo>
                <a:lnTo>
                  <a:pt x="8468" y="7495"/>
                </a:lnTo>
                <a:lnTo>
                  <a:pt x="8420" y="7739"/>
                </a:lnTo>
                <a:lnTo>
                  <a:pt x="8395" y="7958"/>
                </a:lnTo>
                <a:lnTo>
                  <a:pt x="8395" y="8128"/>
                </a:lnTo>
                <a:lnTo>
                  <a:pt x="8322" y="8177"/>
                </a:lnTo>
                <a:lnTo>
                  <a:pt x="8201" y="8225"/>
                </a:lnTo>
                <a:lnTo>
                  <a:pt x="8079" y="8250"/>
                </a:lnTo>
                <a:lnTo>
                  <a:pt x="7982" y="8225"/>
                </a:lnTo>
                <a:lnTo>
                  <a:pt x="7909" y="8201"/>
                </a:lnTo>
                <a:lnTo>
                  <a:pt x="7982" y="8079"/>
                </a:lnTo>
                <a:lnTo>
                  <a:pt x="8055" y="7933"/>
                </a:lnTo>
                <a:lnTo>
                  <a:pt x="8103" y="7812"/>
                </a:lnTo>
                <a:lnTo>
                  <a:pt x="8103" y="7666"/>
                </a:lnTo>
                <a:lnTo>
                  <a:pt x="8103" y="7520"/>
                </a:lnTo>
                <a:lnTo>
                  <a:pt x="8055" y="7398"/>
                </a:lnTo>
                <a:lnTo>
                  <a:pt x="7957" y="7252"/>
                </a:lnTo>
                <a:lnTo>
                  <a:pt x="7836" y="7130"/>
                </a:lnTo>
                <a:lnTo>
                  <a:pt x="7763" y="7082"/>
                </a:lnTo>
                <a:lnTo>
                  <a:pt x="7617" y="7082"/>
                </a:lnTo>
                <a:lnTo>
                  <a:pt x="7544" y="7130"/>
                </a:lnTo>
                <a:lnTo>
                  <a:pt x="7446" y="7252"/>
                </a:lnTo>
                <a:lnTo>
                  <a:pt x="7373" y="7374"/>
                </a:lnTo>
                <a:lnTo>
                  <a:pt x="7325" y="7495"/>
                </a:lnTo>
                <a:lnTo>
                  <a:pt x="7300" y="7641"/>
                </a:lnTo>
                <a:lnTo>
                  <a:pt x="7300" y="7787"/>
                </a:lnTo>
                <a:lnTo>
                  <a:pt x="7300" y="7909"/>
                </a:lnTo>
                <a:lnTo>
                  <a:pt x="7325" y="8055"/>
                </a:lnTo>
                <a:lnTo>
                  <a:pt x="7373" y="8177"/>
                </a:lnTo>
                <a:lnTo>
                  <a:pt x="7179" y="8298"/>
                </a:lnTo>
                <a:lnTo>
                  <a:pt x="7081" y="8323"/>
                </a:lnTo>
                <a:lnTo>
                  <a:pt x="6984" y="8347"/>
                </a:lnTo>
                <a:lnTo>
                  <a:pt x="6911" y="8371"/>
                </a:lnTo>
                <a:lnTo>
                  <a:pt x="6814" y="8347"/>
                </a:lnTo>
                <a:lnTo>
                  <a:pt x="6692" y="8298"/>
                </a:lnTo>
                <a:lnTo>
                  <a:pt x="6570" y="8201"/>
                </a:lnTo>
                <a:lnTo>
                  <a:pt x="6497" y="8055"/>
                </a:lnTo>
                <a:lnTo>
                  <a:pt x="6449" y="7909"/>
                </a:lnTo>
                <a:lnTo>
                  <a:pt x="6449" y="7739"/>
                </a:lnTo>
                <a:lnTo>
                  <a:pt x="6497" y="7544"/>
                </a:lnTo>
                <a:lnTo>
                  <a:pt x="6497" y="7520"/>
                </a:lnTo>
                <a:lnTo>
                  <a:pt x="6473" y="7520"/>
                </a:lnTo>
                <a:lnTo>
                  <a:pt x="6449" y="7495"/>
                </a:lnTo>
                <a:lnTo>
                  <a:pt x="6424" y="7520"/>
                </a:lnTo>
                <a:lnTo>
                  <a:pt x="6327" y="7617"/>
                </a:lnTo>
                <a:lnTo>
                  <a:pt x="6254" y="7739"/>
                </a:lnTo>
                <a:lnTo>
                  <a:pt x="6230" y="7836"/>
                </a:lnTo>
                <a:lnTo>
                  <a:pt x="6206" y="7958"/>
                </a:lnTo>
                <a:lnTo>
                  <a:pt x="6206" y="8055"/>
                </a:lnTo>
                <a:lnTo>
                  <a:pt x="6206" y="8177"/>
                </a:lnTo>
                <a:lnTo>
                  <a:pt x="6254" y="8274"/>
                </a:lnTo>
                <a:lnTo>
                  <a:pt x="6303" y="8371"/>
                </a:lnTo>
                <a:lnTo>
                  <a:pt x="6376" y="8469"/>
                </a:lnTo>
                <a:lnTo>
                  <a:pt x="6449" y="8542"/>
                </a:lnTo>
                <a:lnTo>
                  <a:pt x="6546" y="8615"/>
                </a:lnTo>
                <a:lnTo>
                  <a:pt x="6643" y="8663"/>
                </a:lnTo>
                <a:lnTo>
                  <a:pt x="6765" y="8712"/>
                </a:lnTo>
                <a:lnTo>
                  <a:pt x="6862" y="8736"/>
                </a:lnTo>
                <a:lnTo>
                  <a:pt x="7008" y="8736"/>
                </a:lnTo>
                <a:lnTo>
                  <a:pt x="7130" y="8712"/>
                </a:lnTo>
                <a:lnTo>
                  <a:pt x="7349" y="8615"/>
                </a:lnTo>
                <a:lnTo>
                  <a:pt x="7592" y="8493"/>
                </a:lnTo>
                <a:lnTo>
                  <a:pt x="7690" y="8566"/>
                </a:lnTo>
                <a:lnTo>
                  <a:pt x="7836" y="8639"/>
                </a:lnTo>
                <a:lnTo>
                  <a:pt x="7982" y="8663"/>
                </a:lnTo>
                <a:lnTo>
                  <a:pt x="8128" y="8688"/>
                </a:lnTo>
                <a:lnTo>
                  <a:pt x="8225" y="8688"/>
                </a:lnTo>
                <a:lnTo>
                  <a:pt x="8347" y="8663"/>
                </a:lnTo>
                <a:lnTo>
                  <a:pt x="8566" y="8566"/>
                </a:lnTo>
                <a:lnTo>
                  <a:pt x="8639" y="8663"/>
                </a:lnTo>
                <a:lnTo>
                  <a:pt x="8736" y="8736"/>
                </a:lnTo>
                <a:lnTo>
                  <a:pt x="8833" y="8809"/>
                </a:lnTo>
                <a:lnTo>
                  <a:pt x="8931" y="8858"/>
                </a:lnTo>
                <a:lnTo>
                  <a:pt x="9174" y="8907"/>
                </a:lnTo>
                <a:lnTo>
                  <a:pt x="9417" y="8931"/>
                </a:lnTo>
                <a:lnTo>
                  <a:pt x="9661" y="8882"/>
                </a:lnTo>
                <a:lnTo>
                  <a:pt x="9880" y="8809"/>
                </a:lnTo>
                <a:lnTo>
                  <a:pt x="9977" y="8736"/>
                </a:lnTo>
                <a:lnTo>
                  <a:pt x="10074" y="8663"/>
                </a:lnTo>
                <a:lnTo>
                  <a:pt x="10172" y="8566"/>
                </a:lnTo>
                <a:lnTo>
                  <a:pt x="10269" y="8469"/>
                </a:lnTo>
                <a:lnTo>
                  <a:pt x="10293" y="8396"/>
                </a:lnTo>
                <a:lnTo>
                  <a:pt x="10293" y="8347"/>
                </a:lnTo>
                <a:lnTo>
                  <a:pt x="10269" y="8298"/>
                </a:lnTo>
                <a:lnTo>
                  <a:pt x="10245" y="8250"/>
                </a:lnTo>
                <a:lnTo>
                  <a:pt x="10172" y="8225"/>
                </a:lnTo>
                <a:lnTo>
                  <a:pt x="10123" y="8201"/>
                </a:lnTo>
                <a:lnTo>
                  <a:pt x="10001" y="8201"/>
                </a:lnTo>
                <a:lnTo>
                  <a:pt x="9782" y="8323"/>
                </a:lnTo>
                <a:lnTo>
                  <a:pt x="9563" y="8420"/>
                </a:lnTo>
                <a:lnTo>
                  <a:pt x="9442" y="8444"/>
                </a:lnTo>
                <a:lnTo>
                  <a:pt x="9344" y="8469"/>
                </a:lnTo>
                <a:lnTo>
                  <a:pt x="9223" y="8469"/>
                </a:lnTo>
                <a:lnTo>
                  <a:pt x="9101" y="8420"/>
                </a:lnTo>
                <a:lnTo>
                  <a:pt x="9004" y="8347"/>
                </a:lnTo>
                <a:lnTo>
                  <a:pt x="8931" y="8274"/>
                </a:lnTo>
                <a:lnTo>
                  <a:pt x="9052" y="8128"/>
                </a:lnTo>
                <a:lnTo>
                  <a:pt x="9150" y="7982"/>
                </a:lnTo>
                <a:lnTo>
                  <a:pt x="9247" y="7836"/>
                </a:lnTo>
                <a:lnTo>
                  <a:pt x="9296" y="7666"/>
                </a:lnTo>
                <a:lnTo>
                  <a:pt x="9320" y="7495"/>
                </a:lnTo>
                <a:lnTo>
                  <a:pt x="9296" y="7349"/>
                </a:lnTo>
                <a:lnTo>
                  <a:pt x="9247" y="7203"/>
                </a:lnTo>
                <a:lnTo>
                  <a:pt x="9150" y="7057"/>
                </a:lnTo>
                <a:lnTo>
                  <a:pt x="9052" y="6984"/>
                </a:lnTo>
                <a:lnTo>
                  <a:pt x="8955" y="6936"/>
                </a:lnTo>
                <a:close/>
                <a:moveTo>
                  <a:pt x="1947" y="9710"/>
                </a:moveTo>
                <a:lnTo>
                  <a:pt x="1801" y="9758"/>
                </a:lnTo>
                <a:lnTo>
                  <a:pt x="1582" y="9856"/>
                </a:lnTo>
                <a:lnTo>
                  <a:pt x="1363" y="10002"/>
                </a:lnTo>
                <a:lnTo>
                  <a:pt x="925" y="10294"/>
                </a:lnTo>
                <a:lnTo>
                  <a:pt x="706" y="10415"/>
                </a:lnTo>
                <a:lnTo>
                  <a:pt x="585" y="10513"/>
                </a:lnTo>
                <a:lnTo>
                  <a:pt x="463" y="10610"/>
                </a:lnTo>
                <a:lnTo>
                  <a:pt x="366" y="10707"/>
                </a:lnTo>
                <a:lnTo>
                  <a:pt x="317" y="10829"/>
                </a:lnTo>
                <a:lnTo>
                  <a:pt x="317" y="10878"/>
                </a:lnTo>
                <a:lnTo>
                  <a:pt x="341" y="10926"/>
                </a:lnTo>
                <a:lnTo>
                  <a:pt x="366" y="10999"/>
                </a:lnTo>
                <a:lnTo>
                  <a:pt x="439" y="11048"/>
                </a:lnTo>
                <a:lnTo>
                  <a:pt x="536" y="11097"/>
                </a:lnTo>
                <a:lnTo>
                  <a:pt x="633" y="11097"/>
                </a:lnTo>
                <a:lnTo>
                  <a:pt x="755" y="11072"/>
                </a:lnTo>
                <a:lnTo>
                  <a:pt x="877" y="11048"/>
                </a:lnTo>
                <a:lnTo>
                  <a:pt x="1120" y="10926"/>
                </a:lnTo>
                <a:lnTo>
                  <a:pt x="1315" y="10829"/>
                </a:lnTo>
                <a:lnTo>
                  <a:pt x="1728" y="10610"/>
                </a:lnTo>
                <a:lnTo>
                  <a:pt x="1947" y="10488"/>
                </a:lnTo>
                <a:lnTo>
                  <a:pt x="2142" y="10342"/>
                </a:lnTo>
                <a:lnTo>
                  <a:pt x="2264" y="10245"/>
                </a:lnTo>
                <a:lnTo>
                  <a:pt x="2312" y="10123"/>
                </a:lnTo>
                <a:lnTo>
                  <a:pt x="2312" y="10002"/>
                </a:lnTo>
                <a:lnTo>
                  <a:pt x="2264" y="9880"/>
                </a:lnTo>
                <a:lnTo>
                  <a:pt x="2191" y="9783"/>
                </a:lnTo>
                <a:lnTo>
                  <a:pt x="2069" y="9734"/>
                </a:lnTo>
                <a:lnTo>
                  <a:pt x="1947" y="9710"/>
                </a:lnTo>
                <a:close/>
                <a:moveTo>
                  <a:pt x="14065" y="10026"/>
                </a:moveTo>
                <a:lnTo>
                  <a:pt x="13895" y="10050"/>
                </a:lnTo>
                <a:lnTo>
                  <a:pt x="13846" y="10075"/>
                </a:lnTo>
                <a:lnTo>
                  <a:pt x="13797" y="10123"/>
                </a:lnTo>
                <a:lnTo>
                  <a:pt x="13773" y="10172"/>
                </a:lnTo>
                <a:lnTo>
                  <a:pt x="13749" y="10221"/>
                </a:lnTo>
                <a:lnTo>
                  <a:pt x="13773" y="10318"/>
                </a:lnTo>
                <a:lnTo>
                  <a:pt x="13797" y="10367"/>
                </a:lnTo>
                <a:lnTo>
                  <a:pt x="13846" y="10415"/>
                </a:lnTo>
                <a:lnTo>
                  <a:pt x="14138" y="10586"/>
                </a:lnTo>
                <a:lnTo>
                  <a:pt x="14454" y="10756"/>
                </a:lnTo>
                <a:lnTo>
                  <a:pt x="14624" y="10878"/>
                </a:lnTo>
                <a:lnTo>
                  <a:pt x="14819" y="10975"/>
                </a:lnTo>
                <a:lnTo>
                  <a:pt x="15014" y="11048"/>
                </a:lnTo>
                <a:lnTo>
                  <a:pt x="15208" y="11097"/>
                </a:lnTo>
                <a:lnTo>
                  <a:pt x="15379" y="11097"/>
                </a:lnTo>
                <a:lnTo>
                  <a:pt x="15427" y="11072"/>
                </a:lnTo>
                <a:lnTo>
                  <a:pt x="15500" y="11024"/>
                </a:lnTo>
                <a:lnTo>
                  <a:pt x="15573" y="10951"/>
                </a:lnTo>
                <a:lnTo>
                  <a:pt x="15598" y="10829"/>
                </a:lnTo>
                <a:lnTo>
                  <a:pt x="15598" y="10707"/>
                </a:lnTo>
                <a:lnTo>
                  <a:pt x="15549" y="10586"/>
                </a:lnTo>
                <a:lnTo>
                  <a:pt x="15500" y="10537"/>
                </a:lnTo>
                <a:lnTo>
                  <a:pt x="15452" y="10513"/>
                </a:lnTo>
                <a:lnTo>
                  <a:pt x="15379" y="10464"/>
                </a:lnTo>
                <a:lnTo>
                  <a:pt x="15306" y="10464"/>
                </a:lnTo>
                <a:lnTo>
                  <a:pt x="15135" y="10415"/>
                </a:lnTo>
                <a:lnTo>
                  <a:pt x="14965" y="10367"/>
                </a:lnTo>
                <a:lnTo>
                  <a:pt x="14600" y="10196"/>
                </a:lnTo>
                <a:lnTo>
                  <a:pt x="14430" y="10099"/>
                </a:lnTo>
                <a:lnTo>
                  <a:pt x="14260" y="10050"/>
                </a:lnTo>
                <a:lnTo>
                  <a:pt x="14065" y="10026"/>
                </a:lnTo>
                <a:close/>
                <a:moveTo>
                  <a:pt x="8468" y="2605"/>
                </a:moveTo>
                <a:lnTo>
                  <a:pt x="8760" y="2629"/>
                </a:lnTo>
                <a:lnTo>
                  <a:pt x="9052" y="2678"/>
                </a:lnTo>
                <a:lnTo>
                  <a:pt x="9344" y="2726"/>
                </a:lnTo>
                <a:lnTo>
                  <a:pt x="9125" y="2799"/>
                </a:lnTo>
                <a:lnTo>
                  <a:pt x="9101" y="2824"/>
                </a:lnTo>
                <a:lnTo>
                  <a:pt x="9101" y="2848"/>
                </a:lnTo>
                <a:lnTo>
                  <a:pt x="9101" y="2872"/>
                </a:lnTo>
                <a:lnTo>
                  <a:pt x="9125" y="2897"/>
                </a:lnTo>
                <a:lnTo>
                  <a:pt x="9223" y="2945"/>
                </a:lnTo>
                <a:lnTo>
                  <a:pt x="9320" y="2970"/>
                </a:lnTo>
                <a:lnTo>
                  <a:pt x="9442" y="2945"/>
                </a:lnTo>
                <a:lnTo>
                  <a:pt x="9563" y="2921"/>
                </a:lnTo>
                <a:lnTo>
                  <a:pt x="9855" y="2872"/>
                </a:lnTo>
                <a:lnTo>
                  <a:pt x="10269" y="3043"/>
                </a:lnTo>
                <a:lnTo>
                  <a:pt x="10074" y="3067"/>
                </a:lnTo>
                <a:lnTo>
                  <a:pt x="9855" y="3116"/>
                </a:lnTo>
                <a:lnTo>
                  <a:pt x="9685" y="3189"/>
                </a:lnTo>
                <a:lnTo>
                  <a:pt x="9515" y="3262"/>
                </a:lnTo>
                <a:lnTo>
                  <a:pt x="9515" y="3286"/>
                </a:lnTo>
                <a:lnTo>
                  <a:pt x="9490" y="3310"/>
                </a:lnTo>
                <a:lnTo>
                  <a:pt x="9515" y="3335"/>
                </a:lnTo>
                <a:lnTo>
                  <a:pt x="9539" y="3359"/>
                </a:lnTo>
                <a:lnTo>
                  <a:pt x="9953" y="3335"/>
                </a:lnTo>
                <a:lnTo>
                  <a:pt x="10342" y="3310"/>
                </a:lnTo>
                <a:lnTo>
                  <a:pt x="10780" y="3310"/>
                </a:lnTo>
                <a:lnTo>
                  <a:pt x="11048" y="3505"/>
                </a:lnTo>
                <a:lnTo>
                  <a:pt x="10756" y="3578"/>
                </a:lnTo>
                <a:lnTo>
                  <a:pt x="10464" y="3675"/>
                </a:lnTo>
                <a:lnTo>
                  <a:pt x="10245" y="3797"/>
                </a:lnTo>
                <a:lnTo>
                  <a:pt x="10099" y="3918"/>
                </a:lnTo>
                <a:lnTo>
                  <a:pt x="10074" y="3943"/>
                </a:lnTo>
                <a:lnTo>
                  <a:pt x="10099" y="3943"/>
                </a:lnTo>
                <a:lnTo>
                  <a:pt x="10391" y="3918"/>
                </a:lnTo>
                <a:lnTo>
                  <a:pt x="10683" y="3870"/>
                </a:lnTo>
                <a:lnTo>
                  <a:pt x="10975" y="3821"/>
                </a:lnTo>
                <a:lnTo>
                  <a:pt x="11291" y="3773"/>
                </a:lnTo>
                <a:lnTo>
                  <a:pt x="11364" y="3773"/>
                </a:lnTo>
                <a:lnTo>
                  <a:pt x="11583" y="3967"/>
                </a:lnTo>
                <a:lnTo>
                  <a:pt x="11778" y="4186"/>
                </a:lnTo>
                <a:lnTo>
                  <a:pt x="11388" y="4210"/>
                </a:lnTo>
                <a:lnTo>
                  <a:pt x="10829" y="4259"/>
                </a:lnTo>
                <a:lnTo>
                  <a:pt x="10561" y="4283"/>
                </a:lnTo>
                <a:lnTo>
                  <a:pt x="10318" y="4381"/>
                </a:lnTo>
                <a:lnTo>
                  <a:pt x="10293" y="4405"/>
                </a:lnTo>
                <a:lnTo>
                  <a:pt x="10293" y="4429"/>
                </a:lnTo>
                <a:lnTo>
                  <a:pt x="10318" y="4454"/>
                </a:lnTo>
                <a:lnTo>
                  <a:pt x="10585" y="4527"/>
                </a:lnTo>
                <a:lnTo>
                  <a:pt x="11705" y="4527"/>
                </a:lnTo>
                <a:lnTo>
                  <a:pt x="11997" y="4502"/>
                </a:lnTo>
                <a:lnTo>
                  <a:pt x="12216" y="4867"/>
                </a:lnTo>
                <a:lnTo>
                  <a:pt x="11851" y="4867"/>
                </a:lnTo>
                <a:lnTo>
                  <a:pt x="11267" y="4892"/>
                </a:lnTo>
                <a:lnTo>
                  <a:pt x="10658" y="4940"/>
                </a:lnTo>
                <a:lnTo>
                  <a:pt x="10634" y="4940"/>
                </a:lnTo>
                <a:lnTo>
                  <a:pt x="10634" y="4965"/>
                </a:lnTo>
                <a:lnTo>
                  <a:pt x="10634" y="4989"/>
                </a:lnTo>
                <a:lnTo>
                  <a:pt x="10658" y="5013"/>
                </a:lnTo>
                <a:lnTo>
                  <a:pt x="10902" y="5086"/>
                </a:lnTo>
                <a:lnTo>
                  <a:pt x="11169" y="5111"/>
                </a:lnTo>
                <a:lnTo>
                  <a:pt x="12021" y="5111"/>
                </a:lnTo>
                <a:lnTo>
                  <a:pt x="12362" y="5135"/>
                </a:lnTo>
                <a:lnTo>
                  <a:pt x="12556" y="5622"/>
                </a:lnTo>
                <a:lnTo>
                  <a:pt x="11461" y="5622"/>
                </a:lnTo>
                <a:lnTo>
                  <a:pt x="11291" y="5646"/>
                </a:lnTo>
                <a:lnTo>
                  <a:pt x="11145" y="5695"/>
                </a:lnTo>
                <a:lnTo>
                  <a:pt x="10999" y="5768"/>
                </a:lnTo>
                <a:lnTo>
                  <a:pt x="10975" y="5792"/>
                </a:lnTo>
                <a:lnTo>
                  <a:pt x="10999" y="5841"/>
                </a:lnTo>
                <a:lnTo>
                  <a:pt x="11267" y="5889"/>
                </a:lnTo>
                <a:lnTo>
                  <a:pt x="11534" y="5889"/>
                </a:lnTo>
                <a:lnTo>
                  <a:pt x="12070" y="5914"/>
                </a:lnTo>
                <a:lnTo>
                  <a:pt x="12654" y="5938"/>
                </a:lnTo>
                <a:lnTo>
                  <a:pt x="12702" y="6060"/>
                </a:lnTo>
                <a:lnTo>
                  <a:pt x="12727" y="6181"/>
                </a:lnTo>
                <a:lnTo>
                  <a:pt x="12386" y="6181"/>
                </a:lnTo>
                <a:lnTo>
                  <a:pt x="11729" y="6254"/>
                </a:lnTo>
                <a:lnTo>
                  <a:pt x="11413" y="6279"/>
                </a:lnTo>
                <a:lnTo>
                  <a:pt x="11121" y="6352"/>
                </a:lnTo>
                <a:lnTo>
                  <a:pt x="11096" y="6352"/>
                </a:lnTo>
                <a:lnTo>
                  <a:pt x="11096" y="6376"/>
                </a:lnTo>
                <a:lnTo>
                  <a:pt x="11096" y="6400"/>
                </a:lnTo>
                <a:lnTo>
                  <a:pt x="11121" y="6425"/>
                </a:lnTo>
                <a:lnTo>
                  <a:pt x="11388" y="6473"/>
                </a:lnTo>
                <a:lnTo>
                  <a:pt x="11656" y="6498"/>
                </a:lnTo>
                <a:lnTo>
                  <a:pt x="12508" y="6498"/>
                </a:lnTo>
                <a:lnTo>
                  <a:pt x="12824" y="6522"/>
                </a:lnTo>
                <a:lnTo>
                  <a:pt x="12873" y="6838"/>
                </a:lnTo>
                <a:lnTo>
                  <a:pt x="12556" y="6838"/>
                </a:lnTo>
                <a:lnTo>
                  <a:pt x="12240" y="6863"/>
                </a:lnTo>
                <a:lnTo>
                  <a:pt x="11753" y="6887"/>
                </a:lnTo>
                <a:lnTo>
                  <a:pt x="11510" y="6911"/>
                </a:lnTo>
                <a:lnTo>
                  <a:pt x="11267" y="6936"/>
                </a:lnTo>
                <a:lnTo>
                  <a:pt x="11242" y="6936"/>
                </a:lnTo>
                <a:lnTo>
                  <a:pt x="11242" y="6960"/>
                </a:lnTo>
                <a:lnTo>
                  <a:pt x="11242" y="7009"/>
                </a:lnTo>
                <a:lnTo>
                  <a:pt x="11267" y="7009"/>
                </a:lnTo>
                <a:lnTo>
                  <a:pt x="11461" y="7082"/>
                </a:lnTo>
                <a:lnTo>
                  <a:pt x="11680" y="7130"/>
                </a:lnTo>
                <a:lnTo>
                  <a:pt x="12727" y="7130"/>
                </a:lnTo>
                <a:lnTo>
                  <a:pt x="12921" y="7106"/>
                </a:lnTo>
                <a:lnTo>
                  <a:pt x="12994" y="7593"/>
                </a:lnTo>
                <a:lnTo>
                  <a:pt x="12994" y="7593"/>
                </a:lnTo>
                <a:lnTo>
                  <a:pt x="12848" y="7568"/>
                </a:lnTo>
                <a:lnTo>
                  <a:pt x="12702" y="7568"/>
                </a:lnTo>
                <a:lnTo>
                  <a:pt x="12435" y="7593"/>
                </a:lnTo>
                <a:lnTo>
                  <a:pt x="11997" y="7593"/>
                </a:lnTo>
                <a:lnTo>
                  <a:pt x="11778" y="7617"/>
                </a:lnTo>
                <a:lnTo>
                  <a:pt x="11559" y="7690"/>
                </a:lnTo>
                <a:lnTo>
                  <a:pt x="11534" y="7690"/>
                </a:lnTo>
                <a:lnTo>
                  <a:pt x="11534" y="7739"/>
                </a:lnTo>
                <a:lnTo>
                  <a:pt x="11534" y="7763"/>
                </a:lnTo>
                <a:lnTo>
                  <a:pt x="11559" y="7787"/>
                </a:lnTo>
                <a:lnTo>
                  <a:pt x="11778" y="7836"/>
                </a:lnTo>
                <a:lnTo>
                  <a:pt x="11997" y="7860"/>
                </a:lnTo>
                <a:lnTo>
                  <a:pt x="12435" y="7860"/>
                </a:lnTo>
                <a:lnTo>
                  <a:pt x="12702" y="7885"/>
                </a:lnTo>
                <a:lnTo>
                  <a:pt x="12848" y="7885"/>
                </a:lnTo>
                <a:lnTo>
                  <a:pt x="12994" y="7860"/>
                </a:lnTo>
                <a:lnTo>
                  <a:pt x="12994" y="7909"/>
                </a:lnTo>
                <a:lnTo>
                  <a:pt x="12994" y="8250"/>
                </a:lnTo>
                <a:lnTo>
                  <a:pt x="12873" y="8201"/>
                </a:lnTo>
                <a:lnTo>
                  <a:pt x="12775" y="8201"/>
                </a:lnTo>
                <a:lnTo>
                  <a:pt x="12532" y="8177"/>
                </a:lnTo>
                <a:lnTo>
                  <a:pt x="12094" y="8177"/>
                </a:lnTo>
                <a:lnTo>
                  <a:pt x="11875" y="8201"/>
                </a:lnTo>
                <a:lnTo>
                  <a:pt x="11656" y="8250"/>
                </a:lnTo>
                <a:lnTo>
                  <a:pt x="11656" y="8274"/>
                </a:lnTo>
                <a:lnTo>
                  <a:pt x="11632" y="8298"/>
                </a:lnTo>
                <a:lnTo>
                  <a:pt x="11656" y="8298"/>
                </a:lnTo>
                <a:lnTo>
                  <a:pt x="11656" y="8323"/>
                </a:lnTo>
                <a:lnTo>
                  <a:pt x="12045" y="8396"/>
                </a:lnTo>
                <a:lnTo>
                  <a:pt x="12410" y="8444"/>
                </a:lnTo>
                <a:lnTo>
                  <a:pt x="12702" y="8469"/>
                </a:lnTo>
                <a:lnTo>
                  <a:pt x="12824" y="8493"/>
                </a:lnTo>
                <a:lnTo>
                  <a:pt x="12970" y="8469"/>
                </a:lnTo>
                <a:lnTo>
                  <a:pt x="12873" y="8858"/>
                </a:lnTo>
                <a:lnTo>
                  <a:pt x="12654" y="8809"/>
                </a:lnTo>
                <a:lnTo>
                  <a:pt x="12483" y="8785"/>
                </a:lnTo>
                <a:lnTo>
                  <a:pt x="12264" y="8736"/>
                </a:lnTo>
                <a:lnTo>
                  <a:pt x="11826" y="8736"/>
                </a:lnTo>
                <a:lnTo>
                  <a:pt x="11607" y="8809"/>
                </a:lnTo>
                <a:lnTo>
                  <a:pt x="11583" y="8834"/>
                </a:lnTo>
                <a:lnTo>
                  <a:pt x="11583" y="8858"/>
                </a:lnTo>
                <a:lnTo>
                  <a:pt x="11583" y="8882"/>
                </a:lnTo>
                <a:lnTo>
                  <a:pt x="11851" y="8882"/>
                </a:lnTo>
                <a:lnTo>
                  <a:pt x="12094" y="8931"/>
                </a:lnTo>
                <a:lnTo>
                  <a:pt x="12556" y="9053"/>
                </a:lnTo>
                <a:lnTo>
                  <a:pt x="12775" y="9126"/>
                </a:lnTo>
                <a:lnTo>
                  <a:pt x="12654" y="9345"/>
                </a:lnTo>
                <a:lnTo>
                  <a:pt x="12508" y="9296"/>
                </a:lnTo>
                <a:lnTo>
                  <a:pt x="12313" y="9272"/>
                </a:lnTo>
                <a:lnTo>
                  <a:pt x="12143" y="9223"/>
                </a:lnTo>
                <a:lnTo>
                  <a:pt x="11972" y="9199"/>
                </a:lnTo>
                <a:lnTo>
                  <a:pt x="11607" y="9199"/>
                </a:lnTo>
                <a:lnTo>
                  <a:pt x="11583" y="9223"/>
                </a:lnTo>
                <a:lnTo>
                  <a:pt x="11583" y="9247"/>
                </a:lnTo>
                <a:lnTo>
                  <a:pt x="11583" y="9272"/>
                </a:lnTo>
                <a:lnTo>
                  <a:pt x="11924" y="9418"/>
                </a:lnTo>
                <a:lnTo>
                  <a:pt x="12240" y="9564"/>
                </a:lnTo>
                <a:lnTo>
                  <a:pt x="12532" y="9637"/>
                </a:lnTo>
                <a:lnTo>
                  <a:pt x="12337" y="9929"/>
                </a:lnTo>
                <a:lnTo>
                  <a:pt x="12337" y="9977"/>
                </a:lnTo>
                <a:lnTo>
                  <a:pt x="12167" y="9904"/>
                </a:lnTo>
                <a:lnTo>
                  <a:pt x="11997" y="9880"/>
                </a:lnTo>
                <a:lnTo>
                  <a:pt x="11802" y="9831"/>
                </a:lnTo>
                <a:lnTo>
                  <a:pt x="11242" y="9831"/>
                </a:lnTo>
                <a:lnTo>
                  <a:pt x="11218" y="9856"/>
                </a:lnTo>
                <a:lnTo>
                  <a:pt x="11218" y="9880"/>
                </a:lnTo>
                <a:lnTo>
                  <a:pt x="11242" y="9880"/>
                </a:lnTo>
                <a:lnTo>
                  <a:pt x="11534" y="10002"/>
                </a:lnTo>
                <a:lnTo>
                  <a:pt x="11851" y="10123"/>
                </a:lnTo>
                <a:lnTo>
                  <a:pt x="12167" y="10245"/>
                </a:lnTo>
                <a:lnTo>
                  <a:pt x="11972" y="10513"/>
                </a:lnTo>
                <a:lnTo>
                  <a:pt x="11826" y="10488"/>
                </a:lnTo>
                <a:lnTo>
                  <a:pt x="11413" y="10391"/>
                </a:lnTo>
                <a:lnTo>
                  <a:pt x="11023" y="10342"/>
                </a:lnTo>
                <a:lnTo>
                  <a:pt x="10975" y="10342"/>
                </a:lnTo>
                <a:lnTo>
                  <a:pt x="10975" y="10367"/>
                </a:lnTo>
                <a:lnTo>
                  <a:pt x="10975" y="10391"/>
                </a:lnTo>
                <a:lnTo>
                  <a:pt x="10999" y="10440"/>
                </a:lnTo>
                <a:lnTo>
                  <a:pt x="11145" y="10537"/>
                </a:lnTo>
                <a:lnTo>
                  <a:pt x="11315" y="10610"/>
                </a:lnTo>
                <a:lnTo>
                  <a:pt x="11632" y="10732"/>
                </a:lnTo>
                <a:lnTo>
                  <a:pt x="11802" y="10780"/>
                </a:lnTo>
                <a:lnTo>
                  <a:pt x="11656" y="10999"/>
                </a:lnTo>
                <a:lnTo>
                  <a:pt x="11510" y="10951"/>
                </a:lnTo>
                <a:lnTo>
                  <a:pt x="11364" y="10926"/>
                </a:lnTo>
                <a:lnTo>
                  <a:pt x="11072" y="10853"/>
                </a:lnTo>
                <a:lnTo>
                  <a:pt x="10950" y="10853"/>
                </a:lnTo>
                <a:lnTo>
                  <a:pt x="10804" y="10902"/>
                </a:lnTo>
                <a:lnTo>
                  <a:pt x="10780" y="10926"/>
                </a:lnTo>
                <a:lnTo>
                  <a:pt x="10756" y="10951"/>
                </a:lnTo>
                <a:lnTo>
                  <a:pt x="10756" y="10999"/>
                </a:lnTo>
                <a:lnTo>
                  <a:pt x="10780" y="11048"/>
                </a:lnTo>
                <a:lnTo>
                  <a:pt x="10902" y="11121"/>
                </a:lnTo>
                <a:lnTo>
                  <a:pt x="11023" y="11170"/>
                </a:lnTo>
                <a:lnTo>
                  <a:pt x="11267" y="11243"/>
                </a:lnTo>
                <a:lnTo>
                  <a:pt x="11461" y="11291"/>
                </a:lnTo>
                <a:lnTo>
                  <a:pt x="11242" y="11583"/>
                </a:lnTo>
                <a:lnTo>
                  <a:pt x="11072" y="11535"/>
                </a:lnTo>
                <a:lnTo>
                  <a:pt x="10877" y="11535"/>
                </a:lnTo>
                <a:lnTo>
                  <a:pt x="10683" y="11583"/>
                </a:lnTo>
                <a:lnTo>
                  <a:pt x="10658" y="11608"/>
                </a:lnTo>
                <a:lnTo>
                  <a:pt x="10683" y="11632"/>
                </a:lnTo>
                <a:lnTo>
                  <a:pt x="10829" y="11681"/>
                </a:lnTo>
                <a:lnTo>
                  <a:pt x="10975" y="11729"/>
                </a:lnTo>
                <a:lnTo>
                  <a:pt x="11096" y="11778"/>
                </a:lnTo>
                <a:lnTo>
                  <a:pt x="10877" y="12143"/>
                </a:lnTo>
                <a:lnTo>
                  <a:pt x="10829" y="12118"/>
                </a:lnTo>
                <a:lnTo>
                  <a:pt x="10658" y="12045"/>
                </a:lnTo>
                <a:lnTo>
                  <a:pt x="10561" y="11997"/>
                </a:lnTo>
                <a:lnTo>
                  <a:pt x="10464" y="11972"/>
                </a:lnTo>
                <a:lnTo>
                  <a:pt x="10439" y="11997"/>
                </a:lnTo>
                <a:lnTo>
                  <a:pt x="10439" y="12045"/>
                </a:lnTo>
                <a:lnTo>
                  <a:pt x="10488" y="12118"/>
                </a:lnTo>
                <a:lnTo>
                  <a:pt x="10585" y="12191"/>
                </a:lnTo>
                <a:lnTo>
                  <a:pt x="10756" y="12313"/>
                </a:lnTo>
                <a:lnTo>
                  <a:pt x="10561" y="12654"/>
                </a:lnTo>
                <a:lnTo>
                  <a:pt x="10415" y="12629"/>
                </a:lnTo>
                <a:lnTo>
                  <a:pt x="10172" y="12629"/>
                </a:lnTo>
                <a:lnTo>
                  <a:pt x="10026" y="12654"/>
                </a:lnTo>
                <a:lnTo>
                  <a:pt x="10026" y="12678"/>
                </a:lnTo>
                <a:lnTo>
                  <a:pt x="10026" y="12702"/>
                </a:lnTo>
                <a:lnTo>
                  <a:pt x="10245" y="12800"/>
                </a:lnTo>
                <a:lnTo>
                  <a:pt x="10439" y="12897"/>
                </a:lnTo>
                <a:lnTo>
                  <a:pt x="10196" y="13384"/>
                </a:lnTo>
                <a:lnTo>
                  <a:pt x="9880" y="13384"/>
                </a:lnTo>
                <a:lnTo>
                  <a:pt x="9904" y="13432"/>
                </a:lnTo>
                <a:lnTo>
                  <a:pt x="10147" y="13505"/>
                </a:lnTo>
                <a:lnTo>
                  <a:pt x="10074" y="13700"/>
                </a:lnTo>
                <a:lnTo>
                  <a:pt x="10026" y="13895"/>
                </a:lnTo>
                <a:lnTo>
                  <a:pt x="9953" y="14284"/>
                </a:lnTo>
                <a:lnTo>
                  <a:pt x="9880" y="14673"/>
                </a:lnTo>
                <a:lnTo>
                  <a:pt x="9807" y="15087"/>
                </a:lnTo>
                <a:lnTo>
                  <a:pt x="9101" y="15111"/>
                </a:lnTo>
                <a:lnTo>
                  <a:pt x="9247" y="14673"/>
                </a:lnTo>
                <a:lnTo>
                  <a:pt x="9344" y="14235"/>
                </a:lnTo>
                <a:lnTo>
                  <a:pt x="9539" y="13359"/>
                </a:lnTo>
                <a:lnTo>
                  <a:pt x="9734" y="12459"/>
                </a:lnTo>
                <a:lnTo>
                  <a:pt x="9855" y="12021"/>
                </a:lnTo>
                <a:lnTo>
                  <a:pt x="9977" y="11583"/>
                </a:lnTo>
                <a:lnTo>
                  <a:pt x="10269" y="10659"/>
                </a:lnTo>
                <a:lnTo>
                  <a:pt x="10537" y="9734"/>
                </a:lnTo>
                <a:lnTo>
                  <a:pt x="10658" y="9320"/>
                </a:lnTo>
                <a:lnTo>
                  <a:pt x="10756" y="8858"/>
                </a:lnTo>
                <a:lnTo>
                  <a:pt x="10780" y="8639"/>
                </a:lnTo>
                <a:lnTo>
                  <a:pt x="10780" y="8396"/>
                </a:lnTo>
                <a:lnTo>
                  <a:pt x="10756" y="8177"/>
                </a:lnTo>
                <a:lnTo>
                  <a:pt x="10707" y="7958"/>
                </a:lnTo>
                <a:lnTo>
                  <a:pt x="10683" y="7933"/>
                </a:lnTo>
                <a:lnTo>
                  <a:pt x="10634" y="7933"/>
                </a:lnTo>
                <a:lnTo>
                  <a:pt x="10610" y="7958"/>
                </a:lnTo>
                <a:lnTo>
                  <a:pt x="10537" y="8177"/>
                </a:lnTo>
                <a:lnTo>
                  <a:pt x="10464" y="8420"/>
                </a:lnTo>
                <a:lnTo>
                  <a:pt x="10366" y="8882"/>
                </a:lnTo>
                <a:lnTo>
                  <a:pt x="10293" y="9369"/>
                </a:lnTo>
                <a:lnTo>
                  <a:pt x="10172" y="9831"/>
                </a:lnTo>
                <a:lnTo>
                  <a:pt x="9904" y="10756"/>
                </a:lnTo>
                <a:lnTo>
                  <a:pt x="9588" y="11656"/>
                </a:lnTo>
                <a:lnTo>
                  <a:pt x="9466" y="12094"/>
                </a:lnTo>
                <a:lnTo>
                  <a:pt x="9369" y="12532"/>
                </a:lnTo>
                <a:lnTo>
                  <a:pt x="9174" y="13384"/>
                </a:lnTo>
                <a:lnTo>
                  <a:pt x="8979" y="14260"/>
                </a:lnTo>
                <a:lnTo>
                  <a:pt x="8858" y="14698"/>
                </a:lnTo>
                <a:lnTo>
                  <a:pt x="8736" y="15111"/>
                </a:lnTo>
                <a:lnTo>
                  <a:pt x="8128" y="15136"/>
                </a:lnTo>
                <a:lnTo>
                  <a:pt x="7519" y="15087"/>
                </a:lnTo>
                <a:lnTo>
                  <a:pt x="7179" y="15063"/>
                </a:lnTo>
                <a:lnTo>
                  <a:pt x="7154" y="15038"/>
                </a:lnTo>
                <a:lnTo>
                  <a:pt x="7081" y="14698"/>
                </a:lnTo>
                <a:lnTo>
                  <a:pt x="7033" y="14357"/>
                </a:lnTo>
                <a:lnTo>
                  <a:pt x="6935" y="13651"/>
                </a:lnTo>
                <a:lnTo>
                  <a:pt x="6765" y="12605"/>
                </a:lnTo>
                <a:lnTo>
                  <a:pt x="6570" y="11583"/>
                </a:lnTo>
                <a:lnTo>
                  <a:pt x="6230" y="9880"/>
                </a:lnTo>
                <a:lnTo>
                  <a:pt x="6060" y="9028"/>
                </a:lnTo>
                <a:lnTo>
                  <a:pt x="5841" y="8177"/>
                </a:lnTo>
                <a:lnTo>
                  <a:pt x="5816" y="8152"/>
                </a:lnTo>
                <a:lnTo>
                  <a:pt x="5768" y="8128"/>
                </a:lnTo>
                <a:lnTo>
                  <a:pt x="5743" y="8128"/>
                </a:lnTo>
                <a:lnTo>
                  <a:pt x="5695" y="8152"/>
                </a:lnTo>
                <a:lnTo>
                  <a:pt x="5646" y="8298"/>
                </a:lnTo>
                <a:lnTo>
                  <a:pt x="5646" y="8420"/>
                </a:lnTo>
                <a:lnTo>
                  <a:pt x="5646" y="8542"/>
                </a:lnTo>
                <a:lnTo>
                  <a:pt x="5646" y="8663"/>
                </a:lnTo>
                <a:lnTo>
                  <a:pt x="5719" y="8931"/>
                </a:lnTo>
                <a:lnTo>
                  <a:pt x="5768" y="9199"/>
                </a:lnTo>
                <a:lnTo>
                  <a:pt x="5865" y="9734"/>
                </a:lnTo>
                <a:lnTo>
                  <a:pt x="5962" y="10245"/>
                </a:lnTo>
                <a:lnTo>
                  <a:pt x="6035" y="10780"/>
                </a:lnTo>
                <a:lnTo>
                  <a:pt x="6133" y="11316"/>
                </a:lnTo>
                <a:lnTo>
                  <a:pt x="6327" y="12337"/>
                </a:lnTo>
                <a:lnTo>
                  <a:pt x="6522" y="13384"/>
                </a:lnTo>
                <a:lnTo>
                  <a:pt x="6570" y="13773"/>
                </a:lnTo>
                <a:lnTo>
                  <a:pt x="6619" y="14211"/>
                </a:lnTo>
                <a:lnTo>
                  <a:pt x="6668" y="14625"/>
                </a:lnTo>
                <a:lnTo>
                  <a:pt x="6716" y="14819"/>
                </a:lnTo>
                <a:lnTo>
                  <a:pt x="6765" y="15014"/>
                </a:lnTo>
                <a:lnTo>
                  <a:pt x="6497" y="15038"/>
                </a:lnTo>
                <a:lnTo>
                  <a:pt x="6473" y="14625"/>
                </a:lnTo>
                <a:lnTo>
                  <a:pt x="6400" y="14235"/>
                </a:lnTo>
                <a:lnTo>
                  <a:pt x="6279" y="13846"/>
                </a:lnTo>
                <a:lnTo>
                  <a:pt x="6133" y="13481"/>
                </a:lnTo>
                <a:lnTo>
                  <a:pt x="5938" y="13116"/>
                </a:lnTo>
                <a:lnTo>
                  <a:pt x="5743" y="12775"/>
                </a:lnTo>
                <a:lnTo>
                  <a:pt x="5281" y="12070"/>
                </a:lnTo>
                <a:lnTo>
                  <a:pt x="4746" y="11267"/>
                </a:lnTo>
                <a:lnTo>
                  <a:pt x="4210" y="10415"/>
                </a:lnTo>
                <a:lnTo>
                  <a:pt x="3967" y="9977"/>
                </a:lnTo>
                <a:lnTo>
                  <a:pt x="3724" y="9539"/>
                </a:lnTo>
                <a:lnTo>
                  <a:pt x="3529" y="9077"/>
                </a:lnTo>
                <a:lnTo>
                  <a:pt x="3359" y="8615"/>
                </a:lnTo>
                <a:lnTo>
                  <a:pt x="3286" y="8396"/>
                </a:lnTo>
                <a:lnTo>
                  <a:pt x="3261" y="8152"/>
                </a:lnTo>
                <a:lnTo>
                  <a:pt x="3237" y="7909"/>
                </a:lnTo>
                <a:lnTo>
                  <a:pt x="3237" y="7666"/>
                </a:lnTo>
                <a:lnTo>
                  <a:pt x="3261" y="7155"/>
                </a:lnTo>
                <a:lnTo>
                  <a:pt x="3310" y="6668"/>
                </a:lnTo>
                <a:lnTo>
                  <a:pt x="3334" y="6376"/>
                </a:lnTo>
                <a:lnTo>
                  <a:pt x="3407" y="6108"/>
                </a:lnTo>
                <a:lnTo>
                  <a:pt x="3480" y="5841"/>
                </a:lnTo>
                <a:lnTo>
                  <a:pt x="3578" y="5597"/>
                </a:lnTo>
                <a:lnTo>
                  <a:pt x="3699" y="5354"/>
                </a:lnTo>
                <a:lnTo>
                  <a:pt x="3845" y="5111"/>
                </a:lnTo>
                <a:lnTo>
                  <a:pt x="4016" y="4892"/>
                </a:lnTo>
                <a:lnTo>
                  <a:pt x="4186" y="4673"/>
                </a:lnTo>
                <a:lnTo>
                  <a:pt x="4648" y="4162"/>
                </a:lnTo>
                <a:lnTo>
                  <a:pt x="5062" y="3748"/>
                </a:lnTo>
                <a:lnTo>
                  <a:pt x="5403" y="3432"/>
                </a:lnTo>
                <a:lnTo>
                  <a:pt x="5743" y="3189"/>
                </a:lnTo>
                <a:lnTo>
                  <a:pt x="6060" y="3018"/>
                </a:lnTo>
                <a:lnTo>
                  <a:pt x="6352" y="2872"/>
                </a:lnTo>
                <a:lnTo>
                  <a:pt x="6668" y="2775"/>
                </a:lnTo>
                <a:lnTo>
                  <a:pt x="6984" y="2702"/>
                </a:lnTo>
                <a:lnTo>
                  <a:pt x="7276" y="2653"/>
                </a:lnTo>
                <a:lnTo>
                  <a:pt x="7568" y="2629"/>
                </a:lnTo>
                <a:lnTo>
                  <a:pt x="7860" y="2605"/>
                </a:lnTo>
                <a:close/>
                <a:moveTo>
                  <a:pt x="6716" y="15525"/>
                </a:moveTo>
                <a:lnTo>
                  <a:pt x="6619" y="15720"/>
                </a:lnTo>
                <a:lnTo>
                  <a:pt x="6352" y="16158"/>
                </a:lnTo>
                <a:lnTo>
                  <a:pt x="6279" y="16109"/>
                </a:lnTo>
                <a:lnTo>
                  <a:pt x="6230" y="16060"/>
                </a:lnTo>
                <a:lnTo>
                  <a:pt x="6206" y="15963"/>
                </a:lnTo>
                <a:lnTo>
                  <a:pt x="6206" y="15866"/>
                </a:lnTo>
                <a:lnTo>
                  <a:pt x="6206" y="15768"/>
                </a:lnTo>
                <a:lnTo>
                  <a:pt x="6230" y="15695"/>
                </a:lnTo>
                <a:lnTo>
                  <a:pt x="6279" y="15598"/>
                </a:lnTo>
                <a:lnTo>
                  <a:pt x="6327" y="15549"/>
                </a:lnTo>
                <a:lnTo>
                  <a:pt x="6595" y="15525"/>
                </a:lnTo>
                <a:close/>
                <a:moveTo>
                  <a:pt x="6887" y="15525"/>
                </a:moveTo>
                <a:lnTo>
                  <a:pt x="7276" y="15549"/>
                </a:lnTo>
                <a:lnTo>
                  <a:pt x="7641" y="15598"/>
                </a:lnTo>
                <a:lnTo>
                  <a:pt x="8225" y="15647"/>
                </a:lnTo>
                <a:lnTo>
                  <a:pt x="8809" y="15671"/>
                </a:lnTo>
                <a:lnTo>
                  <a:pt x="8541" y="15963"/>
                </a:lnTo>
                <a:lnTo>
                  <a:pt x="8298" y="16255"/>
                </a:lnTo>
                <a:lnTo>
                  <a:pt x="7909" y="16231"/>
                </a:lnTo>
                <a:lnTo>
                  <a:pt x="8249" y="15744"/>
                </a:lnTo>
                <a:lnTo>
                  <a:pt x="8249" y="15720"/>
                </a:lnTo>
                <a:lnTo>
                  <a:pt x="8225" y="15695"/>
                </a:lnTo>
                <a:lnTo>
                  <a:pt x="8201" y="15671"/>
                </a:lnTo>
                <a:lnTo>
                  <a:pt x="8176" y="15695"/>
                </a:lnTo>
                <a:lnTo>
                  <a:pt x="7690" y="16231"/>
                </a:lnTo>
                <a:lnTo>
                  <a:pt x="7179" y="16182"/>
                </a:lnTo>
                <a:lnTo>
                  <a:pt x="7325" y="15939"/>
                </a:lnTo>
                <a:lnTo>
                  <a:pt x="7471" y="15671"/>
                </a:lnTo>
                <a:lnTo>
                  <a:pt x="7471" y="15647"/>
                </a:lnTo>
                <a:lnTo>
                  <a:pt x="7446" y="15622"/>
                </a:lnTo>
                <a:lnTo>
                  <a:pt x="7422" y="15647"/>
                </a:lnTo>
                <a:lnTo>
                  <a:pt x="7203" y="15890"/>
                </a:lnTo>
                <a:lnTo>
                  <a:pt x="6935" y="16182"/>
                </a:lnTo>
                <a:lnTo>
                  <a:pt x="6741" y="16206"/>
                </a:lnTo>
                <a:lnTo>
                  <a:pt x="6570" y="16255"/>
                </a:lnTo>
                <a:lnTo>
                  <a:pt x="6668" y="16060"/>
                </a:lnTo>
                <a:lnTo>
                  <a:pt x="6814" y="15817"/>
                </a:lnTo>
                <a:lnTo>
                  <a:pt x="6862" y="15671"/>
                </a:lnTo>
                <a:lnTo>
                  <a:pt x="6887" y="15525"/>
                </a:lnTo>
                <a:close/>
                <a:moveTo>
                  <a:pt x="9661" y="15622"/>
                </a:moveTo>
                <a:lnTo>
                  <a:pt x="9734" y="15671"/>
                </a:lnTo>
                <a:lnTo>
                  <a:pt x="9807" y="15695"/>
                </a:lnTo>
                <a:lnTo>
                  <a:pt x="9953" y="15695"/>
                </a:lnTo>
                <a:lnTo>
                  <a:pt x="9782" y="15793"/>
                </a:lnTo>
                <a:lnTo>
                  <a:pt x="9661" y="15939"/>
                </a:lnTo>
                <a:lnTo>
                  <a:pt x="9539" y="16085"/>
                </a:lnTo>
                <a:lnTo>
                  <a:pt x="9417" y="16279"/>
                </a:lnTo>
                <a:lnTo>
                  <a:pt x="9271" y="16279"/>
                </a:lnTo>
                <a:lnTo>
                  <a:pt x="9612" y="15817"/>
                </a:lnTo>
                <a:lnTo>
                  <a:pt x="9612" y="15793"/>
                </a:lnTo>
                <a:lnTo>
                  <a:pt x="9612" y="15768"/>
                </a:lnTo>
                <a:lnTo>
                  <a:pt x="9563" y="15768"/>
                </a:lnTo>
                <a:lnTo>
                  <a:pt x="9320" y="16012"/>
                </a:lnTo>
                <a:lnTo>
                  <a:pt x="9077" y="16255"/>
                </a:lnTo>
                <a:lnTo>
                  <a:pt x="8517" y="16255"/>
                </a:lnTo>
                <a:lnTo>
                  <a:pt x="8882" y="15720"/>
                </a:lnTo>
                <a:lnTo>
                  <a:pt x="8906" y="15695"/>
                </a:lnTo>
                <a:lnTo>
                  <a:pt x="8882" y="15671"/>
                </a:lnTo>
                <a:lnTo>
                  <a:pt x="9271" y="15671"/>
                </a:lnTo>
                <a:lnTo>
                  <a:pt x="9661" y="15622"/>
                </a:lnTo>
                <a:close/>
                <a:moveTo>
                  <a:pt x="10074" y="15768"/>
                </a:moveTo>
                <a:lnTo>
                  <a:pt x="10074" y="15841"/>
                </a:lnTo>
                <a:lnTo>
                  <a:pt x="10099" y="15939"/>
                </a:lnTo>
                <a:lnTo>
                  <a:pt x="10074" y="16060"/>
                </a:lnTo>
                <a:lnTo>
                  <a:pt x="10050" y="16182"/>
                </a:lnTo>
                <a:lnTo>
                  <a:pt x="9977" y="16304"/>
                </a:lnTo>
                <a:lnTo>
                  <a:pt x="9758" y="16279"/>
                </a:lnTo>
                <a:lnTo>
                  <a:pt x="9880" y="16012"/>
                </a:lnTo>
                <a:lnTo>
                  <a:pt x="9977" y="15890"/>
                </a:lnTo>
                <a:lnTo>
                  <a:pt x="10074" y="15768"/>
                </a:lnTo>
                <a:close/>
                <a:moveTo>
                  <a:pt x="6522" y="16571"/>
                </a:moveTo>
                <a:lnTo>
                  <a:pt x="6595" y="16620"/>
                </a:lnTo>
                <a:lnTo>
                  <a:pt x="6424" y="16888"/>
                </a:lnTo>
                <a:lnTo>
                  <a:pt x="6376" y="17034"/>
                </a:lnTo>
                <a:lnTo>
                  <a:pt x="6327" y="17180"/>
                </a:lnTo>
                <a:lnTo>
                  <a:pt x="6254" y="17082"/>
                </a:lnTo>
                <a:lnTo>
                  <a:pt x="6230" y="16985"/>
                </a:lnTo>
                <a:lnTo>
                  <a:pt x="6206" y="16912"/>
                </a:lnTo>
                <a:lnTo>
                  <a:pt x="6230" y="16815"/>
                </a:lnTo>
                <a:lnTo>
                  <a:pt x="6254" y="16839"/>
                </a:lnTo>
                <a:lnTo>
                  <a:pt x="6303" y="16839"/>
                </a:lnTo>
                <a:lnTo>
                  <a:pt x="6352" y="16815"/>
                </a:lnTo>
                <a:lnTo>
                  <a:pt x="6376" y="16766"/>
                </a:lnTo>
                <a:lnTo>
                  <a:pt x="6424" y="16596"/>
                </a:lnTo>
                <a:lnTo>
                  <a:pt x="6449" y="16596"/>
                </a:lnTo>
                <a:lnTo>
                  <a:pt x="6522" y="16571"/>
                </a:lnTo>
                <a:close/>
                <a:moveTo>
                  <a:pt x="7884" y="16693"/>
                </a:moveTo>
                <a:lnTo>
                  <a:pt x="7957" y="16717"/>
                </a:lnTo>
                <a:lnTo>
                  <a:pt x="7787" y="16985"/>
                </a:lnTo>
                <a:lnTo>
                  <a:pt x="7617" y="17253"/>
                </a:lnTo>
                <a:lnTo>
                  <a:pt x="7592" y="17326"/>
                </a:lnTo>
                <a:lnTo>
                  <a:pt x="7300" y="17326"/>
                </a:lnTo>
                <a:lnTo>
                  <a:pt x="7398" y="17107"/>
                </a:lnTo>
                <a:lnTo>
                  <a:pt x="7519" y="16888"/>
                </a:lnTo>
                <a:lnTo>
                  <a:pt x="7617" y="16717"/>
                </a:lnTo>
                <a:lnTo>
                  <a:pt x="7884" y="16693"/>
                </a:lnTo>
                <a:close/>
                <a:moveTo>
                  <a:pt x="8225" y="16717"/>
                </a:moveTo>
                <a:lnTo>
                  <a:pt x="8736" y="16742"/>
                </a:lnTo>
                <a:lnTo>
                  <a:pt x="8541" y="17034"/>
                </a:lnTo>
                <a:lnTo>
                  <a:pt x="8371" y="17326"/>
                </a:lnTo>
                <a:lnTo>
                  <a:pt x="7909" y="17326"/>
                </a:lnTo>
                <a:lnTo>
                  <a:pt x="7933" y="17277"/>
                </a:lnTo>
                <a:lnTo>
                  <a:pt x="8225" y="16717"/>
                </a:lnTo>
                <a:close/>
                <a:moveTo>
                  <a:pt x="9223" y="16742"/>
                </a:moveTo>
                <a:lnTo>
                  <a:pt x="8979" y="17350"/>
                </a:lnTo>
                <a:lnTo>
                  <a:pt x="8663" y="17350"/>
                </a:lnTo>
                <a:lnTo>
                  <a:pt x="8979" y="16742"/>
                </a:lnTo>
                <a:close/>
                <a:moveTo>
                  <a:pt x="9928" y="16742"/>
                </a:moveTo>
                <a:lnTo>
                  <a:pt x="9661" y="17253"/>
                </a:lnTo>
                <a:lnTo>
                  <a:pt x="9612" y="17350"/>
                </a:lnTo>
                <a:lnTo>
                  <a:pt x="9320" y="17350"/>
                </a:lnTo>
                <a:lnTo>
                  <a:pt x="9563" y="16742"/>
                </a:lnTo>
                <a:close/>
                <a:moveTo>
                  <a:pt x="10147" y="16839"/>
                </a:moveTo>
                <a:lnTo>
                  <a:pt x="10220" y="16961"/>
                </a:lnTo>
                <a:lnTo>
                  <a:pt x="10245" y="17107"/>
                </a:lnTo>
                <a:lnTo>
                  <a:pt x="10220" y="17228"/>
                </a:lnTo>
                <a:lnTo>
                  <a:pt x="10147" y="17350"/>
                </a:lnTo>
                <a:lnTo>
                  <a:pt x="9928" y="17350"/>
                </a:lnTo>
                <a:lnTo>
                  <a:pt x="9953" y="17277"/>
                </a:lnTo>
                <a:lnTo>
                  <a:pt x="10050" y="17082"/>
                </a:lnTo>
                <a:lnTo>
                  <a:pt x="10147" y="16839"/>
                </a:lnTo>
                <a:close/>
                <a:moveTo>
                  <a:pt x="6862" y="16693"/>
                </a:moveTo>
                <a:lnTo>
                  <a:pt x="7081" y="16717"/>
                </a:lnTo>
                <a:lnTo>
                  <a:pt x="7300" y="16717"/>
                </a:lnTo>
                <a:lnTo>
                  <a:pt x="7106" y="17009"/>
                </a:lnTo>
                <a:lnTo>
                  <a:pt x="6935" y="17326"/>
                </a:lnTo>
                <a:lnTo>
                  <a:pt x="6741" y="17350"/>
                </a:lnTo>
                <a:lnTo>
                  <a:pt x="6570" y="17399"/>
                </a:lnTo>
                <a:lnTo>
                  <a:pt x="6619" y="17204"/>
                </a:lnTo>
                <a:lnTo>
                  <a:pt x="6692" y="17034"/>
                </a:lnTo>
                <a:lnTo>
                  <a:pt x="6862" y="16693"/>
                </a:lnTo>
                <a:close/>
                <a:moveTo>
                  <a:pt x="6473" y="17618"/>
                </a:moveTo>
                <a:lnTo>
                  <a:pt x="6643" y="17691"/>
                </a:lnTo>
                <a:lnTo>
                  <a:pt x="6814" y="17715"/>
                </a:lnTo>
                <a:lnTo>
                  <a:pt x="6789" y="17910"/>
                </a:lnTo>
                <a:lnTo>
                  <a:pt x="6765" y="18080"/>
                </a:lnTo>
                <a:lnTo>
                  <a:pt x="6643" y="17983"/>
                </a:lnTo>
                <a:lnTo>
                  <a:pt x="6546" y="17861"/>
                </a:lnTo>
                <a:lnTo>
                  <a:pt x="6352" y="17642"/>
                </a:lnTo>
                <a:lnTo>
                  <a:pt x="6376" y="17618"/>
                </a:lnTo>
                <a:lnTo>
                  <a:pt x="6424" y="17642"/>
                </a:lnTo>
                <a:lnTo>
                  <a:pt x="6473" y="17618"/>
                </a:lnTo>
                <a:close/>
                <a:moveTo>
                  <a:pt x="7398" y="17739"/>
                </a:moveTo>
                <a:lnTo>
                  <a:pt x="7300" y="18031"/>
                </a:lnTo>
                <a:lnTo>
                  <a:pt x="7252" y="18177"/>
                </a:lnTo>
                <a:lnTo>
                  <a:pt x="7252" y="18299"/>
                </a:lnTo>
                <a:lnTo>
                  <a:pt x="7008" y="18202"/>
                </a:lnTo>
                <a:lnTo>
                  <a:pt x="7154" y="17739"/>
                </a:lnTo>
                <a:close/>
                <a:moveTo>
                  <a:pt x="8833" y="17715"/>
                </a:moveTo>
                <a:lnTo>
                  <a:pt x="8785" y="17837"/>
                </a:lnTo>
                <a:lnTo>
                  <a:pt x="8736" y="17983"/>
                </a:lnTo>
                <a:lnTo>
                  <a:pt x="8712" y="18104"/>
                </a:lnTo>
                <a:lnTo>
                  <a:pt x="8736" y="18153"/>
                </a:lnTo>
                <a:lnTo>
                  <a:pt x="8736" y="18202"/>
                </a:lnTo>
                <a:lnTo>
                  <a:pt x="8809" y="18250"/>
                </a:lnTo>
                <a:lnTo>
                  <a:pt x="8882" y="18250"/>
                </a:lnTo>
                <a:lnTo>
                  <a:pt x="8931" y="18226"/>
                </a:lnTo>
                <a:lnTo>
                  <a:pt x="9004" y="18153"/>
                </a:lnTo>
                <a:lnTo>
                  <a:pt x="9125" y="17958"/>
                </a:lnTo>
                <a:lnTo>
                  <a:pt x="9198" y="17739"/>
                </a:lnTo>
                <a:lnTo>
                  <a:pt x="9393" y="17739"/>
                </a:lnTo>
                <a:lnTo>
                  <a:pt x="9369" y="17861"/>
                </a:lnTo>
                <a:lnTo>
                  <a:pt x="9369" y="18007"/>
                </a:lnTo>
                <a:lnTo>
                  <a:pt x="9125" y="18153"/>
                </a:lnTo>
                <a:lnTo>
                  <a:pt x="8833" y="18275"/>
                </a:lnTo>
                <a:lnTo>
                  <a:pt x="8566" y="18372"/>
                </a:lnTo>
                <a:lnTo>
                  <a:pt x="8249" y="18421"/>
                </a:lnTo>
                <a:lnTo>
                  <a:pt x="8274" y="18275"/>
                </a:lnTo>
                <a:lnTo>
                  <a:pt x="8371" y="17983"/>
                </a:lnTo>
                <a:lnTo>
                  <a:pt x="8468" y="17715"/>
                </a:lnTo>
                <a:close/>
                <a:moveTo>
                  <a:pt x="8176" y="17715"/>
                </a:moveTo>
                <a:lnTo>
                  <a:pt x="8030" y="18056"/>
                </a:lnTo>
                <a:lnTo>
                  <a:pt x="7957" y="18250"/>
                </a:lnTo>
                <a:lnTo>
                  <a:pt x="7933" y="18445"/>
                </a:lnTo>
                <a:lnTo>
                  <a:pt x="7738" y="18421"/>
                </a:lnTo>
                <a:lnTo>
                  <a:pt x="7568" y="18396"/>
                </a:lnTo>
                <a:lnTo>
                  <a:pt x="7568" y="18226"/>
                </a:lnTo>
                <a:lnTo>
                  <a:pt x="7641" y="17983"/>
                </a:lnTo>
                <a:lnTo>
                  <a:pt x="7738" y="17715"/>
                </a:lnTo>
                <a:close/>
                <a:moveTo>
                  <a:pt x="8128" y="2094"/>
                </a:moveTo>
                <a:lnTo>
                  <a:pt x="7714" y="2142"/>
                </a:lnTo>
                <a:lnTo>
                  <a:pt x="7325" y="2191"/>
                </a:lnTo>
                <a:lnTo>
                  <a:pt x="6935" y="2264"/>
                </a:lnTo>
                <a:lnTo>
                  <a:pt x="6546" y="2386"/>
                </a:lnTo>
                <a:lnTo>
                  <a:pt x="6181" y="2507"/>
                </a:lnTo>
                <a:lnTo>
                  <a:pt x="5841" y="2653"/>
                </a:lnTo>
                <a:lnTo>
                  <a:pt x="5500" y="2824"/>
                </a:lnTo>
                <a:lnTo>
                  <a:pt x="5184" y="3018"/>
                </a:lnTo>
                <a:lnTo>
                  <a:pt x="4892" y="3237"/>
                </a:lnTo>
                <a:lnTo>
                  <a:pt x="4551" y="3554"/>
                </a:lnTo>
                <a:lnTo>
                  <a:pt x="4210" y="3918"/>
                </a:lnTo>
                <a:lnTo>
                  <a:pt x="3918" y="4332"/>
                </a:lnTo>
                <a:lnTo>
                  <a:pt x="3626" y="4746"/>
                </a:lnTo>
                <a:lnTo>
                  <a:pt x="3383" y="5159"/>
                </a:lnTo>
                <a:lnTo>
                  <a:pt x="3164" y="5549"/>
                </a:lnTo>
                <a:lnTo>
                  <a:pt x="3018" y="5889"/>
                </a:lnTo>
                <a:lnTo>
                  <a:pt x="2921" y="6157"/>
                </a:lnTo>
                <a:lnTo>
                  <a:pt x="2823" y="6595"/>
                </a:lnTo>
                <a:lnTo>
                  <a:pt x="2775" y="7057"/>
                </a:lnTo>
                <a:lnTo>
                  <a:pt x="2750" y="7495"/>
                </a:lnTo>
                <a:lnTo>
                  <a:pt x="2775" y="7958"/>
                </a:lnTo>
                <a:lnTo>
                  <a:pt x="2823" y="8396"/>
                </a:lnTo>
                <a:lnTo>
                  <a:pt x="2921" y="8834"/>
                </a:lnTo>
                <a:lnTo>
                  <a:pt x="3067" y="9272"/>
                </a:lnTo>
                <a:lnTo>
                  <a:pt x="3237" y="9685"/>
                </a:lnTo>
                <a:lnTo>
                  <a:pt x="3602" y="10367"/>
                </a:lnTo>
                <a:lnTo>
                  <a:pt x="3991" y="11024"/>
                </a:lnTo>
                <a:lnTo>
                  <a:pt x="4843" y="12337"/>
                </a:lnTo>
                <a:lnTo>
                  <a:pt x="5281" y="13019"/>
                </a:lnTo>
                <a:lnTo>
                  <a:pt x="5476" y="13384"/>
                </a:lnTo>
                <a:lnTo>
                  <a:pt x="5646" y="13724"/>
                </a:lnTo>
                <a:lnTo>
                  <a:pt x="5792" y="14089"/>
                </a:lnTo>
                <a:lnTo>
                  <a:pt x="5914" y="14454"/>
                </a:lnTo>
                <a:lnTo>
                  <a:pt x="5987" y="14844"/>
                </a:lnTo>
                <a:lnTo>
                  <a:pt x="5987" y="15282"/>
                </a:lnTo>
                <a:lnTo>
                  <a:pt x="5962" y="15379"/>
                </a:lnTo>
                <a:lnTo>
                  <a:pt x="5962" y="15428"/>
                </a:lnTo>
                <a:lnTo>
                  <a:pt x="5889" y="15525"/>
                </a:lnTo>
                <a:lnTo>
                  <a:pt x="5841" y="15647"/>
                </a:lnTo>
                <a:lnTo>
                  <a:pt x="5816" y="15768"/>
                </a:lnTo>
                <a:lnTo>
                  <a:pt x="5792" y="15914"/>
                </a:lnTo>
                <a:lnTo>
                  <a:pt x="5816" y="16036"/>
                </a:lnTo>
                <a:lnTo>
                  <a:pt x="5841" y="16158"/>
                </a:lnTo>
                <a:lnTo>
                  <a:pt x="5889" y="16279"/>
                </a:lnTo>
                <a:lnTo>
                  <a:pt x="5962" y="16377"/>
                </a:lnTo>
                <a:lnTo>
                  <a:pt x="5865" y="16474"/>
                </a:lnTo>
                <a:lnTo>
                  <a:pt x="5792" y="16620"/>
                </a:lnTo>
                <a:lnTo>
                  <a:pt x="5768" y="16766"/>
                </a:lnTo>
                <a:lnTo>
                  <a:pt x="5768" y="16912"/>
                </a:lnTo>
                <a:lnTo>
                  <a:pt x="5768" y="17058"/>
                </a:lnTo>
                <a:lnTo>
                  <a:pt x="5816" y="17204"/>
                </a:lnTo>
                <a:lnTo>
                  <a:pt x="5889" y="17350"/>
                </a:lnTo>
                <a:lnTo>
                  <a:pt x="5987" y="17472"/>
                </a:lnTo>
                <a:lnTo>
                  <a:pt x="5962" y="17496"/>
                </a:lnTo>
                <a:lnTo>
                  <a:pt x="5914" y="17618"/>
                </a:lnTo>
                <a:lnTo>
                  <a:pt x="5914" y="17715"/>
                </a:lnTo>
                <a:lnTo>
                  <a:pt x="5938" y="17837"/>
                </a:lnTo>
                <a:lnTo>
                  <a:pt x="5987" y="17934"/>
                </a:lnTo>
                <a:lnTo>
                  <a:pt x="6133" y="18129"/>
                </a:lnTo>
                <a:lnTo>
                  <a:pt x="6303" y="18299"/>
                </a:lnTo>
                <a:lnTo>
                  <a:pt x="6424" y="18421"/>
                </a:lnTo>
                <a:lnTo>
                  <a:pt x="6570" y="18518"/>
                </a:lnTo>
                <a:lnTo>
                  <a:pt x="6862" y="18688"/>
                </a:lnTo>
                <a:lnTo>
                  <a:pt x="7179" y="18810"/>
                </a:lnTo>
                <a:lnTo>
                  <a:pt x="7495" y="18859"/>
                </a:lnTo>
                <a:lnTo>
                  <a:pt x="7738" y="18883"/>
                </a:lnTo>
                <a:lnTo>
                  <a:pt x="7982" y="18883"/>
                </a:lnTo>
                <a:lnTo>
                  <a:pt x="8030" y="18956"/>
                </a:lnTo>
                <a:lnTo>
                  <a:pt x="8079" y="18980"/>
                </a:lnTo>
                <a:lnTo>
                  <a:pt x="8128" y="18980"/>
                </a:lnTo>
                <a:lnTo>
                  <a:pt x="8176" y="18956"/>
                </a:lnTo>
                <a:lnTo>
                  <a:pt x="8201" y="18907"/>
                </a:lnTo>
                <a:lnTo>
                  <a:pt x="8201" y="18883"/>
                </a:lnTo>
                <a:lnTo>
                  <a:pt x="8493" y="18834"/>
                </a:lnTo>
                <a:lnTo>
                  <a:pt x="8785" y="18761"/>
                </a:lnTo>
                <a:lnTo>
                  <a:pt x="9052" y="18664"/>
                </a:lnTo>
                <a:lnTo>
                  <a:pt x="9320" y="18542"/>
                </a:lnTo>
                <a:lnTo>
                  <a:pt x="9563" y="18396"/>
                </a:lnTo>
                <a:lnTo>
                  <a:pt x="9807" y="18226"/>
                </a:lnTo>
                <a:lnTo>
                  <a:pt x="10050" y="18056"/>
                </a:lnTo>
                <a:lnTo>
                  <a:pt x="10269" y="17837"/>
                </a:lnTo>
                <a:lnTo>
                  <a:pt x="10318" y="17764"/>
                </a:lnTo>
                <a:lnTo>
                  <a:pt x="10342" y="17691"/>
                </a:lnTo>
                <a:lnTo>
                  <a:pt x="10464" y="17593"/>
                </a:lnTo>
                <a:lnTo>
                  <a:pt x="10537" y="17447"/>
                </a:lnTo>
                <a:lnTo>
                  <a:pt x="10585" y="17301"/>
                </a:lnTo>
                <a:lnTo>
                  <a:pt x="10634" y="17107"/>
                </a:lnTo>
                <a:lnTo>
                  <a:pt x="10634" y="16936"/>
                </a:lnTo>
                <a:lnTo>
                  <a:pt x="10585" y="16742"/>
                </a:lnTo>
                <a:lnTo>
                  <a:pt x="10512" y="16596"/>
                </a:lnTo>
                <a:lnTo>
                  <a:pt x="10391" y="16474"/>
                </a:lnTo>
                <a:lnTo>
                  <a:pt x="10488" y="16255"/>
                </a:lnTo>
                <a:lnTo>
                  <a:pt x="10537" y="16036"/>
                </a:lnTo>
                <a:lnTo>
                  <a:pt x="10537" y="15817"/>
                </a:lnTo>
                <a:lnTo>
                  <a:pt x="10488" y="15574"/>
                </a:lnTo>
                <a:lnTo>
                  <a:pt x="10415" y="15476"/>
                </a:lnTo>
                <a:lnTo>
                  <a:pt x="10342" y="15379"/>
                </a:lnTo>
                <a:lnTo>
                  <a:pt x="10342" y="15306"/>
                </a:lnTo>
                <a:lnTo>
                  <a:pt x="10415" y="14965"/>
                </a:lnTo>
                <a:lnTo>
                  <a:pt x="10464" y="14625"/>
                </a:lnTo>
                <a:lnTo>
                  <a:pt x="10512" y="14284"/>
                </a:lnTo>
                <a:lnTo>
                  <a:pt x="10585" y="13943"/>
                </a:lnTo>
                <a:lnTo>
                  <a:pt x="10658" y="13700"/>
                </a:lnTo>
                <a:lnTo>
                  <a:pt x="10756" y="13457"/>
                </a:lnTo>
                <a:lnTo>
                  <a:pt x="10999" y="12994"/>
                </a:lnTo>
                <a:lnTo>
                  <a:pt x="11023" y="12970"/>
                </a:lnTo>
                <a:lnTo>
                  <a:pt x="11023" y="12946"/>
                </a:lnTo>
                <a:lnTo>
                  <a:pt x="11340" y="12459"/>
                </a:lnTo>
                <a:lnTo>
                  <a:pt x="11632" y="11972"/>
                </a:lnTo>
                <a:lnTo>
                  <a:pt x="12191" y="11194"/>
                </a:lnTo>
                <a:lnTo>
                  <a:pt x="12483" y="10780"/>
                </a:lnTo>
                <a:lnTo>
                  <a:pt x="12751" y="10367"/>
                </a:lnTo>
                <a:lnTo>
                  <a:pt x="12994" y="9953"/>
                </a:lnTo>
                <a:lnTo>
                  <a:pt x="13213" y="9515"/>
                </a:lnTo>
                <a:lnTo>
                  <a:pt x="13384" y="9053"/>
                </a:lnTo>
                <a:lnTo>
                  <a:pt x="13457" y="8809"/>
                </a:lnTo>
                <a:lnTo>
                  <a:pt x="13505" y="8590"/>
                </a:lnTo>
                <a:lnTo>
                  <a:pt x="13554" y="8152"/>
                </a:lnTo>
                <a:lnTo>
                  <a:pt x="13554" y="7714"/>
                </a:lnTo>
                <a:lnTo>
                  <a:pt x="13505" y="7276"/>
                </a:lnTo>
                <a:lnTo>
                  <a:pt x="13432" y="6838"/>
                </a:lnTo>
                <a:lnTo>
                  <a:pt x="13335" y="6400"/>
                </a:lnTo>
                <a:lnTo>
                  <a:pt x="13213" y="5962"/>
                </a:lnTo>
                <a:lnTo>
                  <a:pt x="12946" y="5135"/>
                </a:lnTo>
                <a:lnTo>
                  <a:pt x="12800" y="4770"/>
                </a:lnTo>
                <a:lnTo>
                  <a:pt x="12605" y="4429"/>
                </a:lnTo>
                <a:lnTo>
                  <a:pt x="12386" y="4113"/>
                </a:lnTo>
                <a:lnTo>
                  <a:pt x="12143" y="3797"/>
                </a:lnTo>
                <a:lnTo>
                  <a:pt x="12143" y="3773"/>
                </a:lnTo>
                <a:lnTo>
                  <a:pt x="12094" y="3675"/>
                </a:lnTo>
                <a:lnTo>
                  <a:pt x="12021" y="3602"/>
                </a:lnTo>
                <a:lnTo>
                  <a:pt x="11948" y="3554"/>
                </a:lnTo>
                <a:lnTo>
                  <a:pt x="11851" y="3505"/>
                </a:lnTo>
                <a:lnTo>
                  <a:pt x="11607" y="3286"/>
                </a:lnTo>
                <a:lnTo>
                  <a:pt x="11340" y="3091"/>
                </a:lnTo>
                <a:lnTo>
                  <a:pt x="11072" y="2897"/>
                </a:lnTo>
                <a:lnTo>
                  <a:pt x="10804" y="2726"/>
                </a:lnTo>
                <a:lnTo>
                  <a:pt x="10464" y="2556"/>
                </a:lnTo>
                <a:lnTo>
                  <a:pt x="10099" y="2386"/>
                </a:lnTo>
                <a:lnTo>
                  <a:pt x="9709" y="2264"/>
                </a:lnTo>
                <a:lnTo>
                  <a:pt x="9320" y="2191"/>
                </a:lnTo>
                <a:lnTo>
                  <a:pt x="8931" y="2142"/>
                </a:lnTo>
                <a:lnTo>
                  <a:pt x="8517" y="2094"/>
                </a:lnTo>
                <a:close/>
              </a:path>
            </a:pathLst>
          </a:custGeom>
          <a:solidFill>
            <a:srgbClr val="FFC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2" name="Rectangle 51">
            <a:extLst>
              <a:ext uri="{FF2B5EF4-FFF2-40B4-BE49-F238E27FC236}">
                <a16:creationId xmlns:a16="http://schemas.microsoft.com/office/drawing/2014/main" id="{EB399DBE-0F83-8990-96D3-F78BB6ED7AE5}"/>
              </a:ext>
            </a:extLst>
          </p:cNvPr>
          <p:cNvSpPr/>
          <p:nvPr/>
        </p:nvSpPr>
        <p:spPr>
          <a:xfrm>
            <a:off x="7782839" y="3199962"/>
            <a:ext cx="2076980" cy="572351"/>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53" name="TextBox 52">
            <a:extLst>
              <a:ext uri="{FF2B5EF4-FFF2-40B4-BE49-F238E27FC236}">
                <a16:creationId xmlns:a16="http://schemas.microsoft.com/office/drawing/2014/main" id="{2F4D9977-F5EB-81C4-D8CB-DD3E20AFBAC8}"/>
              </a:ext>
            </a:extLst>
          </p:cNvPr>
          <p:cNvSpPr txBox="1"/>
          <p:nvPr/>
        </p:nvSpPr>
        <p:spPr bwMode="auto">
          <a:xfrm>
            <a:off x="8304365" y="3582888"/>
            <a:ext cx="1921203"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lang="da-DK" sz="1400">
                <a:latin typeface="Quicksand" panose="020B0604020202020204"/>
                <a:ea typeface="Verdana" pitchFamily="34" charset="0"/>
                <a:cs typeface="Verdana" pitchFamily="34" charset="0"/>
              </a:rPr>
              <a:t>Hvad tager jeg med mig?</a:t>
            </a:r>
            <a:endParaRPr kumimoji="0" lang="da-DK" sz="1400" b="0" i="0" u="none" strike="noStrike" kern="1200" cap="none" spc="0" normalizeH="0" baseline="0" noProof="0">
              <a:ln>
                <a:noFill/>
              </a:ln>
              <a:solidFill>
                <a:schemeClr val="tx1"/>
              </a:solidFill>
              <a:effectLst/>
              <a:uLnTx/>
              <a:uFillTx/>
              <a:latin typeface="Quicksand" panose="020B0604020202020204"/>
              <a:ea typeface="Verdana" pitchFamily="34" charset="0"/>
              <a:cs typeface="Verdana" pitchFamily="34" charset="0"/>
            </a:endParaRPr>
          </a:p>
        </p:txBody>
      </p:sp>
      <p:sp>
        <p:nvSpPr>
          <p:cNvPr id="54" name="TextBox 53">
            <a:extLst>
              <a:ext uri="{FF2B5EF4-FFF2-40B4-BE49-F238E27FC236}">
                <a16:creationId xmlns:a16="http://schemas.microsoft.com/office/drawing/2014/main" id="{0CA0BE43-5762-AAD9-DAF7-CC545E857A31}"/>
              </a:ext>
            </a:extLst>
          </p:cNvPr>
          <p:cNvSpPr txBox="1"/>
          <p:nvPr/>
        </p:nvSpPr>
        <p:spPr bwMode="auto">
          <a:xfrm>
            <a:off x="8313773" y="3251467"/>
            <a:ext cx="1469323" cy="36933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91" eaLnBrk="0" hangingPunct="0"/>
            <a:r>
              <a:rPr lang="da-DK" sz="2400" spc="0">
                <a:latin typeface="Quicksand" panose="020B0604020202020204"/>
              </a:rPr>
              <a:t>JA TAK!</a:t>
            </a:r>
          </a:p>
        </p:txBody>
      </p:sp>
      <p:sp>
        <p:nvSpPr>
          <p:cNvPr id="56" name="Shape 302">
            <a:extLst>
              <a:ext uri="{FF2B5EF4-FFF2-40B4-BE49-F238E27FC236}">
                <a16:creationId xmlns:a16="http://schemas.microsoft.com/office/drawing/2014/main" id="{E74CEFDD-6682-C64A-3598-85B650FEADF5}"/>
              </a:ext>
            </a:extLst>
          </p:cNvPr>
          <p:cNvSpPr>
            <a:spLocks noChangeAspect="1"/>
          </p:cNvSpPr>
          <p:nvPr/>
        </p:nvSpPr>
        <p:spPr>
          <a:xfrm>
            <a:off x="7709132" y="3260261"/>
            <a:ext cx="521526" cy="428455"/>
          </a:xfrm>
          <a:custGeom>
            <a:avLst/>
            <a:gdLst/>
            <a:ahLst/>
            <a:cxnLst/>
            <a:rect l="0" t="0" r="0" b="0"/>
            <a:pathLst>
              <a:path w="17228" h="15233" extrusionOk="0">
                <a:moveTo>
                  <a:pt x="3918" y="535"/>
                </a:moveTo>
                <a:lnTo>
                  <a:pt x="4380" y="584"/>
                </a:lnTo>
                <a:lnTo>
                  <a:pt x="4842" y="657"/>
                </a:lnTo>
                <a:lnTo>
                  <a:pt x="5280" y="779"/>
                </a:lnTo>
                <a:lnTo>
                  <a:pt x="5767" y="973"/>
                </a:lnTo>
                <a:lnTo>
                  <a:pt x="6253" y="1192"/>
                </a:lnTo>
                <a:lnTo>
                  <a:pt x="6716" y="1436"/>
                </a:lnTo>
                <a:lnTo>
                  <a:pt x="7154" y="1728"/>
                </a:lnTo>
                <a:lnTo>
                  <a:pt x="7446" y="1898"/>
                </a:lnTo>
                <a:lnTo>
                  <a:pt x="7762" y="2117"/>
                </a:lnTo>
                <a:lnTo>
                  <a:pt x="7908" y="2239"/>
                </a:lnTo>
                <a:lnTo>
                  <a:pt x="8054" y="2385"/>
                </a:lnTo>
                <a:lnTo>
                  <a:pt x="8200" y="2531"/>
                </a:lnTo>
                <a:lnTo>
                  <a:pt x="8297" y="2677"/>
                </a:lnTo>
                <a:lnTo>
                  <a:pt x="8297" y="2774"/>
                </a:lnTo>
                <a:lnTo>
                  <a:pt x="8297" y="2847"/>
                </a:lnTo>
                <a:lnTo>
                  <a:pt x="8346" y="2920"/>
                </a:lnTo>
                <a:lnTo>
                  <a:pt x="8395" y="2993"/>
                </a:lnTo>
                <a:lnTo>
                  <a:pt x="8395" y="3115"/>
                </a:lnTo>
                <a:lnTo>
                  <a:pt x="8419" y="3188"/>
                </a:lnTo>
                <a:lnTo>
                  <a:pt x="8468" y="3212"/>
                </a:lnTo>
                <a:lnTo>
                  <a:pt x="8541" y="3212"/>
                </a:lnTo>
                <a:lnTo>
                  <a:pt x="8589" y="3188"/>
                </a:lnTo>
                <a:lnTo>
                  <a:pt x="8711" y="3066"/>
                </a:lnTo>
                <a:lnTo>
                  <a:pt x="8784" y="2920"/>
                </a:lnTo>
                <a:lnTo>
                  <a:pt x="8833" y="2774"/>
                </a:lnTo>
                <a:lnTo>
                  <a:pt x="8808" y="2628"/>
                </a:lnTo>
                <a:lnTo>
                  <a:pt x="8930" y="2482"/>
                </a:lnTo>
                <a:lnTo>
                  <a:pt x="9076" y="2360"/>
                </a:lnTo>
                <a:lnTo>
                  <a:pt x="9441" y="2093"/>
                </a:lnTo>
                <a:lnTo>
                  <a:pt x="10001" y="1728"/>
                </a:lnTo>
                <a:lnTo>
                  <a:pt x="10439" y="1460"/>
                </a:lnTo>
                <a:lnTo>
                  <a:pt x="10925" y="1192"/>
                </a:lnTo>
                <a:lnTo>
                  <a:pt x="11412" y="949"/>
                </a:lnTo>
                <a:lnTo>
                  <a:pt x="11899" y="754"/>
                </a:lnTo>
                <a:lnTo>
                  <a:pt x="12045" y="681"/>
                </a:lnTo>
                <a:lnTo>
                  <a:pt x="12215" y="657"/>
                </a:lnTo>
                <a:lnTo>
                  <a:pt x="12580" y="608"/>
                </a:lnTo>
                <a:lnTo>
                  <a:pt x="12945" y="633"/>
                </a:lnTo>
                <a:lnTo>
                  <a:pt x="13286" y="633"/>
                </a:lnTo>
                <a:lnTo>
                  <a:pt x="13626" y="657"/>
                </a:lnTo>
                <a:lnTo>
                  <a:pt x="13967" y="730"/>
                </a:lnTo>
                <a:lnTo>
                  <a:pt x="14283" y="803"/>
                </a:lnTo>
                <a:lnTo>
                  <a:pt x="14599" y="925"/>
                </a:lnTo>
                <a:lnTo>
                  <a:pt x="14551" y="998"/>
                </a:lnTo>
                <a:lnTo>
                  <a:pt x="14526" y="1095"/>
                </a:lnTo>
                <a:lnTo>
                  <a:pt x="14551" y="1144"/>
                </a:lnTo>
                <a:lnTo>
                  <a:pt x="14575" y="1192"/>
                </a:lnTo>
                <a:lnTo>
                  <a:pt x="14624" y="1217"/>
                </a:lnTo>
                <a:lnTo>
                  <a:pt x="14672" y="1217"/>
                </a:lnTo>
                <a:lnTo>
                  <a:pt x="14770" y="1168"/>
                </a:lnTo>
                <a:lnTo>
                  <a:pt x="14867" y="1119"/>
                </a:lnTo>
                <a:lnTo>
                  <a:pt x="14964" y="1095"/>
                </a:lnTo>
                <a:lnTo>
                  <a:pt x="15135" y="1192"/>
                </a:lnTo>
                <a:lnTo>
                  <a:pt x="15062" y="1265"/>
                </a:lnTo>
                <a:lnTo>
                  <a:pt x="15013" y="1338"/>
                </a:lnTo>
                <a:lnTo>
                  <a:pt x="15013" y="1436"/>
                </a:lnTo>
                <a:lnTo>
                  <a:pt x="15037" y="1509"/>
                </a:lnTo>
                <a:lnTo>
                  <a:pt x="15110" y="1533"/>
                </a:lnTo>
                <a:lnTo>
                  <a:pt x="15208" y="1533"/>
                </a:lnTo>
                <a:lnTo>
                  <a:pt x="15427" y="1411"/>
                </a:lnTo>
                <a:lnTo>
                  <a:pt x="15573" y="1509"/>
                </a:lnTo>
                <a:lnTo>
                  <a:pt x="15451" y="1679"/>
                </a:lnTo>
                <a:lnTo>
                  <a:pt x="15378" y="1849"/>
                </a:lnTo>
                <a:lnTo>
                  <a:pt x="15378" y="1995"/>
                </a:lnTo>
                <a:lnTo>
                  <a:pt x="15378" y="2044"/>
                </a:lnTo>
                <a:lnTo>
                  <a:pt x="15427" y="2068"/>
                </a:lnTo>
                <a:lnTo>
                  <a:pt x="15524" y="2068"/>
                </a:lnTo>
                <a:lnTo>
                  <a:pt x="15597" y="2020"/>
                </a:lnTo>
                <a:lnTo>
                  <a:pt x="15743" y="1898"/>
                </a:lnTo>
                <a:lnTo>
                  <a:pt x="15840" y="1801"/>
                </a:lnTo>
                <a:lnTo>
                  <a:pt x="15986" y="1971"/>
                </a:lnTo>
                <a:lnTo>
                  <a:pt x="15865" y="2093"/>
                </a:lnTo>
                <a:lnTo>
                  <a:pt x="15767" y="2239"/>
                </a:lnTo>
                <a:lnTo>
                  <a:pt x="15694" y="2385"/>
                </a:lnTo>
                <a:lnTo>
                  <a:pt x="15670" y="2458"/>
                </a:lnTo>
                <a:lnTo>
                  <a:pt x="15670" y="2531"/>
                </a:lnTo>
                <a:lnTo>
                  <a:pt x="15719" y="2506"/>
                </a:lnTo>
                <a:lnTo>
                  <a:pt x="15792" y="2482"/>
                </a:lnTo>
                <a:lnTo>
                  <a:pt x="15889" y="2433"/>
                </a:lnTo>
                <a:lnTo>
                  <a:pt x="15986" y="2360"/>
                </a:lnTo>
                <a:lnTo>
                  <a:pt x="16157" y="2239"/>
                </a:lnTo>
                <a:lnTo>
                  <a:pt x="16327" y="2579"/>
                </a:lnTo>
                <a:lnTo>
                  <a:pt x="16157" y="2701"/>
                </a:lnTo>
                <a:lnTo>
                  <a:pt x="15913" y="2944"/>
                </a:lnTo>
                <a:lnTo>
                  <a:pt x="15792" y="3066"/>
                </a:lnTo>
                <a:lnTo>
                  <a:pt x="15694" y="3212"/>
                </a:lnTo>
                <a:lnTo>
                  <a:pt x="15694" y="3261"/>
                </a:lnTo>
                <a:lnTo>
                  <a:pt x="15694" y="3309"/>
                </a:lnTo>
                <a:lnTo>
                  <a:pt x="15743" y="3334"/>
                </a:lnTo>
                <a:lnTo>
                  <a:pt x="15792" y="3334"/>
                </a:lnTo>
                <a:lnTo>
                  <a:pt x="15938" y="3285"/>
                </a:lnTo>
                <a:lnTo>
                  <a:pt x="16059" y="3212"/>
                </a:lnTo>
                <a:lnTo>
                  <a:pt x="16327" y="3017"/>
                </a:lnTo>
                <a:lnTo>
                  <a:pt x="16449" y="2944"/>
                </a:lnTo>
                <a:lnTo>
                  <a:pt x="16570" y="3431"/>
                </a:lnTo>
                <a:lnTo>
                  <a:pt x="16497" y="3480"/>
                </a:lnTo>
                <a:lnTo>
                  <a:pt x="16400" y="3553"/>
                </a:lnTo>
                <a:lnTo>
                  <a:pt x="16303" y="3650"/>
                </a:lnTo>
                <a:lnTo>
                  <a:pt x="16181" y="3747"/>
                </a:lnTo>
                <a:lnTo>
                  <a:pt x="15962" y="3893"/>
                </a:lnTo>
                <a:lnTo>
                  <a:pt x="15889" y="3991"/>
                </a:lnTo>
                <a:lnTo>
                  <a:pt x="15816" y="4112"/>
                </a:lnTo>
                <a:lnTo>
                  <a:pt x="15792" y="4137"/>
                </a:lnTo>
                <a:lnTo>
                  <a:pt x="15816" y="4185"/>
                </a:lnTo>
                <a:lnTo>
                  <a:pt x="15865" y="4210"/>
                </a:lnTo>
                <a:lnTo>
                  <a:pt x="15889" y="4185"/>
                </a:lnTo>
                <a:lnTo>
                  <a:pt x="16254" y="4064"/>
                </a:lnTo>
                <a:lnTo>
                  <a:pt x="16449" y="3966"/>
                </a:lnTo>
                <a:lnTo>
                  <a:pt x="16643" y="3869"/>
                </a:lnTo>
                <a:lnTo>
                  <a:pt x="16643" y="4039"/>
                </a:lnTo>
                <a:lnTo>
                  <a:pt x="16668" y="4185"/>
                </a:lnTo>
                <a:lnTo>
                  <a:pt x="16546" y="4234"/>
                </a:lnTo>
                <a:lnTo>
                  <a:pt x="16424" y="4283"/>
                </a:lnTo>
                <a:lnTo>
                  <a:pt x="16205" y="4404"/>
                </a:lnTo>
                <a:lnTo>
                  <a:pt x="15962" y="4575"/>
                </a:lnTo>
                <a:lnTo>
                  <a:pt x="15840" y="4672"/>
                </a:lnTo>
                <a:lnTo>
                  <a:pt x="15719" y="4769"/>
                </a:lnTo>
                <a:lnTo>
                  <a:pt x="15719" y="4842"/>
                </a:lnTo>
                <a:lnTo>
                  <a:pt x="15743" y="4867"/>
                </a:lnTo>
                <a:lnTo>
                  <a:pt x="15767" y="4867"/>
                </a:lnTo>
                <a:lnTo>
                  <a:pt x="16059" y="4818"/>
                </a:lnTo>
                <a:lnTo>
                  <a:pt x="16351" y="4721"/>
                </a:lnTo>
                <a:lnTo>
                  <a:pt x="16692" y="4623"/>
                </a:lnTo>
                <a:lnTo>
                  <a:pt x="16668" y="4940"/>
                </a:lnTo>
                <a:lnTo>
                  <a:pt x="16668" y="5256"/>
                </a:lnTo>
                <a:lnTo>
                  <a:pt x="16449" y="5280"/>
                </a:lnTo>
                <a:lnTo>
                  <a:pt x="16230" y="5329"/>
                </a:lnTo>
                <a:lnTo>
                  <a:pt x="16059" y="5378"/>
                </a:lnTo>
                <a:lnTo>
                  <a:pt x="15889" y="5426"/>
                </a:lnTo>
                <a:lnTo>
                  <a:pt x="15548" y="5572"/>
                </a:lnTo>
                <a:lnTo>
                  <a:pt x="15548" y="5597"/>
                </a:lnTo>
                <a:lnTo>
                  <a:pt x="15573" y="5621"/>
                </a:lnTo>
                <a:lnTo>
                  <a:pt x="15816" y="5645"/>
                </a:lnTo>
                <a:lnTo>
                  <a:pt x="16084" y="5670"/>
                </a:lnTo>
                <a:lnTo>
                  <a:pt x="16351" y="5694"/>
                </a:lnTo>
                <a:lnTo>
                  <a:pt x="16619" y="5694"/>
                </a:lnTo>
                <a:lnTo>
                  <a:pt x="16546" y="6010"/>
                </a:lnTo>
                <a:lnTo>
                  <a:pt x="16473" y="6327"/>
                </a:lnTo>
                <a:lnTo>
                  <a:pt x="16351" y="6278"/>
                </a:lnTo>
                <a:lnTo>
                  <a:pt x="16205" y="6229"/>
                </a:lnTo>
                <a:lnTo>
                  <a:pt x="15938" y="6181"/>
                </a:lnTo>
                <a:lnTo>
                  <a:pt x="15670" y="6156"/>
                </a:lnTo>
                <a:lnTo>
                  <a:pt x="15402" y="6156"/>
                </a:lnTo>
                <a:lnTo>
                  <a:pt x="15354" y="6205"/>
                </a:lnTo>
                <a:lnTo>
                  <a:pt x="15354" y="6254"/>
                </a:lnTo>
                <a:lnTo>
                  <a:pt x="15378" y="6327"/>
                </a:lnTo>
                <a:lnTo>
                  <a:pt x="15427" y="6375"/>
                </a:lnTo>
                <a:lnTo>
                  <a:pt x="15500" y="6424"/>
                </a:lnTo>
                <a:lnTo>
                  <a:pt x="15573" y="6472"/>
                </a:lnTo>
                <a:lnTo>
                  <a:pt x="15743" y="6521"/>
                </a:lnTo>
                <a:lnTo>
                  <a:pt x="15889" y="6545"/>
                </a:lnTo>
                <a:lnTo>
                  <a:pt x="16108" y="6618"/>
                </a:lnTo>
                <a:lnTo>
                  <a:pt x="16351" y="6691"/>
                </a:lnTo>
                <a:lnTo>
                  <a:pt x="16376" y="6716"/>
                </a:lnTo>
                <a:lnTo>
                  <a:pt x="16254" y="7032"/>
                </a:lnTo>
                <a:lnTo>
                  <a:pt x="16084" y="7008"/>
                </a:lnTo>
                <a:lnTo>
                  <a:pt x="15889" y="6959"/>
                </a:lnTo>
                <a:lnTo>
                  <a:pt x="15524" y="6862"/>
                </a:lnTo>
                <a:lnTo>
                  <a:pt x="15329" y="6837"/>
                </a:lnTo>
                <a:lnTo>
                  <a:pt x="15159" y="6837"/>
                </a:lnTo>
                <a:lnTo>
                  <a:pt x="14964" y="6862"/>
                </a:lnTo>
                <a:lnTo>
                  <a:pt x="14794" y="6935"/>
                </a:lnTo>
                <a:lnTo>
                  <a:pt x="14770" y="6983"/>
                </a:lnTo>
                <a:lnTo>
                  <a:pt x="14770" y="7008"/>
                </a:lnTo>
                <a:lnTo>
                  <a:pt x="14770" y="7056"/>
                </a:lnTo>
                <a:lnTo>
                  <a:pt x="14818" y="7081"/>
                </a:lnTo>
                <a:lnTo>
                  <a:pt x="15135" y="7178"/>
                </a:lnTo>
                <a:lnTo>
                  <a:pt x="15451" y="7300"/>
                </a:lnTo>
                <a:lnTo>
                  <a:pt x="15767" y="7397"/>
                </a:lnTo>
                <a:lnTo>
                  <a:pt x="16084" y="7470"/>
                </a:lnTo>
                <a:lnTo>
                  <a:pt x="15889" y="7884"/>
                </a:lnTo>
                <a:lnTo>
                  <a:pt x="15719" y="7786"/>
                </a:lnTo>
                <a:lnTo>
                  <a:pt x="15524" y="7738"/>
                </a:lnTo>
                <a:lnTo>
                  <a:pt x="15183" y="7665"/>
                </a:lnTo>
                <a:lnTo>
                  <a:pt x="14940" y="7616"/>
                </a:lnTo>
                <a:lnTo>
                  <a:pt x="14721" y="7567"/>
                </a:lnTo>
                <a:lnTo>
                  <a:pt x="14502" y="7543"/>
                </a:lnTo>
                <a:lnTo>
                  <a:pt x="14259" y="7567"/>
                </a:lnTo>
                <a:lnTo>
                  <a:pt x="14210" y="7592"/>
                </a:lnTo>
                <a:lnTo>
                  <a:pt x="14186" y="7640"/>
                </a:lnTo>
                <a:lnTo>
                  <a:pt x="14186" y="7689"/>
                </a:lnTo>
                <a:lnTo>
                  <a:pt x="14234" y="7713"/>
                </a:lnTo>
                <a:lnTo>
                  <a:pt x="14721" y="7884"/>
                </a:lnTo>
                <a:lnTo>
                  <a:pt x="15183" y="8078"/>
                </a:lnTo>
                <a:lnTo>
                  <a:pt x="15427" y="8151"/>
                </a:lnTo>
                <a:lnTo>
                  <a:pt x="15573" y="8176"/>
                </a:lnTo>
                <a:lnTo>
                  <a:pt x="15694" y="8200"/>
                </a:lnTo>
                <a:lnTo>
                  <a:pt x="15427" y="8638"/>
                </a:lnTo>
                <a:lnTo>
                  <a:pt x="15378" y="8614"/>
                </a:lnTo>
                <a:lnTo>
                  <a:pt x="14818" y="8565"/>
                </a:lnTo>
                <a:lnTo>
                  <a:pt x="14551" y="8516"/>
                </a:lnTo>
                <a:lnTo>
                  <a:pt x="14283" y="8468"/>
                </a:lnTo>
                <a:lnTo>
                  <a:pt x="13821" y="8370"/>
                </a:lnTo>
                <a:lnTo>
                  <a:pt x="13578" y="8322"/>
                </a:lnTo>
                <a:lnTo>
                  <a:pt x="13334" y="8322"/>
                </a:lnTo>
                <a:lnTo>
                  <a:pt x="13310" y="8346"/>
                </a:lnTo>
                <a:lnTo>
                  <a:pt x="13286" y="8370"/>
                </a:lnTo>
                <a:lnTo>
                  <a:pt x="13286" y="8395"/>
                </a:lnTo>
                <a:lnTo>
                  <a:pt x="13310" y="8419"/>
                </a:lnTo>
                <a:lnTo>
                  <a:pt x="13553" y="8541"/>
                </a:lnTo>
                <a:lnTo>
                  <a:pt x="13821" y="8638"/>
                </a:lnTo>
                <a:lnTo>
                  <a:pt x="14332" y="8808"/>
                </a:lnTo>
                <a:lnTo>
                  <a:pt x="14551" y="8857"/>
                </a:lnTo>
                <a:lnTo>
                  <a:pt x="14770" y="8906"/>
                </a:lnTo>
                <a:lnTo>
                  <a:pt x="15013" y="8930"/>
                </a:lnTo>
                <a:lnTo>
                  <a:pt x="15232" y="8930"/>
                </a:lnTo>
                <a:lnTo>
                  <a:pt x="14818" y="9465"/>
                </a:lnTo>
                <a:lnTo>
                  <a:pt x="14648" y="9417"/>
                </a:lnTo>
                <a:lnTo>
                  <a:pt x="14453" y="9368"/>
                </a:lnTo>
                <a:lnTo>
                  <a:pt x="14088" y="9319"/>
                </a:lnTo>
                <a:lnTo>
                  <a:pt x="13797" y="9271"/>
                </a:lnTo>
                <a:lnTo>
                  <a:pt x="13480" y="9198"/>
                </a:lnTo>
                <a:lnTo>
                  <a:pt x="13188" y="9100"/>
                </a:lnTo>
                <a:lnTo>
                  <a:pt x="12921" y="8979"/>
                </a:lnTo>
                <a:lnTo>
                  <a:pt x="12872" y="8979"/>
                </a:lnTo>
                <a:lnTo>
                  <a:pt x="12872" y="9027"/>
                </a:lnTo>
                <a:lnTo>
                  <a:pt x="12945" y="9125"/>
                </a:lnTo>
                <a:lnTo>
                  <a:pt x="13018" y="9222"/>
                </a:lnTo>
                <a:lnTo>
                  <a:pt x="13115" y="9319"/>
                </a:lnTo>
                <a:lnTo>
                  <a:pt x="13213" y="9392"/>
                </a:lnTo>
                <a:lnTo>
                  <a:pt x="13432" y="9490"/>
                </a:lnTo>
                <a:lnTo>
                  <a:pt x="13675" y="9587"/>
                </a:lnTo>
                <a:lnTo>
                  <a:pt x="13991" y="9684"/>
                </a:lnTo>
                <a:lnTo>
                  <a:pt x="14332" y="9733"/>
                </a:lnTo>
                <a:lnTo>
                  <a:pt x="14551" y="9806"/>
                </a:lnTo>
                <a:lnTo>
                  <a:pt x="14186" y="10195"/>
                </a:lnTo>
                <a:lnTo>
                  <a:pt x="14137" y="10098"/>
                </a:lnTo>
                <a:lnTo>
                  <a:pt x="14064" y="10049"/>
                </a:lnTo>
                <a:lnTo>
                  <a:pt x="13651" y="9928"/>
                </a:lnTo>
                <a:lnTo>
                  <a:pt x="13213" y="9782"/>
                </a:lnTo>
                <a:lnTo>
                  <a:pt x="12799" y="9660"/>
                </a:lnTo>
                <a:lnTo>
                  <a:pt x="12580" y="9611"/>
                </a:lnTo>
                <a:lnTo>
                  <a:pt x="12337" y="9611"/>
                </a:lnTo>
                <a:lnTo>
                  <a:pt x="12337" y="9636"/>
                </a:lnTo>
                <a:lnTo>
                  <a:pt x="12337" y="9660"/>
                </a:lnTo>
                <a:lnTo>
                  <a:pt x="12702" y="9903"/>
                </a:lnTo>
                <a:lnTo>
                  <a:pt x="13115" y="10122"/>
                </a:lnTo>
                <a:lnTo>
                  <a:pt x="13529" y="10293"/>
                </a:lnTo>
                <a:lnTo>
                  <a:pt x="13967" y="10439"/>
                </a:lnTo>
                <a:lnTo>
                  <a:pt x="13505" y="10877"/>
                </a:lnTo>
                <a:lnTo>
                  <a:pt x="13286" y="10804"/>
                </a:lnTo>
                <a:lnTo>
                  <a:pt x="13042" y="10731"/>
                </a:lnTo>
                <a:lnTo>
                  <a:pt x="12799" y="10658"/>
                </a:lnTo>
                <a:lnTo>
                  <a:pt x="12580" y="10585"/>
                </a:lnTo>
                <a:lnTo>
                  <a:pt x="12045" y="10341"/>
                </a:lnTo>
                <a:lnTo>
                  <a:pt x="11777" y="10244"/>
                </a:lnTo>
                <a:lnTo>
                  <a:pt x="11631" y="10220"/>
                </a:lnTo>
                <a:lnTo>
                  <a:pt x="11485" y="10195"/>
                </a:lnTo>
                <a:lnTo>
                  <a:pt x="11436" y="10220"/>
                </a:lnTo>
                <a:lnTo>
                  <a:pt x="11436" y="10244"/>
                </a:lnTo>
                <a:lnTo>
                  <a:pt x="11412" y="10268"/>
                </a:lnTo>
                <a:lnTo>
                  <a:pt x="11436" y="10317"/>
                </a:lnTo>
                <a:lnTo>
                  <a:pt x="11680" y="10512"/>
                </a:lnTo>
                <a:lnTo>
                  <a:pt x="11972" y="10706"/>
                </a:lnTo>
                <a:lnTo>
                  <a:pt x="12264" y="10852"/>
                </a:lnTo>
                <a:lnTo>
                  <a:pt x="12556" y="10998"/>
                </a:lnTo>
                <a:lnTo>
                  <a:pt x="12848" y="11120"/>
                </a:lnTo>
                <a:lnTo>
                  <a:pt x="12994" y="11169"/>
                </a:lnTo>
                <a:lnTo>
                  <a:pt x="13164" y="11193"/>
                </a:lnTo>
                <a:lnTo>
                  <a:pt x="12799" y="11509"/>
                </a:lnTo>
                <a:lnTo>
                  <a:pt x="12702" y="11461"/>
                </a:lnTo>
                <a:lnTo>
                  <a:pt x="12580" y="11412"/>
                </a:lnTo>
                <a:lnTo>
                  <a:pt x="12337" y="11363"/>
                </a:lnTo>
                <a:lnTo>
                  <a:pt x="12069" y="11315"/>
                </a:lnTo>
                <a:lnTo>
                  <a:pt x="11826" y="11266"/>
                </a:lnTo>
                <a:lnTo>
                  <a:pt x="11315" y="11071"/>
                </a:lnTo>
                <a:lnTo>
                  <a:pt x="11047" y="10998"/>
                </a:lnTo>
                <a:lnTo>
                  <a:pt x="10901" y="10974"/>
                </a:lnTo>
                <a:lnTo>
                  <a:pt x="10755" y="10974"/>
                </a:lnTo>
                <a:lnTo>
                  <a:pt x="10706" y="10998"/>
                </a:lnTo>
                <a:lnTo>
                  <a:pt x="10682" y="11023"/>
                </a:lnTo>
                <a:lnTo>
                  <a:pt x="10682" y="11071"/>
                </a:lnTo>
                <a:lnTo>
                  <a:pt x="10706" y="11096"/>
                </a:lnTo>
                <a:lnTo>
                  <a:pt x="10828" y="11217"/>
                </a:lnTo>
                <a:lnTo>
                  <a:pt x="10998" y="11339"/>
                </a:lnTo>
                <a:lnTo>
                  <a:pt x="11217" y="11461"/>
                </a:lnTo>
                <a:lnTo>
                  <a:pt x="11436" y="11582"/>
                </a:lnTo>
                <a:lnTo>
                  <a:pt x="11655" y="11704"/>
                </a:lnTo>
                <a:lnTo>
                  <a:pt x="11899" y="11777"/>
                </a:lnTo>
                <a:lnTo>
                  <a:pt x="12142" y="11826"/>
                </a:lnTo>
                <a:lnTo>
                  <a:pt x="12385" y="11874"/>
                </a:lnTo>
                <a:lnTo>
                  <a:pt x="12045" y="12142"/>
                </a:lnTo>
                <a:lnTo>
                  <a:pt x="11874" y="12093"/>
                </a:lnTo>
                <a:lnTo>
                  <a:pt x="11704" y="12045"/>
                </a:lnTo>
                <a:lnTo>
                  <a:pt x="11412" y="11996"/>
                </a:lnTo>
                <a:lnTo>
                  <a:pt x="11242" y="11947"/>
                </a:lnTo>
                <a:lnTo>
                  <a:pt x="11071" y="11850"/>
                </a:lnTo>
                <a:lnTo>
                  <a:pt x="10682" y="11680"/>
                </a:lnTo>
                <a:lnTo>
                  <a:pt x="10487" y="11582"/>
                </a:lnTo>
                <a:lnTo>
                  <a:pt x="10293" y="11534"/>
                </a:lnTo>
                <a:lnTo>
                  <a:pt x="10098" y="11509"/>
                </a:lnTo>
                <a:lnTo>
                  <a:pt x="9903" y="11534"/>
                </a:lnTo>
                <a:lnTo>
                  <a:pt x="9879" y="11534"/>
                </a:lnTo>
                <a:lnTo>
                  <a:pt x="9879" y="11558"/>
                </a:lnTo>
                <a:lnTo>
                  <a:pt x="9879" y="11631"/>
                </a:lnTo>
                <a:lnTo>
                  <a:pt x="9976" y="11728"/>
                </a:lnTo>
                <a:lnTo>
                  <a:pt x="10098" y="11826"/>
                </a:lnTo>
                <a:lnTo>
                  <a:pt x="10366" y="11972"/>
                </a:lnTo>
                <a:lnTo>
                  <a:pt x="10925" y="12215"/>
                </a:lnTo>
                <a:lnTo>
                  <a:pt x="11266" y="12361"/>
                </a:lnTo>
                <a:lnTo>
                  <a:pt x="11607" y="12483"/>
                </a:lnTo>
                <a:lnTo>
                  <a:pt x="11169" y="12799"/>
                </a:lnTo>
                <a:lnTo>
                  <a:pt x="10925" y="12726"/>
                </a:lnTo>
                <a:lnTo>
                  <a:pt x="10585" y="12604"/>
                </a:lnTo>
                <a:lnTo>
                  <a:pt x="10244" y="12458"/>
                </a:lnTo>
                <a:lnTo>
                  <a:pt x="9782" y="12239"/>
                </a:lnTo>
                <a:lnTo>
                  <a:pt x="9538" y="12142"/>
                </a:lnTo>
                <a:lnTo>
                  <a:pt x="9417" y="12118"/>
                </a:lnTo>
                <a:lnTo>
                  <a:pt x="9295" y="12118"/>
                </a:lnTo>
                <a:lnTo>
                  <a:pt x="9271" y="12142"/>
                </a:lnTo>
                <a:lnTo>
                  <a:pt x="9271" y="12191"/>
                </a:lnTo>
                <a:lnTo>
                  <a:pt x="9344" y="12312"/>
                </a:lnTo>
                <a:lnTo>
                  <a:pt x="9441" y="12410"/>
                </a:lnTo>
                <a:lnTo>
                  <a:pt x="9563" y="12507"/>
                </a:lnTo>
                <a:lnTo>
                  <a:pt x="9684" y="12604"/>
                </a:lnTo>
                <a:lnTo>
                  <a:pt x="9976" y="12750"/>
                </a:lnTo>
                <a:lnTo>
                  <a:pt x="10244" y="12896"/>
                </a:lnTo>
                <a:lnTo>
                  <a:pt x="10463" y="12994"/>
                </a:lnTo>
                <a:lnTo>
                  <a:pt x="10731" y="13115"/>
                </a:lnTo>
                <a:lnTo>
                  <a:pt x="10220" y="13456"/>
                </a:lnTo>
                <a:lnTo>
                  <a:pt x="10220" y="13359"/>
                </a:lnTo>
                <a:lnTo>
                  <a:pt x="10195" y="13334"/>
                </a:lnTo>
                <a:lnTo>
                  <a:pt x="10147" y="13286"/>
                </a:lnTo>
                <a:lnTo>
                  <a:pt x="9976" y="13188"/>
                </a:lnTo>
                <a:lnTo>
                  <a:pt x="9782" y="13091"/>
                </a:lnTo>
                <a:lnTo>
                  <a:pt x="9417" y="12921"/>
                </a:lnTo>
                <a:lnTo>
                  <a:pt x="9222" y="12848"/>
                </a:lnTo>
                <a:lnTo>
                  <a:pt x="9052" y="12775"/>
                </a:lnTo>
                <a:lnTo>
                  <a:pt x="8857" y="12726"/>
                </a:lnTo>
                <a:lnTo>
                  <a:pt x="8662" y="12726"/>
                </a:lnTo>
                <a:lnTo>
                  <a:pt x="8638" y="12750"/>
                </a:lnTo>
                <a:lnTo>
                  <a:pt x="8638" y="12775"/>
                </a:lnTo>
                <a:lnTo>
                  <a:pt x="8979" y="13018"/>
                </a:lnTo>
                <a:lnTo>
                  <a:pt x="9319" y="13261"/>
                </a:lnTo>
                <a:lnTo>
                  <a:pt x="9490" y="13383"/>
                </a:lnTo>
                <a:lnTo>
                  <a:pt x="9660" y="13480"/>
                </a:lnTo>
                <a:lnTo>
                  <a:pt x="9855" y="13553"/>
                </a:lnTo>
                <a:lnTo>
                  <a:pt x="10049" y="13602"/>
                </a:lnTo>
                <a:lnTo>
                  <a:pt x="9538" y="13943"/>
                </a:lnTo>
                <a:lnTo>
                  <a:pt x="9538" y="13918"/>
                </a:lnTo>
                <a:lnTo>
                  <a:pt x="9465" y="13870"/>
                </a:lnTo>
                <a:lnTo>
                  <a:pt x="9368" y="13821"/>
                </a:lnTo>
                <a:lnTo>
                  <a:pt x="9222" y="13724"/>
                </a:lnTo>
                <a:lnTo>
                  <a:pt x="8808" y="13407"/>
                </a:lnTo>
                <a:lnTo>
                  <a:pt x="8662" y="13286"/>
                </a:lnTo>
                <a:lnTo>
                  <a:pt x="8492" y="13140"/>
                </a:lnTo>
                <a:lnTo>
                  <a:pt x="8297" y="13042"/>
                </a:lnTo>
                <a:lnTo>
                  <a:pt x="8200" y="12994"/>
                </a:lnTo>
                <a:lnTo>
                  <a:pt x="8054" y="12994"/>
                </a:lnTo>
                <a:lnTo>
                  <a:pt x="8030" y="13018"/>
                </a:lnTo>
                <a:lnTo>
                  <a:pt x="7957" y="13091"/>
                </a:lnTo>
                <a:lnTo>
                  <a:pt x="7957" y="13164"/>
                </a:lnTo>
                <a:lnTo>
                  <a:pt x="7981" y="13213"/>
                </a:lnTo>
                <a:lnTo>
                  <a:pt x="8005" y="13261"/>
                </a:lnTo>
                <a:lnTo>
                  <a:pt x="8297" y="13529"/>
                </a:lnTo>
                <a:lnTo>
                  <a:pt x="8614" y="13772"/>
                </a:lnTo>
                <a:lnTo>
                  <a:pt x="8881" y="13991"/>
                </a:lnTo>
                <a:lnTo>
                  <a:pt x="9027" y="14113"/>
                </a:lnTo>
                <a:lnTo>
                  <a:pt x="9173" y="14210"/>
                </a:lnTo>
                <a:lnTo>
                  <a:pt x="8784" y="14478"/>
                </a:lnTo>
                <a:lnTo>
                  <a:pt x="8711" y="14502"/>
                </a:lnTo>
                <a:lnTo>
                  <a:pt x="8565" y="14381"/>
                </a:lnTo>
                <a:lnTo>
                  <a:pt x="8419" y="14259"/>
                </a:lnTo>
                <a:lnTo>
                  <a:pt x="8103" y="14040"/>
                </a:lnTo>
                <a:lnTo>
                  <a:pt x="7713" y="13797"/>
                </a:lnTo>
                <a:lnTo>
                  <a:pt x="7348" y="13578"/>
                </a:lnTo>
                <a:lnTo>
                  <a:pt x="6570" y="13115"/>
                </a:lnTo>
                <a:lnTo>
                  <a:pt x="6180" y="12872"/>
                </a:lnTo>
                <a:lnTo>
                  <a:pt x="5767" y="12604"/>
                </a:lnTo>
                <a:lnTo>
                  <a:pt x="5402" y="12312"/>
                </a:lnTo>
                <a:lnTo>
                  <a:pt x="5037" y="11996"/>
                </a:lnTo>
                <a:lnTo>
                  <a:pt x="4623" y="11680"/>
                </a:lnTo>
                <a:lnTo>
                  <a:pt x="4210" y="11363"/>
                </a:lnTo>
                <a:lnTo>
                  <a:pt x="3820" y="11023"/>
                </a:lnTo>
                <a:lnTo>
                  <a:pt x="3626" y="10852"/>
                </a:lnTo>
                <a:lnTo>
                  <a:pt x="3455" y="10658"/>
                </a:lnTo>
                <a:lnTo>
                  <a:pt x="2847" y="9952"/>
                </a:lnTo>
                <a:lnTo>
                  <a:pt x="2263" y="9222"/>
                </a:lnTo>
                <a:lnTo>
                  <a:pt x="1971" y="8857"/>
                </a:lnTo>
                <a:lnTo>
                  <a:pt x="1728" y="8468"/>
                </a:lnTo>
                <a:lnTo>
                  <a:pt x="1484" y="8054"/>
                </a:lnTo>
                <a:lnTo>
                  <a:pt x="1265" y="7640"/>
                </a:lnTo>
                <a:lnTo>
                  <a:pt x="1095" y="7227"/>
                </a:lnTo>
                <a:lnTo>
                  <a:pt x="949" y="6789"/>
                </a:lnTo>
                <a:lnTo>
                  <a:pt x="827" y="6351"/>
                </a:lnTo>
                <a:lnTo>
                  <a:pt x="730" y="5889"/>
                </a:lnTo>
                <a:lnTo>
                  <a:pt x="657" y="5451"/>
                </a:lnTo>
                <a:lnTo>
                  <a:pt x="633" y="4988"/>
                </a:lnTo>
                <a:lnTo>
                  <a:pt x="608" y="4526"/>
                </a:lnTo>
                <a:lnTo>
                  <a:pt x="608" y="4064"/>
                </a:lnTo>
                <a:lnTo>
                  <a:pt x="608" y="3674"/>
                </a:lnTo>
                <a:lnTo>
                  <a:pt x="657" y="3261"/>
                </a:lnTo>
                <a:lnTo>
                  <a:pt x="706" y="2871"/>
                </a:lnTo>
                <a:lnTo>
                  <a:pt x="827" y="2482"/>
                </a:lnTo>
                <a:lnTo>
                  <a:pt x="973" y="2117"/>
                </a:lnTo>
                <a:lnTo>
                  <a:pt x="1046" y="1947"/>
                </a:lnTo>
                <a:lnTo>
                  <a:pt x="1168" y="1776"/>
                </a:lnTo>
                <a:lnTo>
                  <a:pt x="1265" y="1630"/>
                </a:lnTo>
                <a:lnTo>
                  <a:pt x="1411" y="1460"/>
                </a:lnTo>
                <a:lnTo>
                  <a:pt x="1557" y="1338"/>
                </a:lnTo>
                <a:lnTo>
                  <a:pt x="1728" y="1192"/>
                </a:lnTo>
                <a:lnTo>
                  <a:pt x="1922" y="1071"/>
                </a:lnTo>
                <a:lnTo>
                  <a:pt x="2117" y="949"/>
                </a:lnTo>
                <a:lnTo>
                  <a:pt x="2336" y="852"/>
                </a:lnTo>
                <a:lnTo>
                  <a:pt x="2531" y="779"/>
                </a:lnTo>
                <a:lnTo>
                  <a:pt x="2774" y="706"/>
                </a:lnTo>
                <a:lnTo>
                  <a:pt x="2993" y="633"/>
                </a:lnTo>
                <a:lnTo>
                  <a:pt x="3455" y="560"/>
                </a:lnTo>
                <a:lnTo>
                  <a:pt x="3918" y="535"/>
                </a:lnTo>
                <a:close/>
                <a:moveTo>
                  <a:pt x="3358" y="0"/>
                </a:moveTo>
                <a:lnTo>
                  <a:pt x="2969" y="73"/>
                </a:lnTo>
                <a:lnTo>
                  <a:pt x="2579" y="146"/>
                </a:lnTo>
                <a:lnTo>
                  <a:pt x="2239" y="268"/>
                </a:lnTo>
                <a:lnTo>
                  <a:pt x="1874" y="414"/>
                </a:lnTo>
                <a:lnTo>
                  <a:pt x="1557" y="608"/>
                </a:lnTo>
                <a:lnTo>
                  <a:pt x="1241" y="827"/>
                </a:lnTo>
                <a:lnTo>
                  <a:pt x="949" y="1095"/>
                </a:lnTo>
                <a:lnTo>
                  <a:pt x="706" y="1387"/>
                </a:lnTo>
                <a:lnTo>
                  <a:pt x="487" y="1728"/>
                </a:lnTo>
                <a:lnTo>
                  <a:pt x="316" y="2093"/>
                </a:lnTo>
                <a:lnTo>
                  <a:pt x="195" y="2482"/>
                </a:lnTo>
                <a:lnTo>
                  <a:pt x="97" y="2896"/>
                </a:lnTo>
                <a:lnTo>
                  <a:pt x="49" y="3309"/>
                </a:lnTo>
                <a:lnTo>
                  <a:pt x="0" y="3747"/>
                </a:lnTo>
                <a:lnTo>
                  <a:pt x="0" y="4161"/>
                </a:lnTo>
                <a:lnTo>
                  <a:pt x="24" y="4988"/>
                </a:lnTo>
                <a:lnTo>
                  <a:pt x="73" y="5451"/>
                </a:lnTo>
                <a:lnTo>
                  <a:pt x="146" y="5913"/>
                </a:lnTo>
                <a:lnTo>
                  <a:pt x="219" y="6351"/>
                </a:lnTo>
                <a:lnTo>
                  <a:pt x="341" y="6789"/>
                </a:lnTo>
                <a:lnTo>
                  <a:pt x="487" y="7227"/>
                </a:lnTo>
                <a:lnTo>
                  <a:pt x="633" y="7665"/>
                </a:lnTo>
                <a:lnTo>
                  <a:pt x="827" y="8078"/>
                </a:lnTo>
                <a:lnTo>
                  <a:pt x="1046" y="8492"/>
                </a:lnTo>
                <a:lnTo>
                  <a:pt x="1265" y="8881"/>
                </a:lnTo>
                <a:lnTo>
                  <a:pt x="1533" y="9246"/>
                </a:lnTo>
                <a:lnTo>
                  <a:pt x="1801" y="9587"/>
                </a:lnTo>
                <a:lnTo>
                  <a:pt x="2093" y="9928"/>
                </a:lnTo>
                <a:lnTo>
                  <a:pt x="2458" y="10341"/>
                </a:lnTo>
                <a:lnTo>
                  <a:pt x="2798" y="10779"/>
                </a:lnTo>
                <a:lnTo>
                  <a:pt x="3139" y="11169"/>
                </a:lnTo>
                <a:lnTo>
                  <a:pt x="3334" y="11363"/>
                </a:lnTo>
                <a:lnTo>
                  <a:pt x="3553" y="11558"/>
                </a:lnTo>
                <a:lnTo>
                  <a:pt x="4331" y="12215"/>
                </a:lnTo>
                <a:lnTo>
                  <a:pt x="5134" y="12823"/>
                </a:lnTo>
                <a:lnTo>
                  <a:pt x="5961" y="13432"/>
                </a:lnTo>
                <a:lnTo>
                  <a:pt x="6399" y="13724"/>
                </a:lnTo>
                <a:lnTo>
                  <a:pt x="6837" y="13991"/>
                </a:lnTo>
                <a:lnTo>
                  <a:pt x="7275" y="14235"/>
                </a:lnTo>
                <a:lnTo>
                  <a:pt x="7689" y="14502"/>
                </a:lnTo>
                <a:lnTo>
                  <a:pt x="7981" y="14672"/>
                </a:lnTo>
                <a:lnTo>
                  <a:pt x="8127" y="14770"/>
                </a:lnTo>
                <a:lnTo>
                  <a:pt x="8249" y="14891"/>
                </a:lnTo>
                <a:lnTo>
                  <a:pt x="8249" y="14964"/>
                </a:lnTo>
                <a:lnTo>
                  <a:pt x="8249" y="15062"/>
                </a:lnTo>
                <a:lnTo>
                  <a:pt x="8297" y="15110"/>
                </a:lnTo>
                <a:lnTo>
                  <a:pt x="8370" y="15183"/>
                </a:lnTo>
                <a:lnTo>
                  <a:pt x="8443" y="15208"/>
                </a:lnTo>
                <a:lnTo>
                  <a:pt x="8516" y="15232"/>
                </a:lnTo>
                <a:lnTo>
                  <a:pt x="8614" y="15232"/>
                </a:lnTo>
                <a:lnTo>
                  <a:pt x="8711" y="15183"/>
                </a:lnTo>
                <a:lnTo>
                  <a:pt x="8735" y="15159"/>
                </a:lnTo>
                <a:lnTo>
                  <a:pt x="8784" y="15110"/>
                </a:lnTo>
                <a:lnTo>
                  <a:pt x="9490" y="14599"/>
                </a:lnTo>
                <a:lnTo>
                  <a:pt x="10220" y="14113"/>
                </a:lnTo>
                <a:lnTo>
                  <a:pt x="10925" y="13602"/>
                </a:lnTo>
                <a:lnTo>
                  <a:pt x="11631" y="13115"/>
                </a:lnTo>
                <a:lnTo>
                  <a:pt x="12312" y="12604"/>
                </a:lnTo>
                <a:lnTo>
                  <a:pt x="12969" y="12069"/>
                </a:lnTo>
                <a:lnTo>
                  <a:pt x="13578" y="11509"/>
                </a:lnTo>
                <a:lnTo>
                  <a:pt x="14186" y="10925"/>
                </a:lnTo>
                <a:lnTo>
                  <a:pt x="14745" y="10341"/>
                </a:lnTo>
                <a:lnTo>
                  <a:pt x="15256" y="9733"/>
                </a:lnTo>
                <a:lnTo>
                  <a:pt x="15743" y="9076"/>
                </a:lnTo>
                <a:lnTo>
                  <a:pt x="15962" y="8735"/>
                </a:lnTo>
                <a:lnTo>
                  <a:pt x="16157" y="8395"/>
                </a:lnTo>
                <a:lnTo>
                  <a:pt x="16351" y="8054"/>
                </a:lnTo>
                <a:lnTo>
                  <a:pt x="16522" y="7689"/>
                </a:lnTo>
                <a:lnTo>
                  <a:pt x="16668" y="7324"/>
                </a:lnTo>
                <a:lnTo>
                  <a:pt x="16814" y="6959"/>
                </a:lnTo>
                <a:lnTo>
                  <a:pt x="16935" y="6570"/>
                </a:lnTo>
                <a:lnTo>
                  <a:pt x="17033" y="6181"/>
                </a:lnTo>
                <a:lnTo>
                  <a:pt x="17106" y="5791"/>
                </a:lnTo>
                <a:lnTo>
                  <a:pt x="17179" y="5378"/>
                </a:lnTo>
                <a:lnTo>
                  <a:pt x="17203" y="5013"/>
                </a:lnTo>
                <a:lnTo>
                  <a:pt x="17227" y="4623"/>
                </a:lnTo>
                <a:lnTo>
                  <a:pt x="17227" y="4210"/>
                </a:lnTo>
                <a:lnTo>
                  <a:pt x="17203" y="3820"/>
                </a:lnTo>
                <a:lnTo>
                  <a:pt x="17130" y="3407"/>
                </a:lnTo>
                <a:lnTo>
                  <a:pt x="17057" y="3017"/>
                </a:lnTo>
                <a:lnTo>
                  <a:pt x="16960" y="2652"/>
                </a:lnTo>
                <a:lnTo>
                  <a:pt x="16814" y="2287"/>
                </a:lnTo>
                <a:lnTo>
                  <a:pt x="16643" y="1947"/>
                </a:lnTo>
                <a:lnTo>
                  <a:pt x="16449" y="1655"/>
                </a:lnTo>
                <a:lnTo>
                  <a:pt x="16205" y="1363"/>
                </a:lnTo>
                <a:lnTo>
                  <a:pt x="15938" y="1119"/>
                </a:lnTo>
                <a:lnTo>
                  <a:pt x="15646" y="876"/>
                </a:lnTo>
                <a:lnTo>
                  <a:pt x="15329" y="681"/>
                </a:lnTo>
                <a:lnTo>
                  <a:pt x="14989" y="511"/>
                </a:lnTo>
                <a:lnTo>
                  <a:pt x="14648" y="365"/>
                </a:lnTo>
                <a:lnTo>
                  <a:pt x="14332" y="243"/>
                </a:lnTo>
                <a:lnTo>
                  <a:pt x="13967" y="170"/>
                </a:lnTo>
                <a:lnTo>
                  <a:pt x="13578" y="97"/>
                </a:lnTo>
                <a:lnTo>
                  <a:pt x="13188" y="73"/>
                </a:lnTo>
                <a:lnTo>
                  <a:pt x="12799" y="49"/>
                </a:lnTo>
                <a:lnTo>
                  <a:pt x="12410" y="73"/>
                </a:lnTo>
                <a:lnTo>
                  <a:pt x="12045" y="146"/>
                </a:lnTo>
                <a:lnTo>
                  <a:pt x="11704" y="243"/>
                </a:lnTo>
                <a:lnTo>
                  <a:pt x="11217" y="462"/>
                </a:lnTo>
                <a:lnTo>
                  <a:pt x="10731" y="706"/>
                </a:lnTo>
                <a:lnTo>
                  <a:pt x="10268" y="949"/>
                </a:lnTo>
                <a:lnTo>
                  <a:pt x="9806" y="1241"/>
                </a:lnTo>
                <a:lnTo>
                  <a:pt x="9611" y="1363"/>
                </a:lnTo>
                <a:lnTo>
                  <a:pt x="9271" y="1582"/>
                </a:lnTo>
                <a:lnTo>
                  <a:pt x="8906" y="1874"/>
                </a:lnTo>
                <a:lnTo>
                  <a:pt x="8735" y="2044"/>
                </a:lnTo>
                <a:lnTo>
                  <a:pt x="8589" y="2190"/>
                </a:lnTo>
                <a:lnTo>
                  <a:pt x="8468" y="2044"/>
                </a:lnTo>
                <a:lnTo>
                  <a:pt x="8322" y="1922"/>
                </a:lnTo>
                <a:lnTo>
                  <a:pt x="7981" y="1630"/>
                </a:lnTo>
                <a:lnTo>
                  <a:pt x="7592" y="1363"/>
                </a:lnTo>
                <a:lnTo>
                  <a:pt x="7202" y="1119"/>
                </a:lnTo>
                <a:lnTo>
                  <a:pt x="6813" y="900"/>
                </a:lnTo>
                <a:lnTo>
                  <a:pt x="6472" y="706"/>
                </a:lnTo>
                <a:lnTo>
                  <a:pt x="5986" y="487"/>
                </a:lnTo>
                <a:lnTo>
                  <a:pt x="5645" y="341"/>
                </a:lnTo>
                <a:lnTo>
                  <a:pt x="5280" y="219"/>
                </a:lnTo>
                <a:lnTo>
                  <a:pt x="4915" y="122"/>
                </a:lnTo>
                <a:lnTo>
                  <a:pt x="4526" y="49"/>
                </a:lnTo>
                <a:lnTo>
                  <a:pt x="4137" y="0"/>
                </a:lnTo>
                <a:close/>
              </a:path>
            </a:pathLst>
          </a:custGeom>
          <a:solidFill>
            <a:srgbClr val="C0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7" name="Rectangle 56">
            <a:extLst>
              <a:ext uri="{FF2B5EF4-FFF2-40B4-BE49-F238E27FC236}">
                <a16:creationId xmlns:a16="http://schemas.microsoft.com/office/drawing/2014/main" id="{6D84226D-9F49-06EF-03D2-1C81CCC77A67}"/>
              </a:ext>
            </a:extLst>
          </p:cNvPr>
          <p:cNvSpPr/>
          <p:nvPr/>
        </p:nvSpPr>
        <p:spPr>
          <a:xfrm>
            <a:off x="588438" y="3234226"/>
            <a:ext cx="2076980" cy="572351"/>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58" name="TextBox 57">
            <a:extLst>
              <a:ext uri="{FF2B5EF4-FFF2-40B4-BE49-F238E27FC236}">
                <a16:creationId xmlns:a16="http://schemas.microsoft.com/office/drawing/2014/main" id="{719299AC-D3D6-2C29-2F7B-DA88239AC2FC}"/>
              </a:ext>
            </a:extLst>
          </p:cNvPr>
          <p:cNvSpPr txBox="1"/>
          <p:nvPr/>
        </p:nvSpPr>
        <p:spPr bwMode="auto">
          <a:xfrm>
            <a:off x="1125463" y="3578693"/>
            <a:ext cx="2785766" cy="43088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da-DK" sz="1400" b="0" i="0" u="none" strike="noStrike" kern="1200" cap="none" spc="0" normalizeH="0" baseline="0" noProof="0">
                <a:ln>
                  <a:noFill/>
                </a:ln>
                <a:solidFill>
                  <a:schemeClr val="tx1"/>
                </a:solidFill>
                <a:effectLst/>
                <a:uLnTx/>
                <a:uFillTx/>
                <a:latin typeface="Quicksand" panose="020B0604020202020204"/>
                <a:ea typeface="Verdana" pitchFamily="34" charset="0"/>
                <a:cs typeface="Verdana" pitchFamily="34" charset="0"/>
              </a:rPr>
              <a:t>Hvad lyder svært? Hvordan kan vi overkomme det?</a:t>
            </a:r>
          </a:p>
        </p:txBody>
      </p:sp>
      <p:sp>
        <p:nvSpPr>
          <p:cNvPr id="60" name="TextBox 59">
            <a:extLst>
              <a:ext uri="{FF2B5EF4-FFF2-40B4-BE49-F238E27FC236}">
                <a16:creationId xmlns:a16="http://schemas.microsoft.com/office/drawing/2014/main" id="{16C57276-7541-172E-07A2-1EA92EB7F2B1}"/>
              </a:ext>
            </a:extLst>
          </p:cNvPr>
          <p:cNvSpPr txBox="1"/>
          <p:nvPr/>
        </p:nvSpPr>
        <p:spPr bwMode="auto">
          <a:xfrm>
            <a:off x="1125463" y="3234226"/>
            <a:ext cx="1706238" cy="36933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91" eaLnBrk="0" hangingPunct="0"/>
            <a:r>
              <a:rPr lang="da-DK" sz="2400">
                <a:latin typeface="Quicksand" panose="020B0604020202020204"/>
              </a:rPr>
              <a:t>PUUH!</a:t>
            </a:r>
            <a:endParaRPr lang="da-DK" sz="2400" spc="0">
              <a:latin typeface="Quicksand" panose="020B0604020202020204"/>
            </a:endParaRPr>
          </a:p>
        </p:txBody>
      </p:sp>
      <p:sp>
        <p:nvSpPr>
          <p:cNvPr id="61" name="Shape 336">
            <a:extLst>
              <a:ext uri="{FF2B5EF4-FFF2-40B4-BE49-F238E27FC236}">
                <a16:creationId xmlns:a16="http://schemas.microsoft.com/office/drawing/2014/main" id="{776E869D-7391-D603-C678-A8E594F435DF}"/>
              </a:ext>
            </a:extLst>
          </p:cNvPr>
          <p:cNvSpPr>
            <a:spLocks noChangeAspect="1"/>
          </p:cNvSpPr>
          <p:nvPr/>
        </p:nvSpPr>
        <p:spPr>
          <a:xfrm>
            <a:off x="619653" y="3225997"/>
            <a:ext cx="397493" cy="492992"/>
          </a:xfrm>
          <a:custGeom>
            <a:avLst/>
            <a:gdLst/>
            <a:ahLst/>
            <a:cxnLst/>
            <a:rect l="0" t="0" r="0" b="0"/>
            <a:pathLst>
              <a:path w="13554" h="18858" extrusionOk="0">
                <a:moveTo>
                  <a:pt x="7032" y="462"/>
                </a:moveTo>
                <a:lnTo>
                  <a:pt x="7300" y="487"/>
                </a:lnTo>
                <a:lnTo>
                  <a:pt x="7592" y="511"/>
                </a:lnTo>
                <a:lnTo>
                  <a:pt x="7860" y="560"/>
                </a:lnTo>
                <a:lnTo>
                  <a:pt x="8127" y="633"/>
                </a:lnTo>
                <a:lnTo>
                  <a:pt x="8395" y="706"/>
                </a:lnTo>
                <a:lnTo>
                  <a:pt x="8662" y="803"/>
                </a:lnTo>
                <a:lnTo>
                  <a:pt x="8906" y="925"/>
                </a:lnTo>
                <a:lnTo>
                  <a:pt x="9173" y="1046"/>
                </a:lnTo>
                <a:lnTo>
                  <a:pt x="9417" y="1168"/>
                </a:lnTo>
                <a:lnTo>
                  <a:pt x="9636" y="1338"/>
                </a:lnTo>
                <a:lnTo>
                  <a:pt x="9879" y="1484"/>
                </a:lnTo>
                <a:lnTo>
                  <a:pt x="10074" y="1679"/>
                </a:lnTo>
                <a:lnTo>
                  <a:pt x="10293" y="1849"/>
                </a:lnTo>
                <a:lnTo>
                  <a:pt x="10487" y="2068"/>
                </a:lnTo>
                <a:lnTo>
                  <a:pt x="10731" y="2336"/>
                </a:lnTo>
                <a:lnTo>
                  <a:pt x="10950" y="2652"/>
                </a:lnTo>
                <a:lnTo>
                  <a:pt x="11144" y="2969"/>
                </a:lnTo>
                <a:lnTo>
                  <a:pt x="11290" y="3285"/>
                </a:lnTo>
                <a:lnTo>
                  <a:pt x="11412" y="3626"/>
                </a:lnTo>
                <a:lnTo>
                  <a:pt x="11509" y="3966"/>
                </a:lnTo>
                <a:lnTo>
                  <a:pt x="11582" y="4331"/>
                </a:lnTo>
                <a:lnTo>
                  <a:pt x="11607" y="4721"/>
                </a:lnTo>
                <a:lnTo>
                  <a:pt x="11631" y="5378"/>
                </a:lnTo>
                <a:lnTo>
                  <a:pt x="11655" y="6059"/>
                </a:lnTo>
                <a:lnTo>
                  <a:pt x="11680" y="6716"/>
                </a:lnTo>
                <a:lnTo>
                  <a:pt x="11704" y="7057"/>
                </a:lnTo>
                <a:lnTo>
                  <a:pt x="11753" y="7397"/>
                </a:lnTo>
                <a:lnTo>
                  <a:pt x="10706" y="7397"/>
                </a:lnTo>
                <a:lnTo>
                  <a:pt x="10682" y="6327"/>
                </a:lnTo>
                <a:lnTo>
                  <a:pt x="10682" y="5767"/>
                </a:lnTo>
                <a:lnTo>
                  <a:pt x="10658" y="5232"/>
                </a:lnTo>
                <a:lnTo>
                  <a:pt x="10585" y="4672"/>
                </a:lnTo>
                <a:lnTo>
                  <a:pt x="10512" y="4429"/>
                </a:lnTo>
                <a:lnTo>
                  <a:pt x="10463" y="4161"/>
                </a:lnTo>
                <a:lnTo>
                  <a:pt x="10366" y="3893"/>
                </a:lnTo>
                <a:lnTo>
                  <a:pt x="10268" y="3650"/>
                </a:lnTo>
                <a:lnTo>
                  <a:pt x="10147" y="3407"/>
                </a:lnTo>
                <a:lnTo>
                  <a:pt x="10001" y="3163"/>
                </a:lnTo>
                <a:lnTo>
                  <a:pt x="9879" y="2993"/>
                </a:lnTo>
                <a:lnTo>
                  <a:pt x="9733" y="2823"/>
                </a:lnTo>
                <a:lnTo>
                  <a:pt x="9587" y="2652"/>
                </a:lnTo>
                <a:lnTo>
                  <a:pt x="9417" y="2506"/>
                </a:lnTo>
                <a:lnTo>
                  <a:pt x="9052" y="2263"/>
                </a:lnTo>
                <a:lnTo>
                  <a:pt x="8662" y="2044"/>
                </a:lnTo>
                <a:lnTo>
                  <a:pt x="8273" y="1874"/>
                </a:lnTo>
                <a:lnTo>
                  <a:pt x="7835" y="1728"/>
                </a:lnTo>
                <a:lnTo>
                  <a:pt x="7397" y="1630"/>
                </a:lnTo>
                <a:lnTo>
                  <a:pt x="6959" y="1582"/>
                </a:lnTo>
                <a:lnTo>
                  <a:pt x="6521" y="1582"/>
                </a:lnTo>
                <a:lnTo>
                  <a:pt x="6083" y="1630"/>
                </a:lnTo>
                <a:lnTo>
                  <a:pt x="5670" y="1728"/>
                </a:lnTo>
                <a:lnTo>
                  <a:pt x="5232" y="1898"/>
                </a:lnTo>
                <a:lnTo>
                  <a:pt x="4842" y="2093"/>
                </a:lnTo>
                <a:lnTo>
                  <a:pt x="4477" y="2336"/>
                </a:lnTo>
                <a:lnTo>
                  <a:pt x="4307" y="2482"/>
                </a:lnTo>
                <a:lnTo>
                  <a:pt x="4161" y="2628"/>
                </a:lnTo>
                <a:lnTo>
                  <a:pt x="4015" y="2798"/>
                </a:lnTo>
                <a:lnTo>
                  <a:pt x="3869" y="2969"/>
                </a:lnTo>
                <a:lnTo>
                  <a:pt x="3723" y="3212"/>
                </a:lnTo>
                <a:lnTo>
                  <a:pt x="3577" y="3455"/>
                </a:lnTo>
                <a:lnTo>
                  <a:pt x="3455" y="3699"/>
                </a:lnTo>
                <a:lnTo>
                  <a:pt x="3358" y="3966"/>
                </a:lnTo>
                <a:lnTo>
                  <a:pt x="3261" y="4234"/>
                </a:lnTo>
                <a:lnTo>
                  <a:pt x="3188" y="4502"/>
                </a:lnTo>
                <a:lnTo>
                  <a:pt x="3090" y="5086"/>
                </a:lnTo>
                <a:lnTo>
                  <a:pt x="3017" y="5645"/>
                </a:lnTo>
                <a:lnTo>
                  <a:pt x="2993" y="6229"/>
                </a:lnTo>
                <a:lnTo>
                  <a:pt x="2969" y="6789"/>
                </a:lnTo>
                <a:lnTo>
                  <a:pt x="2993" y="7349"/>
                </a:lnTo>
                <a:lnTo>
                  <a:pt x="2993" y="7397"/>
                </a:lnTo>
                <a:lnTo>
                  <a:pt x="2385" y="7373"/>
                </a:lnTo>
                <a:lnTo>
                  <a:pt x="1776" y="7397"/>
                </a:lnTo>
                <a:lnTo>
                  <a:pt x="1801" y="7324"/>
                </a:lnTo>
                <a:lnTo>
                  <a:pt x="1825" y="7227"/>
                </a:lnTo>
                <a:lnTo>
                  <a:pt x="1752" y="6692"/>
                </a:lnTo>
                <a:lnTo>
                  <a:pt x="1752" y="6132"/>
                </a:lnTo>
                <a:lnTo>
                  <a:pt x="1801" y="5572"/>
                </a:lnTo>
                <a:lnTo>
                  <a:pt x="1874" y="5037"/>
                </a:lnTo>
                <a:lnTo>
                  <a:pt x="1995" y="4477"/>
                </a:lnTo>
                <a:lnTo>
                  <a:pt x="2141" y="3942"/>
                </a:lnTo>
                <a:lnTo>
                  <a:pt x="2336" y="3431"/>
                </a:lnTo>
                <a:lnTo>
                  <a:pt x="2555" y="2944"/>
                </a:lnTo>
                <a:lnTo>
                  <a:pt x="2701" y="2652"/>
                </a:lnTo>
                <a:lnTo>
                  <a:pt x="2871" y="2409"/>
                </a:lnTo>
                <a:lnTo>
                  <a:pt x="3066" y="2166"/>
                </a:lnTo>
                <a:lnTo>
                  <a:pt x="3261" y="1922"/>
                </a:lnTo>
                <a:lnTo>
                  <a:pt x="3455" y="1728"/>
                </a:lnTo>
                <a:lnTo>
                  <a:pt x="3699" y="1533"/>
                </a:lnTo>
                <a:lnTo>
                  <a:pt x="3918" y="1363"/>
                </a:lnTo>
                <a:lnTo>
                  <a:pt x="4185" y="1192"/>
                </a:lnTo>
                <a:lnTo>
                  <a:pt x="4429" y="1046"/>
                </a:lnTo>
                <a:lnTo>
                  <a:pt x="4696" y="925"/>
                </a:lnTo>
                <a:lnTo>
                  <a:pt x="4988" y="803"/>
                </a:lnTo>
                <a:lnTo>
                  <a:pt x="5280" y="706"/>
                </a:lnTo>
                <a:lnTo>
                  <a:pt x="5572" y="633"/>
                </a:lnTo>
                <a:lnTo>
                  <a:pt x="5864" y="560"/>
                </a:lnTo>
                <a:lnTo>
                  <a:pt x="6156" y="511"/>
                </a:lnTo>
                <a:lnTo>
                  <a:pt x="6473" y="487"/>
                </a:lnTo>
                <a:lnTo>
                  <a:pt x="6740" y="462"/>
                </a:lnTo>
                <a:close/>
                <a:moveTo>
                  <a:pt x="6838" y="2020"/>
                </a:moveTo>
                <a:lnTo>
                  <a:pt x="7251" y="2044"/>
                </a:lnTo>
                <a:lnTo>
                  <a:pt x="7665" y="2117"/>
                </a:lnTo>
                <a:lnTo>
                  <a:pt x="8054" y="2239"/>
                </a:lnTo>
                <a:lnTo>
                  <a:pt x="8443" y="2409"/>
                </a:lnTo>
                <a:lnTo>
                  <a:pt x="8808" y="2628"/>
                </a:lnTo>
                <a:lnTo>
                  <a:pt x="9149" y="2871"/>
                </a:lnTo>
                <a:lnTo>
                  <a:pt x="9441" y="3163"/>
                </a:lnTo>
                <a:lnTo>
                  <a:pt x="9587" y="3334"/>
                </a:lnTo>
                <a:lnTo>
                  <a:pt x="9709" y="3504"/>
                </a:lnTo>
                <a:lnTo>
                  <a:pt x="9830" y="3723"/>
                </a:lnTo>
                <a:lnTo>
                  <a:pt x="9928" y="3942"/>
                </a:lnTo>
                <a:lnTo>
                  <a:pt x="10025" y="4161"/>
                </a:lnTo>
                <a:lnTo>
                  <a:pt x="10098" y="4404"/>
                </a:lnTo>
                <a:lnTo>
                  <a:pt x="10195" y="4891"/>
                </a:lnTo>
                <a:lnTo>
                  <a:pt x="10244" y="5402"/>
                </a:lnTo>
                <a:lnTo>
                  <a:pt x="10268" y="5913"/>
                </a:lnTo>
                <a:lnTo>
                  <a:pt x="10268" y="6424"/>
                </a:lnTo>
                <a:lnTo>
                  <a:pt x="10268" y="7422"/>
                </a:lnTo>
                <a:lnTo>
                  <a:pt x="6862" y="7422"/>
                </a:lnTo>
                <a:lnTo>
                  <a:pt x="5402" y="7397"/>
                </a:lnTo>
                <a:lnTo>
                  <a:pt x="3309" y="7397"/>
                </a:lnTo>
                <a:lnTo>
                  <a:pt x="3382" y="6911"/>
                </a:lnTo>
                <a:lnTo>
                  <a:pt x="3455" y="6400"/>
                </a:lnTo>
                <a:lnTo>
                  <a:pt x="3528" y="5426"/>
                </a:lnTo>
                <a:lnTo>
                  <a:pt x="3577" y="4940"/>
                </a:lnTo>
                <a:lnTo>
                  <a:pt x="3674" y="4453"/>
                </a:lnTo>
                <a:lnTo>
                  <a:pt x="3747" y="4234"/>
                </a:lnTo>
                <a:lnTo>
                  <a:pt x="3820" y="3991"/>
                </a:lnTo>
                <a:lnTo>
                  <a:pt x="3918" y="3747"/>
                </a:lnTo>
                <a:lnTo>
                  <a:pt x="4039" y="3528"/>
                </a:lnTo>
                <a:lnTo>
                  <a:pt x="4137" y="3334"/>
                </a:lnTo>
                <a:lnTo>
                  <a:pt x="4258" y="3163"/>
                </a:lnTo>
                <a:lnTo>
                  <a:pt x="4404" y="3017"/>
                </a:lnTo>
                <a:lnTo>
                  <a:pt x="4550" y="2871"/>
                </a:lnTo>
                <a:lnTo>
                  <a:pt x="4696" y="2725"/>
                </a:lnTo>
                <a:lnTo>
                  <a:pt x="4867" y="2604"/>
                </a:lnTo>
                <a:lnTo>
                  <a:pt x="5232" y="2385"/>
                </a:lnTo>
                <a:lnTo>
                  <a:pt x="5597" y="2214"/>
                </a:lnTo>
                <a:lnTo>
                  <a:pt x="6010" y="2093"/>
                </a:lnTo>
                <a:lnTo>
                  <a:pt x="6424" y="2044"/>
                </a:lnTo>
                <a:lnTo>
                  <a:pt x="6838" y="2020"/>
                </a:lnTo>
                <a:close/>
                <a:moveTo>
                  <a:pt x="6984" y="11388"/>
                </a:moveTo>
                <a:lnTo>
                  <a:pt x="6497" y="11631"/>
                </a:lnTo>
                <a:lnTo>
                  <a:pt x="6302" y="11728"/>
                </a:lnTo>
                <a:lnTo>
                  <a:pt x="6083" y="11826"/>
                </a:lnTo>
                <a:lnTo>
                  <a:pt x="6083" y="11826"/>
                </a:lnTo>
                <a:lnTo>
                  <a:pt x="6132" y="11704"/>
                </a:lnTo>
                <a:lnTo>
                  <a:pt x="6205" y="11607"/>
                </a:lnTo>
                <a:lnTo>
                  <a:pt x="6302" y="11534"/>
                </a:lnTo>
                <a:lnTo>
                  <a:pt x="6400" y="11485"/>
                </a:lnTo>
                <a:lnTo>
                  <a:pt x="6497" y="11436"/>
                </a:lnTo>
                <a:lnTo>
                  <a:pt x="6740" y="11388"/>
                </a:lnTo>
                <a:close/>
                <a:moveTo>
                  <a:pt x="7762" y="11899"/>
                </a:moveTo>
                <a:lnTo>
                  <a:pt x="7811" y="12045"/>
                </a:lnTo>
                <a:lnTo>
                  <a:pt x="7835" y="12191"/>
                </a:lnTo>
                <a:lnTo>
                  <a:pt x="7835" y="12191"/>
                </a:lnTo>
                <a:lnTo>
                  <a:pt x="7787" y="12166"/>
                </a:lnTo>
                <a:lnTo>
                  <a:pt x="7738" y="12142"/>
                </a:lnTo>
                <a:lnTo>
                  <a:pt x="7592" y="12166"/>
                </a:lnTo>
                <a:lnTo>
                  <a:pt x="7470" y="12191"/>
                </a:lnTo>
                <a:lnTo>
                  <a:pt x="7470" y="12191"/>
                </a:lnTo>
                <a:lnTo>
                  <a:pt x="7616" y="12093"/>
                </a:lnTo>
                <a:lnTo>
                  <a:pt x="7714" y="11996"/>
                </a:lnTo>
                <a:lnTo>
                  <a:pt x="7762" y="11899"/>
                </a:lnTo>
                <a:close/>
                <a:moveTo>
                  <a:pt x="7422" y="11534"/>
                </a:moveTo>
                <a:lnTo>
                  <a:pt x="7519" y="11582"/>
                </a:lnTo>
                <a:lnTo>
                  <a:pt x="7592" y="11680"/>
                </a:lnTo>
                <a:lnTo>
                  <a:pt x="7543" y="11680"/>
                </a:lnTo>
                <a:lnTo>
                  <a:pt x="7251" y="11826"/>
                </a:lnTo>
                <a:lnTo>
                  <a:pt x="6935" y="11947"/>
                </a:lnTo>
                <a:lnTo>
                  <a:pt x="6351" y="12239"/>
                </a:lnTo>
                <a:lnTo>
                  <a:pt x="6132" y="12337"/>
                </a:lnTo>
                <a:lnTo>
                  <a:pt x="5986" y="12410"/>
                </a:lnTo>
                <a:lnTo>
                  <a:pt x="5864" y="12507"/>
                </a:lnTo>
                <a:lnTo>
                  <a:pt x="5864" y="12507"/>
                </a:lnTo>
                <a:lnTo>
                  <a:pt x="5889" y="12337"/>
                </a:lnTo>
                <a:lnTo>
                  <a:pt x="5913" y="12191"/>
                </a:lnTo>
                <a:lnTo>
                  <a:pt x="6059" y="12191"/>
                </a:lnTo>
                <a:lnTo>
                  <a:pt x="6205" y="12142"/>
                </a:lnTo>
                <a:lnTo>
                  <a:pt x="6473" y="12020"/>
                </a:lnTo>
                <a:lnTo>
                  <a:pt x="6911" y="11801"/>
                </a:lnTo>
                <a:lnTo>
                  <a:pt x="7349" y="11582"/>
                </a:lnTo>
                <a:lnTo>
                  <a:pt x="7422" y="11534"/>
                </a:lnTo>
                <a:close/>
                <a:moveTo>
                  <a:pt x="5864" y="12653"/>
                </a:moveTo>
                <a:lnTo>
                  <a:pt x="5937" y="12702"/>
                </a:lnTo>
                <a:lnTo>
                  <a:pt x="6059" y="12726"/>
                </a:lnTo>
                <a:lnTo>
                  <a:pt x="6205" y="12702"/>
                </a:lnTo>
                <a:lnTo>
                  <a:pt x="6327" y="12653"/>
                </a:lnTo>
                <a:lnTo>
                  <a:pt x="6132" y="12799"/>
                </a:lnTo>
                <a:lnTo>
                  <a:pt x="6059" y="12872"/>
                </a:lnTo>
                <a:lnTo>
                  <a:pt x="5986" y="12969"/>
                </a:lnTo>
                <a:lnTo>
                  <a:pt x="5986" y="12994"/>
                </a:lnTo>
                <a:lnTo>
                  <a:pt x="5937" y="12945"/>
                </a:lnTo>
                <a:lnTo>
                  <a:pt x="5889" y="12872"/>
                </a:lnTo>
                <a:lnTo>
                  <a:pt x="5864" y="12799"/>
                </a:lnTo>
                <a:lnTo>
                  <a:pt x="5864" y="12677"/>
                </a:lnTo>
                <a:lnTo>
                  <a:pt x="5864" y="12653"/>
                </a:lnTo>
                <a:close/>
                <a:moveTo>
                  <a:pt x="7811" y="12458"/>
                </a:moveTo>
                <a:lnTo>
                  <a:pt x="7738" y="12629"/>
                </a:lnTo>
                <a:lnTo>
                  <a:pt x="7641" y="12799"/>
                </a:lnTo>
                <a:lnTo>
                  <a:pt x="7623" y="12828"/>
                </a:lnTo>
                <a:lnTo>
                  <a:pt x="7623" y="12828"/>
                </a:lnTo>
                <a:lnTo>
                  <a:pt x="7641" y="12775"/>
                </a:lnTo>
                <a:lnTo>
                  <a:pt x="7641" y="12726"/>
                </a:lnTo>
                <a:lnTo>
                  <a:pt x="7592" y="12677"/>
                </a:lnTo>
                <a:lnTo>
                  <a:pt x="7519" y="12653"/>
                </a:lnTo>
                <a:lnTo>
                  <a:pt x="7446" y="12653"/>
                </a:lnTo>
                <a:lnTo>
                  <a:pt x="7349" y="12677"/>
                </a:lnTo>
                <a:lnTo>
                  <a:pt x="7178" y="12726"/>
                </a:lnTo>
                <a:lnTo>
                  <a:pt x="6862" y="12921"/>
                </a:lnTo>
                <a:lnTo>
                  <a:pt x="6521" y="13140"/>
                </a:lnTo>
                <a:lnTo>
                  <a:pt x="6351" y="13237"/>
                </a:lnTo>
                <a:lnTo>
                  <a:pt x="6327" y="13213"/>
                </a:lnTo>
                <a:lnTo>
                  <a:pt x="6059" y="13067"/>
                </a:lnTo>
                <a:lnTo>
                  <a:pt x="6229" y="13067"/>
                </a:lnTo>
                <a:lnTo>
                  <a:pt x="6375" y="13018"/>
                </a:lnTo>
                <a:lnTo>
                  <a:pt x="6546" y="12969"/>
                </a:lnTo>
                <a:lnTo>
                  <a:pt x="6692" y="12896"/>
                </a:lnTo>
                <a:lnTo>
                  <a:pt x="6959" y="12775"/>
                </a:lnTo>
                <a:lnTo>
                  <a:pt x="7227" y="12677"/>
                </a:lnTo>
                <a:lnTo>
                  <a:pt x="7762" y="12483"/>
                </a:lnTo>
                <a:lnTo>
                  <a:pt x="7811" y="12458"/>
                </a:lnTo>
                <a:close/>
                <a:moveTo>
                  <a:pt x="7602" y="12862"/>
                </a:moveTo>
                <a:lnTo>
                  <a:pt x="7446" y="13115"/>
                </a:lnTo>
                <a:lnTo>
                  <a:pt x="7397" y="13115"/>
                </a:lnTo>
                <a:lnTo>
                  <a:pt x="7349" y="13140"/>
                </a:lnTo>
                <a:lnTo>
                  <a:pt x="7300" y="13164"/>
                </a:lnTo>
                <a:lnTo>
                  <a:pt x="7276" y="13213"/>
                </a:lnTo>
                <a:lnTo>
                  <a:pt x="7276" y="13261"/>
                </a:lnTo>
                <a:lnTo>
                  <a:pt x="7227" y="13237"/>
                </a:lnTo>
                <a:lnTo>
                  <a:pt x="7057" y="13237"/>
                </a:lnTo>
                <a:lnTo>
                  <a:pt x="6959" y="13286"/>
                </a:lnTo>
                <a:lnTo>
                  <a:pt x="6765" y="13383"/>
                </a:lnTo>
                <a:lnTo>
                  <a:pt x="6546" y="13505"/>
                </a:lnTo>
                <a:lnTo>
                  <a:pt x="6327" y="13602"/>
                </a:lnTo>
                <a:lnTo>
                  <a:pt x="6302" y="13407"/>
                </a:lnTo>
                <a:lnTo>
                  <a:pt x="6448" y="13407"/>
                </a:lnTo>
                <a:lnTo>
                  <a:pt x="6594" y="13383"/>
                </a:lnTo>
                <a:lnTo>
                  <a:pt x="6740" y="13334"/>
                </a:lnTo>
                <a:lnTo>
                  <a:pt x="6862" y="13261"/>
                </a:lnTo>
                <a:lnTo>
                  <a:pt x="7276" y="13091"/>
                </a:lnTo>
                <a:lnTo>
                  <a:pt x="7470" y="12994"/>
                </a:lnTo>
                <a:lnTo>
                  <a:pt x="7543" y="12921"/>
                </a:lnTo>
                <a:lnTo>
                  <a:pt x="7602" y="12862"/>
                </a:lnTo>
                <a:close/>
                <a:moveTo>
                  <a:pt x="7276" y="13529"/>
                </a:moveTo>
                <a:lnTo>
                  <a:pt x="7276" y="13797"/>
                </a:lnTo>
                <a:lnTo>
                  <a:pt x="7203" y="13772"/>
                </a:lnTo>
                <a:lnTo>
                  <a:pt x="7130" y="13797"/>
                </a:lnTo>
                <a:lnTo>
                  <a:pt x="6959" y="13845"/>
                </a:lnTo>
                <a:lnTo>
                  <a:pt x="6667" y="13991"/>
                </a:lnTo>
                <a:lnTo>
                  <a:pt x="6473" y="14113"/>
                </a:lnTo>
                <a:lnTo>
                  <a:pt x="6302" y="14259"/>
                </a:lnTo>
                <a:lnTo>
                  <a:pt x="6327" y="13870"/>
                </a:lnTo>
                <a:lnTo>
                  <a:pt x="6570" y="13870"/>
                </a:lnTo>
                <a:lnTo>
                  <a:pt x="6692" y="13821"/>
                </a:lnTo>
                <a:lnTo>
                  <a:pt x="6789" y="13772"/>
                </a:lnTo>
                <a:lnTo>
                  <a:pt x="7032" y="13675"/>
                </a:lnTo>
                <a:lnTo>
                  <a:pt x="7154" y="13602"/>
                </a:lnTo>
                <a:lnTo>
                  <a:pt x="7276" y="13529"/>
                </a:lnTo>
                <a:close/>
                <a:moveTo>
                  <a:pt x="7276" y="14819"/>
                </a:moveTo>
                <a:lnTo>
                  <a:pt x="7276" y="14989"/>
                </a:lnTo>
                <a:lnTo>
                  <a:pt x="6889" y="15012"/>
                </a:lnTo>
                <a:lnTo>
                  <a:pt x="6889" y="15012"/>
                </a:lnTo>
                <a:lnTo>
                  <a:pt x="7081" y="14916"/>
                </a:lnTo>
                <a:lnTo>
                  <a:pt x="7276" y="14819"/>
                </a:lnTo>
                <a:close/>
                <a:moveTo>
                  <a:pt x="7300" y="14089"/>
                </a:moveTo>
                <a:lnTo>
                  <a:pt x="7300" y="14162"/>
                </a:lnTo>
                <a:lnTo>
                  <a:pt x="7300" y="14210"/>
                </a:lnTo>
                <a:lnTo>
                  <a:pt x="7227" y="14186"/>
                </a:lnTo>
                <a:lnTo>
                  <a:pt x="7154" y="14210"/>
                </a:lnTo>
                <a:lnTo>
                  <a:pt x="6911" y="14332"/>
                </a:lnTo>
                <a:lnTo>
                  <a:pt x="6692" y="14502"/>
                </a:lnTo>
                <a:lnTo>
                  <a:pt x="6594" y="14575"/>
                </a:lnTo>
                <a:lnTo>
                  <a:pt x="6497" y="14673"/>
                </a:lnTo>
                <a:lnTo>
                  <a:pt x="6400" y="14770"/>
                </a:lnTo>
                <a:lnTo>
                  <a:pt x="6278" y="14843"/>
                </a:lnTo>
                <a:lnTo>
                  <a:pt x="6278" y="14867"/>
                </a:lnTo>
                <a:lnTo>
                  <a:pt x="6278" y="14892"/>
                </a:lnTo>
                <a:lnTo>
                  <a:pt x="6302" y="14892"/>
                </a:lnTo>
                <a:lnTo>
                  <a:pt x="6546" y="14867"/>
                </a:lnTo>
                <a:lnTo>
                  <a:pt x="6667" y="14843"/>
                </a:lnTo>
                <a:lnTo>
                  <a:pt x="6789" y="14794"/>
                </a:lnTo>
                <a:lnTo>
                  <a:pt x="7300" y="14527"/>
                </a:lnTo>
                <a:lnTo>
                  <a:pt x="7300" y="14551"/>
                </a:lnTo>
                <a:lnTo>
                  <a:pt x="7276" y="14551"/>
                </a:lnTo>
                <a:lnTo>
                  <a:pt x="7130" y="14624"/>
                </a:lnTo>
                <a:lnTo>
                  <a:pt x="7032" y="14697"/>
                </a:lnTo>
                <a:lnTo>
                  <a:pt x="6813" y="14867"/>
                </a:lnTo>
                <a:lnTo>
                  <a:pt x="6789" y="14916"/>
                </a:lnTo>
                <a:lnTo>
                  <a:pt x="6789" y="14965"/>
                </a:lnTo>
                <a:lnTo>
                  <a:pt x="6813" y="14989"/>
                </a:lnTo>
                <a:lnTo>
                  <a:pt x="6838" y="15013"/>
                </a:lnTo>
                <a:lnTo>
                  <a:pt x="6229" y="15013"/>
                </a:lnTo>
                <a:lnTo>
                  <a:pt x="6254" y="14746"/>
                </a:lnTo>
                <a:lnTo>
                  <a:pt x="6278" y="14502"/>
                </a:lnTo>
                <a:lnTo>
                  <a:pt x="6400" y="14478"/>
                </a:lnTo>
                <a:lnTo>
                  <a:pt x="6521" y="14454"/>
                </a:lnTo>
                <a:lnTo>
                  <a:pt x="6765" y="14332"/>
                </a:lnTo>
                <a:lnTo>
                  <a:pt x="7130" y="14186"/>
                </a:lnTo>
                <a:lnTo>
                  <a:pt x="7300" y="14089"/>
                </a:lnTo>
                <a:close/>
                <a:moveTo>
                  <a:pt x="6838" y="10925"/>
                </a:moveTo>
                <a:lnTo>
                  <a:pt x="6594" y="10950"/>
                </a:lnTo>
                <a:lnTo>
                  <a:pt x="6351" y="11023"/>
                </a:lnTo>
                <a:lnTo>
                  <a:pt x="6132" y="11144"/>
                </a:lnTo>
                <a:lnTo>
                  <a:pt x="5913" y="11290"/>
                </a:lnTo>
                <a:lnTo>
                  <a:pt x="5791" y="11436"/>
                </a:lnTo>
                <a:lnTo>
                  <a:pt x="5670" y="11607"/>
                </a:lnTo>
                <a:lnTo>
                  <a:pt x="5597" y="11801"/>
                </a:lnTo>
                <a:lnTo>
                  <a:pt x="5524" y="11996"/>
                </a:lnTo>
                <a:lnTo>
                  <a:pt x="5475" y="12191"/>
                </a:lnTo>
                <a:lnTo>
                  <a:pt x="5426" y="12410"/>
                </a:lnTo>
                <a:lnTo>
                  <a:pt x="5426" y="12604"/>
                </a:lnTo>
                <a:lnTo>
                  <a:pt x="5451" y="12799"/>
                </a:lnTo>
                <a:lnTo>
                  <a:pt x="5475" y="12921"/>
                </a:lnTo>
                <a:lnTo>
                  <a:pt x="5499" y="13042"/>
                </a:lnTo>
                <a:lnTo>
                  <a:pt x="5572" y="13140"/>
                </a:lnTo>
                <a:lnTo>
                  <a:pt x="5645" y="13237"/>
                </a:lnTo>
                <a:lnTo>
                  <a:pt x="5718" y="13334"/>
                </a:lnTo>
                <a:lnTo>
                  <a:pt x="5816" y="13383"/>
                </a:lnTo>
                <a:lnTo>
                  <a:pt x="5889" y="13456"/>
                </a:lnTo>
                <a:lnTo>
                  <a:pt x="6010" y="13480"/>
                </a:lnTo>
                <a:lnTo>
                  <a:pt x="5962" y="13675"/>
                </a:lnTo>
                <a:lnTo>
                  <a:pt x="5937" y="13894"/>
                </a:lnTo>
                <a:lnTo>
                  <a:pt x="5913" y="14332"/>
                </a:lnTo>
                <a:lnTo>
                  <a:pt x="5816" y="14794"/>
                </a:lnTo>
                <a:lnTo>
                  <a:pt x="5816" y="15038"/>
                </a:lnTo>
                <a:lnTo>
                  <a:pt x="5816" y="15159"/>
                </a:lnTo>
                <a:lnTo>
                  <a:pt x="5840" y="15281"/>
                </a:lnTo>
                <a:lnTo>
                  <a:pt x="5889" y="15330"/>
                </a:lnTo>
                <a:lnTo>
                  <a:pt x="5962" y="15378"/>
                </a:lnTo>
                <a:lnTo>
                  <a:pt x="6035" y="15403"/>
                </a:lnTo>
                <a:lnTo>
                  <a:pt x="6108" y="15378"/>
                </a:lnTo>
                <a:lnTo>
                  <a:pt x="6254" y="15403"/>
                </a:lnTo>
                <a:lnTo>
                  <a:pt x="6424" y="15427"/>
                </a:lnTo>
                <a:lnTo>
                  <a:pt x="6789" y="15427"/>
                </a:lnTo>
                <a:lnTo>
                  <a:pt x="7130" y="15403"/>
                </a:lnTo>
                <a:lnTo>
                  <a:pt x="7470" y="15378"/>
                </a:lnTo>
                <a:lnTo>
                  <a:pt x="7543" y="15354"/>
                </a:lnTo>
                <a:lnTo>
                  <a:pt x="7592" y="15330"/>
                </a:lnTo>
                <a:lnTo>
                  <a:pt x="7616" y="15281"/>
                </a:lnTo>
                <a:lnTo>
                  <a:pt x="7665" y="15232"/>
                </a:lnTo>
                <a:lnTo>
                  <a:pt x="7665" y="15159"/>
                </a:lnTo>
                <a:lnTo>
                  <a:pt x="7665" y="15111"/>
                </a:lnTo>
                <a:lnTo>
                  <a:pt x="7689" y="14308"/>
                </a:lnTo>
                <a:lnTo>
                  <a:pt x="7689" y="13894"/>
                </a:lnTo>
                <a:lnTo>
                  <a:pt x="7665" y="13699"/>
                </a:lnTo>
                <a:lnTo>
                  <a:pt x="7616" y="13505"/>
                </a:lnTo>
                <a:lnTo>
                  <a:pt x="7714" y="13456"/>
                </a:lnTo>
                <a:lnTo>
                  <a:pt x="7787" y="13407"/>
                </a:lnTo>
                <a:lnTo>
                  <a:pt x="7932" y="13164"/>
                </a:lnTo>
                <a:lnTo>
                  <a:pt x="8103" y="12896"/>
                </a:lnTo>
                <a:lnTo>
                  <a:pt x="8224" y="12629"/>
                </a:lnTo>
                <a:lnTo>
                  <a:pt x="8249" y="12483"/>
                </a:lnTo>
                <a:lnTo>
                  <a:pt x="8273" y="12337"/>
                </a:lnTo>
                <a:lnTo>
                  <a:pt x="8273" y="12191"/>
                </a:lnTo>
                <a:lnTo>
                  <a:pt x="8249" y="12020"/>
                </a:lnTo>
                <a:lnTo>
                  <a:pt x="8224" y="11874"/>
                </a:lnTo>
                <a:lnTo>
                  <a:pt x="8151" y="11728"/>
                </a:lnTo>
                <a:lnTo>
                  <a:pt x="8103" y="11607"/>
                </a:lnTo>
                <a:lnTo>
                  <a:pt x="8005" y="11485"/>
                </a:lnTo>
                <a:lnTo>
                  <a:pt x="7908" y="11363"/>
                </a:lnTo>
                <a:lnTo>
                  <a:pt x="7787" y="11242"/>
                </a:lnTo>
                <a:lnTo>
                  <a:pt x="7592" y="11120"/>
                </a:lnTo>
                <a:lnTo>
                  <a:pt x="7349" y="10998"/>
                </a:lnTo>
                <a:lnTo>
                  <a:pt x="7105" y="10950"/>
                </a:lnTo>
                <a:lnTo>
                  <a:pt x="6838" y="10925"/>
                </a:lnTo>
                <a:close/>
                <a:moveTo>
                  <a:pt x="12726" y="7811"/>
                </a:moveTo>
                <a:lnTo>
                  <a:pt x="12872" y="7860"/>
                </a:lnTo>
                <a:lnTo>
                  <a:pt x="12921" y="7884"/>
                </a:lnTo>
                <a:lnTo>
                  <a:pt x="12969" y="7933"/>
                </a:lnTo>
                <a:lnTo>
                  <a:pt x="12994" y="7981"/>
                </a:lnTo>
                <a:lnTo>
                  <a:pt x="13018" y="8078"/>
                </a:lnTo>
                <a:lnTo>
                  <a:pt x="13018" y="8103"/>
                </a:lnTo>
                <a:lnTo>
                  <a:pt x="12069" y="8103"/>
                </a:lnTo>
                <a:lnTo>
                  <a:pt x="11607" y="8151"/>
                </a:lnTo>
                <a:lnTo>
                  <a:pt x="11144" y="8200"/>
                </a:lnTo>
                <a:lnTo>
                  <a:pt x="10390" y="8200"/>
                </a:lnTo>
                <a:lnTo>
                  <a:pt x="10195" y="8224"/>
                </a:lnTo>
                <a:lnTo>
                  <a:pt x="10025" y="8273"/>
                </a:lnTo>
                <a:lnTo>
                  <a:pt x="9879" y="8346"/>
                </a:lnTo>
                <a:lnTo>
                  <a:pt x="9806" y="8395"/>
                </a:lnTo>
                <a:lnTo>
                  <a:pt x="9782" y="8443"/>
                </a:lnTo>
                <a:lnTo>
                  <a:pt x="9782" y="8492"/>
                </a:lnTo>
                <a:lnTo>
                  <a:pt x="9806" y="8541"/>
                </a:lnTo>
                <a:lnTo>
                  <a:pt x="9903" y="8589"/>
                </a:lnTo>
                <a:lnTo>
                  <a:pt x="11193" y="8589"/>
                </a:lnTo>
                <a:lnTo>
                  <a:pt x="11655" y="8565"/>
                </a:lnTo>
                <a:lnTo>
                  <a:pt x="12118" y="8589"/>
                </a:lnTo>
                <a:lnTo>
                  <a:pt x="12580" y="8589"/>
                </a:lnTo>
                <a:lnTo>
                  <a:pt x="12799" y="8565"/>
                </a:lnTo>
                <a:lnTo>
                  <a:pt x="13042" y="8541"/>
                </a:lnTo>
                <a:lnTo>
                  <a:pt x="13042" y="8735"/>
                </a:lnTo>
                <a:lnTo>
                  <a:pt x="13042" y="8979"/>
                </a:lnTo>
                <a:lnTo>
                  <a:pt x="12264" y="8979"/>
                </a:lnTo>
                <a:lnTo>
                  <a:pt x="11485" y="9003"/>
                </a:lnTo>
                <a:lnTo>
                  <a:pt x="11096" y="9027"/>
                </a:lnTo>
                <a:lnTo>
                  <a:pt x="10706" y="9052"/>
                </a:lnTo>
                <a:lnTo>
                  <a:pt x="10341" y="9125"/>
                </a:lnTo>
                <a:lnTo>
                  <a:pt x="10147" y="9173"/>
                </a:lnTo>
                <a:lnTo>
                  <a:pt x="9976" y="9246"/>
                </a:lnTo>
                <a:lnTo>
                  <a:pt x="9952" y="9295"/>
                </a:lnTo>
                <a:lnTo>
                  <a:pt x="9928" y="9344"/>
                </a:lnTo>
                <a:lnTo>
                  <a:pt x="9952" y="9392"/>
                </a:lnTo>
                <a:lnTo>
                  <a:pt x="10001" y="9417"/>
                </a:lnTo>
                <a:lnTo>
                  <a:pt x="10171" y="9441"/>
                </a:lnTo>
                <a:lnTo>
                  <a:pt x="10731" y="9441"/>
                </a:lnTo>
                <a:lnTo>
                  <a:pt x="11485" y="9368"/>
                </a:lnTo>
                <a:lnTo>
                  <a:pt x="12264" y="9368"/>
                </a:lnTo>
                <a:lnTo>
                  <a:pt x="13042" y="9344"/>
                </a:lnTo>
                <a:lnTo>
                  <a:pt x="13067" y="9733"/>
                </a:lnTo>
                <a:lnTo>
                  <a:pt x="12994" y="9684"/>
                </a:lnTo>
                <a:lnTo>
                  <a:pt x="12921" y="9660"/>
                </a:lnTo>
                <a:lnTo>
                  <a:pt x="12118" y="9709"/>
                </a:lnTo>
                <a:lnTo>
                  <a:pt x="11290" y="9757"/>
                </a:lnTo>
                <a:lnTo>
                  <a:pt x="10950" y="9782"/>
                </a:lnTo>
                <a:lnTo>
                  <a:pt x="10366" y="9782"/>
                </a:lnTo>
                <a:lnTo>
                  <a:pt x="10195" y="9830"/>
                </a:lnTo>
                <a:lnTo>
                  <a:pt x="10001" y="9879"/>
                </a:lnTo>
                <a:lnTo>
                  <a:pt x="9855" y="9952"/>
                </a:lnTo>
                <a:lnTo>
                  <a:pt x="9830" y="9976"/>
                </a:lnTo>
                <a:lnTo>
                  <a:pt x="9830" y="10001"/>
                </a:lnTo>
                <a:lnTo>
                  <a:pt x="9830" y="10049"/>
                </a:lnTo>
                <a:lnTo>
                  <a:pt x="9855" y="10074"/>
                </a:lnTo>
                <a:lnTo>
                  <a:pt x="10001" y="10147"/>
                </a:lnTo>
                <a:lnTo>
                  <a:pt x="10171" y="10195"/>
                </a:lnTo>
                <a:lnTo>
                  <a:pt x="10366" y="10220"/>
                </a:lnTo>
                <a:lnTo>
                  <a:pt x="10560" y="10220"/>
                </a:lnTo>
                <a:lnTo>
                  <a:pt x="10950" y="10195"/>
                </a:lnTo>
                <a:lnTo>
                  <a:pt x="11290" y="10171"/>
                </a:lnTo>
                <a:lnTo>
                  <a:pt x="12118" y="10122"/>
                </a:lnTo>
                <a:lnTo>
                  <a:pt x="12921" y="10098"/>
                </a:lnTo>
                <a:lnTo>
                  <a:pt x="13018" y="10074"/>
                </a:lnTo>
                <a:lnTo>
                  <a:pt x="13091" y="10001"/>
                </a:lnTo>
                <a:lnTo>
                  <a:pt x="13091" y="10390"/>
                </a:lnTo>
                <a:lnTo>
                  <a:pt x="13091" y="10633"/>
                </a:lnTo>
                <a:lnTo>
                  <a:pt x="12921" y="10609"/>
                </a:lnTo>
                <a:lnTo>
                  <a:pt x="12775" y="10585"/>
                </a:lnTo>
                <a:lnTo>
                  <a:pt x="12410" y="10585"/>
                </a:lnTo>
                <a:lnTo>
                  <a:pt x="12069" y="10609"/>
                </a:lnTo>
                <a:lnTo>
                  <a:pt x="11728" y="10609"/>
                </a:lnTo>
                <a:lnTo>
                  <a:pt x="11266" y="10585"/>
                </a:lnTo>
                <a:lnTo>
                  <a:pt x="10779" y="10560"/>
                </a:lnTo>
                <a:lnTo>
                  <a:pt x="10536" y="10585"/>
                </a:lnTo>
                <a:lnTo>
                  <a:pt x="10317" y="10633"/>
                </a:lnTo>
                <a:lnTo>
                  <a:pt x="10098" y="10706"/>
                </a:lnTo>
                <a:lnTo>
                  <a:pt x="9903" y="10828"/>
                </a:lnTo>
                <a:lnTo>
                  <a:pt x="9903" y="10852"/>
                </a:lnTo>
                <a:lnTo>
                  <a:pt x="9928" y="10877"/>
                </a:lnTo>
                <a:lnTo>
                  <a:pt x="10147" y="10950"/>
                </a:lnTo>
                <a:lnTo>
                  <a:pt x="10390" y="10974"/>
                </a:lnTo>
                <a:lnTo>
                  <a:pt x="10901" y="10998"/>
                </a:lnTo>
                <a:lnTo>
                  <a:pt x="11899" y="10998"/>
                </a:lnTo>
                <a:lnTo>
                  <a:pt x="12483" y="11047"/>
                </a:lnTo>
                <a:lnTo>
                  <a:pt x="12799" y="11047"/>
                </a:lnTo>
                <a:lnTo>
                  <a:pt x="13091" y="10998"/>
                </a:lnTo>
                <a:lnTo>
                  <a:pt x="13067" y="11363"/>
                </a:lnTo>
                <a:lnTo>
                  <a:pt x="12239" y="11388"/>
                </a:lnTo>
                <a:lnTo>
                  <a:pt x="11412" y="11461"/>
                </a:lnTo>
                <a:lnTo>
                  <a:pt x="11071" y="11485"/>
                </a:lnTo>
                <a:lnTo>
                  <a:pt x="10682" y="11509"/>
                </a:lnTo>
                <a:lnTo>
                  <a:pt x="10487" y="11534"/>
                </a:lnTo>
                <a:lnTo>
                  <a:pt x="10293" y="11558"/>
                </a:lnTo>
                <a:lnTo>
                  <a:pt x="10122" y="11607"/>
                </a:lnTo>
                <a:lnTo>
                  <a:pt x="9976" y="11680"/>
                </a:lnTo>
                <a:lnTo>
                  <a:pt x="9952" y="11704"/>
                </a:lnTo>
                <a:lnTo>
                  <a:pt x="9952" y="11728"/>
                </a:lnTo>
                <a:lnTo>
                  <a:pt x="9952" y="11753"/>
                </a:lnTo>
                <a:lnTo>
                  <a:pt x="9976" y="11777"/>
                </a:lnTo>
                <a:lnTo>
                  <a:pt x="10122" y="11850"/>
                </a:lnTo>
                <a:lnTo>
                  <a:pt x="10317" y="11874"/>
                </a:lnTo>
                <a:lnTo>
                  <a:pt x="10487" y="11899"/>
                </a:lnTo>
                <a:lnTo>
                  <a:pt x="10682" y="11899"/>
                </a:lnTo>
                <a:lnTo>
                  <a:pt x="11071" y="11874"/>
                </a:lnTo>
                <a:lnTo>
                  <a:pt x="11412" y="11826"/>
                </a:lnTo>
                <a:lnTo>
                  <a:pt x="12239" y="11777"/>
                </a:lnTo>
                <a:lnTo>
                  <a:pt x="13067" y="11728"/>
                </a:lnTo>
                <a:lnTo>
                  <a:pt x="13042" y="12312"/>
                </a:lnTo>
                <a:lnTo>
                  <a:pt x="12848" y="12264"/>
                </a:lnTo>
                <a:lnTo>
                  <a:pt x="12264" y="12264"/>
                </a:lnTo>
                <a:lnTo>
                  <a:pt x="11874" y="12288"/>
                </a:lnTo>
                <a:lnTo>
                  <a:pt x="11509" y="12312"/>
                </a:lnTo>
                <a:lnTo>
                  <a:pt x="11120" y="12312"/>
                </a:lnTo>
                <a:lnTo>
                  <a:pt x="10706" y="12288"/>
                </a:lnTo>
                <a:lnTo>
                  <a:pt x="10512" y="12312"/>
                </a:lnTo>
                <a:lnTo>
                  <a:pt x="10317" y="12337"/>
                </a:lnTo>
                <a:lnTo>
                  <a:pt x="10147" y="12385"/>
                </a:lnTo>
                <a:lnTo>
                  <a:pt x="9976" y="12483"/>
                </a:lnTo>
                <a:lnTo>
                  <a:pt x="9952" y="12507"/>
                </a:lnTo>
                <a:lnTo>
                  <a:pt x="9976" y="12531"/>
                </a:lnTo>
                <a:lnTo>
                  <a:pt x="10122" y="12629"/>
                </a:lnTo>
                <a:lnTo>
                  <a:pt x="10317" y="12677"/>
                </a:lnTo>
                <a:lnTo>
                  <a:pt x="10512" y="12726"/>
                </a:lnTo>
                <a:lnTo>
                  <a:pt x="11120" y="12726"/>
                </a:lnTo>
                <a:lnTo>
                  <a:pt x="11509" y="12702"/>
                </a:lnTo>
                <a:lnTo>
                  <a:pt x="12264" y="12726"/>
                </a:lnTo>
                <a:lnTo>
                  <a:pt x="12653" y="12702"/>
                </a:lnTo>
                <a:lnTo>
                  <a:pt x="12823" y="12677"/>
                </a:lnTo>
                <a:lnTo>
                  <a:pt x="13018" y="12653"/>
                </a:lnTo>
                <a:lnTo>
                  <a:pt x="12994" y="12848"/>
                </a:lnTo>
                <a:lnTo>
                  <a:pt x="12994" y="13164"/>
                </a:lnTo>
                <a:lnTo>
                  <a:pt x="12629" y="13115"/>
                </a:lnTo>
                <a:lnTo>
                  <a:pt x="12264" y="13115"/>
                </a:lnTo>
                <a:lnTo>
                  <a:pt x="11534" y="13164"/>
                </a:lnTo>
                <a:lnTo>
                  <a:pt x="11144" y="13164"/>
                </a:lnTo>
                <a:lnTo>
                  <a:pt x="10755" y="13188"/>
                </a:lnTo>
                <a:lnTo>
                  <a:pt x="10341" y="13213"/>
                </a:lnTo>
                <a:lnTo>
                  <a:pt x="10171" y="13261"/>
                </a:lnTo>
                <a:lnTo>
                  <a:pt x="9976" y="13310"/>
                </a:lnTo>
                <a:lnTo>
                  <a:pt x="9952" y="13334"/>
                </a:lnTo>
                <a:lnTo>
                  <a:pt x="9976" y="13383"/>
                </a:lnTo>
                <a:lnTo>
                  <a:pt x="10122" y="13480"/>
                </a:lnTo>
                <a:lnTo>
                  <a:pt x="10293" y="13529"/>
                </a:lnTo>
                <a:lnTo>
                  <a:pt x="10463" y="13578"/>
                </a:lnTo>
                <a:lnTo>
                  <a:pt x="11023" y="13578"/>
                </a:lnTo>
                <a:lnTo>
                  <a:pt x="11363" y="13553"/>
                </a:lnTo>
                <a:lnTo>
                  <a:pt x="12166" y="13505"/>
                </a:lnTo>
                <a:lnTo>
                  <a:pt x="12580" y="13505"/>
                </a:lnTo>
                <a:lnTo>
                  <a:pt x="12969" y="13529"/>
                </a:lnTo>
                <a:lnTo>
                  <a:pt x="12945" y="14210"/>
                </a:lnTo>
                <a:lnTo>
                  <a:pt x="12775" y="14137"/>
                </a:lnTo>
                <a:lnTo>
                  <a:pt x="12580" y="14089"/>
                </a:lnTo>
                <a:lnTo>
                  <a:pt x="12385" y="14064"/>
                </a:lnTo>
                <a:lnTo>
                  <a:pt x="11753" y="14064"/>
                </a:lnTo>
                <a:lnTo>
                  <a:pt x="11388" y="14089"/>
                </a:lnTo>
                <a:lnTo>
                  <a:pt x="10852" y="14137"/>
                </a:lnTo>
                <a:lnTo>
                  <a:pt x="10317" y="14162"/>
                </a:lnTo>
                <a:lnTo>
                  <a:pt x="10001" y="14186"/>
                </a:lnTo>
                <a:lnTo>
                  <a:pt x="9830" y="14235"/>
                </a:lnTo>
                <a:lnTo>
                  <a:pt x="9782" y="14259"/>
                </a:lnTo>
                <a:lnTo>
                  <a:pt x="9709" y="14308"/>
                </a:lnTo>
                <a:lnTo>
                  <a:pt x="9684" y="14332"/>
                </a:lnTo>
                <a:lnTo>
                  <a:pt x="9684" y="14381"/>
                </a:lnTo>
                <a:lnTo>
                  <a:pt x="9684" y="14429"/>
                </a:lnTo>
                <a:lnTo>
                  <a:pt x="9709" y="14478"/>
                </a:lnTo>
                <a:lnTo>
                  <a:pt x="9782" y="14527"/>
                </a:lnTo>
                <a:lnTo>
                  <a:pt x="9830" y="14551"/>
                </a:lnTo>
                <a:lnTo>
                  <a:pt x="10001" y="14600"/>
                </a:lnTo>
                <a:lnTo>
                  <a:pt x="10414" y="14600"/>
                </a:lnTo>
                <a:lnTo>
                  <a:pt x="10828" y="14551"/>
                </a:lnTo>
                <a:lnTo>
                  <a:pt x="11144" y="14527"/>
                </a:lnTo>
                <a:lnTo>
                  <a:pt x="11558" y="14502"/>
                </a:lnTo>
                <a:lnTo>
                  <a:pt x="11996" y="14454"/>
                </a:lnTo>
                <a:lnTo>
                  <a:pt x="12215" y="14478"/>
                </a:lnTo>
                <a:lnTo>
                  <a:pt x="12434" y="14478"/>
                </a:lnTo>
                <a:lnTo>
                  <a:pt x="12629" y="14527"/>
                </a:lnTo>
                <a:lnTo>
                  <a:pt x="12823" y="14600"/>
                </a:lnTo>
                <a:lnTo>
                  <a:pt x="12872" y="14624"/>
                </a:lnTo>
                <a:lnTo>
                  <a:pt x="12945" y="14624"/>
                </a:lnTo>
                <a:lnTo>
                  <a:pt x="12945" y="15062"/>
                </a:lnTo>
                <a:lnTo>
                  <a:pt x="12872" y="14989"/>
                </a:lnTo>
                <a:lnTo>
                  <a:pt x="12848" y="14965"/>
                </a:lnTo>
                <a:lnTo>
                  <a:pt x="12799" y="14940"/>
                </a:lnTo>
                <a:lnTo>
                  <a:pt x="12483" y="14916"/>
                </a:lnTo>
                <a:lnTo>
                  <a:pt x="12142" y="14892"/>
                </a:lnTo>
                <a:lnTo>
                  <a:pt x="11461" y="14916"/>
                </a:lnTo>
                <a:lnTo>
                  <a:pt x="10706" y="14940"/>
                </a:lnTo>
                <a:lnTo>
                  <a:pt x="10317" y="14965"/>
                </a:lnTo>
                <a:lnTo>
                  <a:pt x="9952" y="15013"/>
                </a:lnTo>
                <a:lnTo>
                  <a:pt x="9903" y="15038"/>
                </a:lnTo>
                <a:lnTo>
                  <a:pt x="9855" y="15086"/>
                </a:lnTo>
                <a:lnTo>
                  <a:pt x="9830" y="15135"/>
                </a:lnTo>
                <a:lnTo>
                  <a:pt x="9830" y="15208"/>
                </a:lnTo>
                <a:lnTo>
                  <a:pt x="9830" y="15257"/>
                </a:lnTo>
                <a:lnTo>
                  <a:pt x="9855" y="15305"/>
                </a:lnTo>
                <a:lnTo>
                  <a:pt x="9903" y="15354"/>
                </a:lnTo>
                <a:lnTo>
                  <a:pt x="9952" y="15378"/>
                </a:lnTo>
                <a:lnTo>
                  <a:pt x="10293" y="15403"/>
                </a:lnTo>
                <a:lnTo>
                  <a:pt x="10633" y="15403"/>
                </a:lnTo>
                <a:lnTo>
                  <a:pt x="11315" y="15378"/>
                </a:lnTo>
                <a:lnTo>
                  <a:pt x="12045" y="15354"/>
                </a:lnTo>
                <a:lnTo>
                  <a:pt x="12750" y="15330"/>
                </a:lnTo>
                <a:lnTo>
                  <a:pt x="12848" y="15305"/>
                </a:lnTo>
                <a:lnTo>
                  <a:pt x="12896" y="15257"/>
                </a:lnTo>
                <a:lnTo>
                  <a:pt x="12921" y="15232"/>
                </a:lnTo>
                <a:lnTo>
                  <a:pt x="12921" y="15695"/>
                </a:lnTo>
                <a:lnTo>
                  <a:pt x="12629" y="15646"/>
                </a:lnTo>
                <a:lnTo>
                  <a:pt x="12312" y="15646"/>
                </a:lnTo>
                <a:lnTo>
                  <a:pt x="11728" y="15670"/>
                </a:lnTo>
                <a:lnTo>
                  <a:pt x="11290" y="15695"/>
                </a:lnTo>
                <a:lnTo>
                  <a:pt x="10828" y="15743"/>
                </a:lnTo>
                <a:lnTo>
                  <a:pt x="10609" y="15792"/>
                </a:lnTo>
                <a:lnTo>
                  <a:pt x="10390" y="15865"/>
                </a:lnTo>
                <a:lnTo>
                  <a:pt x="10195" y="15938"/>
                </a:lnTo>
                <a:lnTo>
                  <a:pt x="10001" y="16060"/>
                </a:lnTo>
                <a:lnTo>
                  <a:pt x="9976" y="16084"/>
                </a:lnTo>
                <a:lnTo>
                  <a:pt x="9976" y="16133"/>
                </a:lnTo>
                <a:lnTo>
                  <a:pt x="9976" y="16157"/>
                </a:lnTo>
                <a:lnTo>
                  <a:pt x="10025" y="16181"/>
                </a:lnTo>
                <a:lnTo>
                  <a:pt x="10414" y="16181"/>
                </a:lnTo>
                <a:lnTo>
                  <a:pt x="10804" y="16157"/>
                </a:lnTo>
                <a:lnTo>
                  <a:pt x="11193" y="16108"/>
                </a:lnTo>
                <a:lnTo>
                  <a:pt x="11582" y="16084"/>
                </a:lnTo>
                <a:lnTo>
                  <a:pt x="12020" y="16060"/>
                </a:lnTo>
                <a:lnTo>
                  <a:pt x="12458" y="16060"/>
                </a:lnTo>
                <a:lnTo>
                  <a:pt x="12702" y="16084"/>
                </a:lnTo>
                <a:lnTo>
                  <a:pt x="12945" y="16133"/>
                </a:lnTo>
                <a:lnTo>
                  <a:pt x="12945" y="16424"/>
                </a:lnTo>
                <a:lnTo>
                  <a:pt x="12629" y="16400"/>
                </a:lnTo>
                <a:lnTo>
                  <a:pt x="12312" y="16400"/>
                </a:lnTo>
                <a:lnTo>
                  <a:pt x="11680" y="16424"/>
                </a:lnTo>
                <a:lnTo>
                  <a:pt x="11363" y="16424"/>
                </a:lnTo>
                <a:lnTo>
                  <a:pt x="10925" y="16449"/>
                </a:lnTo>
                <a:lnTo>
                  <a:pt x="10706" y="16473"/>
                </a:lnTo>
                <a:lnTo>
                  <a:pt x="10512" y="16522"/>
                </a:lnTo>
                <a:lnTo>
                  <a:pt x="10341" y="16619"/>
                </a:lnTo>
                <a:lnTo>
                  <a:pt x="10293" y="16668"/>
                </a:lnTo>
                <a:lnTo>
                  <a:pt x="10244" y="16716"/>
                </a:lnTo>
                <a:lnTo>
                  <a:pt x="10244" y="16814"/>
                </a:lnTo>
                <a:lnTo>
                  <a:pt x="10268" y="16838"/>
                </a:lnTo>
                <a:lnTo>
                  <a:pt x="10293" y="16862"/>
                </a:lnTo>
                <a:lnTo>
                  <a:pt x="10414" y="16935"/>
                </a:lnTo>
                <a:lnTo>
                  <a:pt x="10560" y="16960"/>
                </a:lnTo>
                <a:lnTo>
                  <a:pt x="10925" y="16960"/>
                </a:lnTo>
                <a:lnTo>
                  <a:pt x="11290" y="16935"/>
                </a:lnTo>
                <a:lnTo>
                  <a:pt x="11582" y="16887"/>
                </a:lnTo>
                <a:lnTo>
                  <a:pt x="12629" y="16887"/>
                </a:lnTo>
                <a:lnTo>
                  <a:pt x="12969" y="16935"/>
                </a:lnTo>
                <a:lnTo>
                  <a:pt x="12969" y="17179"/>
                </a:lnTo>
                <a:lnTo>
                  <a:pt x="12945" y="17227"/>
                </a:lnTo>
                <a:lnTo>
                  <a:pt x="12921" y="17276"/>
                </a:lnTo>
                <a:lnTo>
                  <a:pt x="12921" y="17373"/>
                </a:lnTo>
                <a:lnTo>
                  <a:pt x="12653" y="17349"/>
                </a:lnTo>
                <a:lnTo>
                  <a:pt x="12385" y="17349"/>
                </a:lnTo>
                <a:lnTo>
                  <a:pt x="11850" y="17398"/>
                </a:lnTo>
                <a:lnTo>
                  <a:pt x="11120" y="17422"/>
                </a:lnTo>
                <a:lnTo>
                  <a:pt x="10755" y="17471"/>
                </a:lnTo>
                <a:lnTo>
                  <a:pt x="10585" y="17519"/>
                </a:lnTo>
                <a:lnTo>
                  <a:pt x="10414" y="17592"/>
                </a:lnTo>
                <a:lnTo>
                  <a:pt x="10390" y="17592"/>
                </a:lnTo>
                <a:lnTo>
                  <a:pt x="10414" y="17617"/>
                </a:lnTo>
                <a:lnTo>
                  <a:pt x="10560" y="17665"/>
                </a:lnTo>
                <a:lnTo>
                  <a:pt x="10731" y="17714"/>
                </a:lnTo>
                <a:lnTo>
                  <a:pt x="11023" y="17738"/>
                </a:lnTo>
                <a:lnTo>
                  <a:pt x="12775" y="17738"/>
                </a:lnTo>
                <a:lnTo>
                  <a:pt x="12677" y="17836"/>
                </a:lnTo>
                <a:lnTo>
                  <a:pt x="12580" y="17957"/>
                </a:lnTo>
                <a:lnTo>
                  <a:pt x="12483" y="17909"/>
                </a:lnTo>
                <a:lnTo>
                  <a:pt x="12361" y="17884"/>
                </a:lnTo>
                <a:lnTo>
                  <a:pt x="11363" y="17884"/>
                </a:lnTo>
                <a:lnTo>
                  <a:pt x="11047" y="17909"/>
                </a:lnTo>
                <a:lnTo>
                  <a:pt x="10901" y="17933"/>
                </a:lnTo>
                <a:lnTo>
                  <a:pt x="10755" y="17957"/>
                </a:lnTo>
                <a:lnTo>
                  <a:pt x="10633" y="18030"/>
                </a:lnTo>
                <a:lnTo>
                  <a:pt x="10512" y="18103"/>
                </a:lnTo>
                <a:lnTo>
                  <a:pt x="10512" y="18128"/>
                </a:lnTo>
                <a:lnTo>
                  <a:pt x="10536" y="18152"/>
                </a:lnTo>
                <a:lnTo>
                  <a:pt x="10633" y="18201"/>
                </a:lnTo>
                <a:lnTo>
                  <a:pt x="10779" y="18249"/>
                </a:lnTo>
                <a:lnTo>
                  <a:pt x="10925" y="18274"/>
                </a:lnTo>
                <a:lnTo>
                  <a:pt x="11071" y="18274"/>
                </a:lnTo>
                <a:lnTo>
                  <a:pt x="11363" y="18249"/>
                </a:lnTo>
                <a:lnTo>
                  <a:pt x="11655" y="18225"/>
                </a:lnTo>
                <a:lnTo>
                  <a:pt x="11947" y="18249"/>
                </a:lnTo>
                <a:lnTo>
                  <a:pt x="11704" y="18298"/>
                </a:lnTo>
                <a:lnTo>
                  <a:pt x="11461" y="18322"/>
                </a:lnTo>
                <a:lnTo>
                  <a:pt x="10950" y="18371"/>
                </a:lnTo>
                <a:lnTo>
                  <a:pt x="10025" y="18395"/>
                </a:lnTo>
                <a:lnTo>
                  <a:pt x="9100" y="18420"/>
                </a:lnTo>
                <a:lnTo>
                  <a:pt x="8151" y="18420"/>
                </a:lnTo>
                <a:lnTo>
                  <a:pt x="7227" y="18395"/>
                </a:lnTo>
                <a:lnTo>
                  <a:pt x="6254" y="18347"/>
                </a:lnTo>
                <a:lnTo>
                  <a:pt x="5305" y="18371"/>
                </a:lnTo>
                <a:lnTo>
                  <a:pt x="3382" y="18420"/>
                </a:lnTo>
                <a:lnTo>
                  <a:pt x="2555" y="18444"/>
                </a:lnTo>
                <a:lnTo>
                  <a:pt x="2141" y="18444"/>
                </a:lnTo>
                <a:lnTo>
                  <a:pt x="1728" y="18420"/>
                </a:lnTo>
                <a:lnTo>
                  <a:pt x="1557" y="18395"/>
                </a:lnTo>
                <a:lnTo>
                  <a:pt x="1387" y="18347"/>
                </a:lnTo>
                <a:lnTo>
                  <a:pt x="1217" y="18298"/>
                </a:lnTo>
                <a:lnTo>
                  <a:pt x="1095" y="18249"/>
                </a:lnTo>
                <a:lnTo>
                  <a:pt x="949" y="18152"/>
                </a:lnTo>
                <a:lnTo>
                  <a:pt x="827" y="18079"/>
                </a:lnTo>
                <a:lnTo>
                  <a:pt x="608" y="17836"/>
                </a:lnTo>
                <a:lnTo>
                  <a:pt x="608" y="17787"/>
                </a:lnTo>
                <a:lnTo>
                  <a:pt x="633" y="17154"/>
                </a:lnTo>
                <a:lnTo>
                  <a:pt x="681" y="16497"/>
                </a:lnTo>
                <a:lnTo>
                  <a:pt x="681" y="15865"/>
                </a:lnTo>
                <a:lnTo>
                  <a:pt x="657" y="15549"/>
                </a:lnTo>
                <a:lnTo>
                  <a:pt x="633" y="15232"/>
                </a:lnTo>
                <a:lnTo>
                  <a:pt x="584" y="14892"/>
                </a:lnTo>
                <a:lnTo>
                  <a:pt x="560" y="14551"/>
                </a:lnTo>
                <a:lnTo>
                  <a:pt x="535" y="13845"/>
                </a:lnTo>
                <a:lnTo>
                  <a:pt x="560" y="13164"/>
                </a:lnTo>
                <a:lnTo>
                  <a:pt x="584" y="12483"/>
                </a:lnTo>
                <a:lnTo>
                  <a:pt x="608" y="11753"/>
                </a:lnTo>
                <a:lnTo>
                  <a:pt x="608" y="11023"/>
                </a:lnTo>
                <a:lnTo>
                  <a:pt x="608" y="9587"/>
                </a:lnTo>
                <a:lnTo>
                  <a:pt x="608" y="9052"/>
                </a:lnTo>
                <a:lnTo>
                  <a:pt x="608" y="8784"/>
                </a:lnTo>
                <a:lnTo>
                  <a:pt x="633" y="8516"/>
                </a:lnTo>
                <a:lnTo>
                  <a:pt x="657" y="8395"/>
                </a:lnTo>
                <a:lnTo>
                  <a:pt x="706" y="8297"/>
                </a:lnTo>
                <a:lnTo>
                  <a:pt x="827" y="8127"/>
                </a:lnTo>
                <a:lnTo>
                  <a:pt x="1071" y="7835"/>
                </a:lnTo>
                <a:lnTo>
                  <a:pt x="1411" y="7884"/>
                </a:lnTo>
                <a:lnTo>
                  <a:pt x="1728" y="7908"/>
                </a:lnTo>
                <a:lnTo>
                  <a:pt x="2409" y="7908"/>
                </a:lnTo>
                <a:lnTo>
                  <a:pt x="3066" y="7884"/>
                </a:lnTo>
                <a:lnTo>
                  <a:pt x="5207" y="7884"/>
                </a:lnTo>
                <a:lnTo>
                  <a:pt x="6692" y="7908"/>
                </a:lnTo>
                <a:lnTo>
                  <a:pt x="10268" y="7908"/>
                </a:lnTo>
                <a:lnTo>
                  <a:pt x="10974" y="7860"/>
                </a:lnTo>
                <a:lnTo>
                  <a:pt x="11315" y="7860"/>
                </a:lnTo>
                <a:lnTo>
                  <a:pt x="11631" y="7884"/>
                </a:lnTo>
                <a:lnTo>
                  <a:pt x="11972" y="7908"/>
                </a:lnTo>
                <a:lnTo>
                  <a:pt x="12312" y="7957"/>
                </a:lnTo>
                <a:lnTo>
                  <a:pt x="12410" y="7981"/>
                </a:lnTo>
                <a:lnTo>
                  <a:pt x="12483" y="7933"/>
                </a:lnTo>
                <a:lnTo>
                  <a:pt x="12556" y="7884"/>
                </a:lnTo>
                <a:lnTo>
                  <a:pt x="12604" y="7811"/>
                </a:lnTo>
                <a:close/>
                <a:moveTo>
                  <a:pt x="6643" y="0"/>
                </a:moveTo>
                <a:lnTo>
                  <a:pt x="6327" y="24"/>
                </a:lnTo>
                <a:lnTo>
                  <a:pt x="6010" y="49"/>
                </a:lnTo>
                <a:lnTo>
                  <a:pt x="5694" y="122"/>
                </a:lnTo>
                <a:lnTo>
                  <a:pt x="5402" y="170"/>
                </a:lnTo>
                <a:lnTo>
                  <a:pt x="5086" y="268"/>
                </a:lnTo>
                <a:lnTo>
                  <a:pt x="4794" y="365"/>
                </a:lnTo>
                <a:lnTo>
                  <a:pt x="4502" y="487"/>
                </a:lnTo>
                <a:lnTo>
                  <a:pt x="4210" y="633"/>
                </a:lnTo>
                <a:lnTo>
                  <a:pt x="3942" y="779"/>
                </a:lnTo>
                <a:lnTo>
                  <a:pt x="3674" y="949"/>
                </a:lnTo>
                <a:lnTo>
                  <a:pt x="3431" y="1144"/>
                </a:lnTo>
                <a:lnTo>
                  <a:pt x="3188" y="1338"/>
                </a:lnTo>
                <a:lnTo>
                  <a:pt x="2969" y="1557"/>
                </a:lnTo>
                <a:lnTo>
                  <a:pt x="2750" y="1776"/>
                </a:lnTo>
                <a:lnTo>
                  <a:pt x="2555" y="2044"/>
                </a:lnTo>
                <a:lnTo>
                  <a:pt x="2385" y="2287"/>
                </a:lnTo>
                <a:lnTo>
                  <a:pt x="2214" y="2579"/>
                </a:lnTo>
                <a:lnTo>
                  <a:pt x="1947" y="3090"/>
                </a:lnTo>
                <a:lnTo>
                  <a:pt x="1728" y="3674"/>
                </a:lnTo>
                <a:lnTo>
                  <a:pt x="1533" y="4283"/>
                </a:lnTo>
                <a:lnTo>
                  <a:pt x="1387" y="4891"/>
                </a:lnTo>
                <a:lnTo>
                  <a:pt x="1314" y="5524"/>
                </a:lnTo>
                <a:lnTo>
                  <a:pt x="1290" y="5840"/>
                </a:lnTo>
                <a:lnTo>
                  <a:pt x="1265" y="6156"/>
                </a:lnTo>
                <a:lnTo>
                  <a:pt x="1290" y="6448"/>
                </a:lnTo>
                <a:lnTo>
                  <a:pt x="1314" y="6765"/>
                </a:lnTo>
                <a:lnTo>
                  <a:pt x="1363" y="7057"/>
                </a:lnTo>
                <a:lnTo>
                  <a:pt x="1436" y="7349"/>
                </a:lnTo>
                <a:lnTo>
                  <a:pt x="1460" y="7422"/>
                </a:lnTo>
                <a:lnTo>
                  <a:pt x="998" y="7495"/>
                </a:lnTo>
                <a:lnTo>
                  <a:pt x="803" y="7495"/>
                </a:lnTo>
                <a:lnTo>
                  <a:pt x="730" y="7543"/>
                </a:lnTo>
                <a:lnTo>
                  <a:pt x="657" y="7568"/>
                </a:lnTo>
                <a:lnTo>
                  <a:pt x="511" y="7689"/>
                </a:lnTo>
                <a:lnTo>
                  <a:pt x="389" y="7860"/>
                </a:lnTo>
                <a:lnTo>
                  <a:pt x="292" y="8030"/>
                </a:lnTo>
                <a:lnTo>
                  <a:pt x="219" y="8200"/>
                </a:lnTo>
                <a:lnTo>
                  <a:pt x="170" y="8395"/>
                </a:lnTo>
                <a:lnTo>
                  <a:pt x="146" y="8565"/>
                </a:lnTo>
                <a:lnTo>
                  <a:pt x="97" y="8930"/>
                </a:lnTo>
                <a:lnTo>
                  <a:pt x="73" y="9319"/>
                </a:lnTo>
                <a:lnTo>
                  <a:pt x="73" y="10074"/>
                </a:lnTo>
                <a:lnTo>
                  <a:pt x="97" y="10828"/>
                </a:lnTo>
                <a:lnTo>
                  <a:pt x="97" y="11582"/>
                </a:lnTo>
                <a:lnTo>
                  <a:pt x="73" y="12361"/>
                </a:lnTo>
                <a:lnTo>
                  <a:pt x="24" y="13115"/>
                </a:lnTo>
                <a:lnTo>
                  <a:pt x="0" y="13894"/>
                </a:lnTo>
                <a:lnTo>
                  <a:pt x="0" y="14283"/>
                </a:lnTo>
                <a:lnTo>
                  <a:pt x="24" y="14673"/>
                </a:lnTo>
                <a:lnTo>
                  <a:pt x="97" y="15378"/>
                </a:lnTo>
                <a:lnTo>
                  <a:pt x="146" y="15743"/>
                </a:lnTo>
                <a:lnTo>
                  <a:pt x="146" y="16108"/>
                </a:lnTo>
                <a:lnTo>
                  <a:pt x="122" y="16935"/>
                </a:lnTo>
                <a:lnTo>
                  <a:pt x="97" y="17787"/>
                </a:lnTo>
                <a:lnTo>
                  <a:pt x="97" y="17860"/>
                </a:lnTo>
                <a:lnTo>
                  <a:pt x="146" y="17933"/>
                </a:lnTo>
                <a:lnTo>
                  <a:pt x="195" y="17982"/>
                </a:lnTo>
                <a:lnTo>
                  <a:pt x="243" y="18006"/>
                </a:lnTo>
                <a:lnTo>
                  <a:pt x="341" y="18152"/>
                </a:lnTo>
                <a:lnTo>
                  <a:pt x="438" y="18298"/>
                </a:lnTo>
                <a:lnTo>
                  <a:pt x="560" y="18420"/>
                </a:lnTo>
                <a:lnTo>
                  <a:pt x="681" y="18517"/>
                </a:lnTo>
                <a:lnTo>
                  <a:pt x="827" y="18590"/>
                </a:lnTo>
                <a:lnTo>
                  <a:pt x="973" y="18663"/>
                </a:lnTo>
                <a:lnTo>
                  <a:pt x="1314" y="18760"/>
                </a:lnTo>
                <a:lnTo>
                  <a:pt x="1655" y="18809"/>
                </a:lnTo>
                <a:lnTo>
                  <a:pt x="2020" y="18833"/>
                </a:lnTo>
                <a:lnTo>
                  <a:pt x="2677" y="18858"/>
                </a:lnTo>
                <a:lnTo>
                  <a:pt x="3869" y="18833"/>
                </a:lnTo>
                <a:lnTo>
                  <a:pt x="5037" y="18785"/>
                </a:lnTo>
                <a:lnTo>
                  <a:pt x="6813" y="18785"/>
                </a:lnTo>
                <a:lnTo>
                  <a:pt x="7422" y="18809"/>
                </a:lnTo>
                <a:lnTo>
                  <a:pt x="8443" y="18858"/>
                </a:lnTo>
                <a:lnTo>
                  <a:pt x="9465" y="18858"/>
                </a:lnTo>
                <a:lnTo>
                  <a:pt x="10487" y="18809"/>
                </a:lnTo>
                <a:lnTo>
                  <a:pt x="11509" y="18760"/>
                </a:lnTo>
                <a:lnTo>
                  <a:pt x="11801" y="18712"/>
                </a:lnTo>
                <a:lnTo>
                  <a:pt x="12069" y="18663"/>
                </a:lnTo>
                <a:lnTo>
                  <a:pt x="12337" y="18590"/>
                </a:lnTo>
                <a:lnTo>
                  <a:pt x="12556" y="18493"/>
                </a:lnTo>
                <a:lnTo>
                  <a:pt x="12775" y="18347"/>
                </a:lnTo>
                <a:lnTo>
                  <a:pt x="12969" y="18201"/>
                </a:lnTo>
                <a:lnTo>
                  <a:pt x="13115" y="17982"/>
                </a:lnTo>
                <a:lnTo>
                  <a:pt x="13237" y="17763"/>
                </a:lnTo>
                <a:lnTo>
                  <a:pt x="13286" y="17738"/>
                </a:lnTo>
                <a:lnTo>
                  <a:pt x="13310" y="17690"/>
                </a:lnTo>
                <a:lnTo>
                  <a:pt x="13334" y="17665"/>
                </a:lnTo>
                <a:lnTo>
                  <a:pt x="13334" y="17592"/>
                </a:lnTo>
                <a:lnTo>
                  <a:pt x="13334" y="17471"/>
                </a:lnTo>
                <a:lnTo>
                  <a:pt x="13359" y="17398"/>
                </a:lnTo>
                <a:lnTo>
                  <a:pt x="13359" y="17300"/>
                </a:lnTo>
                <a:lnTo>
                  <a:pt x="13310" y="17227"/>
                </a:lnTo>
                <a:lnTo>
                  <a:pt x="13310" y="16862"/>
                </a:lnTo>
                <a:lnTo>
                  <a:pt x="13334" y="16789"/>
                </a:lnTo>
                <a:lnTo>
                  <a:pt x="13359" y="16716"/>
                </a:lnTo>
                <a:lnTo>
                  <a:pt x="13334" y="16643"/>
                </a:lnTo>
                <a:lnTo>
                  <a:pt x="13310" y="16570"/>
                </a:lnTo>
                <a:lnTo>
                  <a:pt x="13286" y="16108"/>
                </a:lnTo>
                <a:lnTo>
                  <a:pt x="13334" y="16060"/>
                </a:lnTo>
                <a:lnTo>
                  <a:pt x="13359" y="15987"/>
                </a:lnTo>
                <a:lnTo>
                  <a:pt x="13359" y="15914"/>
                </a:lnTo>
                <a:lnTo>
                  <a:pt x="13310" y="15865"/>
                </a:lnTo>
                <a:lnTo>
                  <a:pt x="13359" y="14454"/>
                </a:lnTo>
                <a:lnTo>
                  <a:pt x="13432" y="13042"/>
                </a:lnTo>
                <a:lnTo>
                  <a:pt x="13480" y="11826"/>
                </a:lnTo>
                <a:lnTo>
                  <a:pt x="13529" y="10585"/>
                </a:lnTo>
                <a:lnTo>
                  <a:pt x="13553" y="10098"/>
                </a:lnTo>
                <a:lnTo>
                  <a:pt x="13553" y="9563"/>
                </a:lnTo>
                <a:lnTo>
                  <a:pt x="13529" y="9027"/>
                </a:lnTo>
                <a:lnTo>
                  <a:pt x="13505" y="8760"/>
                </a:lnTo>
                <a:lnTo>
                  <a:pt x="13456" y="8516"/>
                </a:lnTo>
                <a:lnTo>
                  <a:pt x="13432" y="8127"/>
                </a:lnTo>
                <a:lnTo>
                  <a:pt x="13383" y="7933"/>
                </a:lnTo>
                <a:lnTo>
                  <a:pt x="13334" y="7762"/>
                </a:lnTo>
                <a:lnTo>
                  <a:pt x="13261" y="7665"/>
                </a:lnTo>
                <a:lnTo>
                  <a:pt x="13188" y="7592"/>
                </a:lnTo>
                <a:lnTo>
                  <a:pt x="13091" y="7519"/>
                </a:lnTo>
                <a:lnTo>
                  <a:pt x="12969" y="7470"/>
                </a:lnTo>
                <a:lnTo>
                  <a:pt x="12848" y="7446"/>
                </a:lnTo>
                <a:lnTo>
                  <a:pt x="12726" y="7446"/>
                </a:lnTo>
                <a:lnTo>
                  <a:pt x="12604" y="7470"/>
                </a:lnTo>
                <a:lnTo>
                  <a:pt x="12483" y="7495"/>
                </a:lnTo>
                <a:lnTo>
                  <a:pt x="12434" y="7470"/>
                </a:lnTo>
                <a:lnTo>
                  <a:pt x="12239" y="7446"/>
                </a:lnTo>
                <a:lnTo>
                  <a:pt x="12239" y="7373"/>
                </a:lnTo>
                <a:lnTo>
                  <a:pt x="12166" y="6984"/>
                </a:lnTo>
                <a:lnTo>
                  <a:pt x="12118" y="6570"/>
                </a:lnTo>
                <a:lnTo>
                  <a:pt x="12093" y="6181"/>
                </a:lnTo>
                <a:lnTo>
                  <a:pt x="12093" y="5767"/>
                </a:lnTo>
                <a:lnTo>
                  <a:pt x="12093" y="4940"/>
                </a:lnTo>
                <a:lnTo>
                  <a:pt x="12069" y="4550"/>
                </a:lnTo>
                <a:lnTo>
                  <a:pt x="11996" y="4137"/>
                </a:lnTo>
                <a:lnTo>
                  <a:pt x="11923" y="3796"/>
                </a:lnTo>
                <a:lnTo>
                  <a:pt x="11826" y="3455"/>
                </a:lnTo>
                <a:lnTo>
                  <a:pt x="11704" y="3115"/>
                </a:lnTo>
                <a:lnTo>
                  <a:pt x="11558" y="2798"/>
                </a:lnTo>
                <a:lnTo>
                  <a:pt x="11388" y="2482"/>
                </a:lnTo>
                <a:lnTo>
                  <a:pt x="11193" y="2190"/>
                </a:lnTo>
                <a:lnTo>
                  <a:pt x="10974" y="1898"/>
                </a:lnTo>
                <a:lnTo>
                  <a:pt x="10731" y="1630"/>
                </a:lnTo>
                <a:lnTo>
                  <a:pt x="10512" y="1411"/>
                </a:lnTo>
                <a:lnTo>
                  <a:pt x="10293" y="1217"/>
                </a:lnTo>
                <a:lnTo>
                  <a:pt x="10049" y="1022"/>
                </a:lnTo>
                <a:lnTo>
                  <a:pt x="9806" y="852"/>
                </a:lnTo>
                <a:lnTo>
                  <a:pt x="9538" y="706"/>
                </a:lnTo>
                <a:lnTo>
                  <a:pt x="9271" y="560"/>
                </a:lnTo>
                <a:lnTo>
                  <a:pt x="9003" y="438"/>
                </a:lnTo>
                <a:lnTo>
                  <a:pt x="8711" y="341"/>
                </a:lnTo>
                <a:lnTo>
                  <a:pt x="8443" y="243"/>
                </a:lnTo>
                <a:lnTo>
                  <a:pt x="8151" y="170"/>
                </a:lnTo>
                <a:lnTo>
                  <a:pt x="7835" y="97"/>
                </a:lnTo>
                <a:lnTo>
                  <a:pt x="7543" y="49"/>
                </a:lnTo>
                <a:lnTo>
                  <a:pt x="7251" y="24"/>
                </a:lnTo>
                <a:lnTo>
                  <a:pt x="6935" y="0"/>
                </a:lnTo>
                <a:close/>
              </a:path>
            </a:pathLst>
          </a:custGeom>
          <a:solidFill>
            <a:schemeClr val="accent3"/>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9" name="Rectangle 8">
            <a:extLst>
              <a:ext uri="{FF2B5EF4-FFF2-40B4-BE49-F238E27FC236}">
                <a16:creationId xmlns:a16="http://schemas.microsoft.com/office/drawing/2014/main" id="{F4A62E7F-4F3A-B75C-F867-3B4D981D46EA}"/>
              </a:ext>
            </a:extLst>
          </p:cNvPr>
          <p:cNvSpPr/>
          <p:nvPr/>
        </p:nvSpPr>
        <p:spPr>
          <a:xfrm>
            <a:off x="4383800" y="6110793"/>
            <a:ext cx="204250" cy="20913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7" name="TextBox 6">
            <a:extLst>
              <a:ext uri="{FF2B5EF4-FFF2-40B4-BE49-F238E27FC236}">
                <a16:creationId xmlns:a16="http://schemas.microsoft.com/office/drawing/2014/main" id="{FB1EF8C1-42AB-3837-6CB6-E03C4B7874B8}"/>
              </a:ext>
            </a:extLst>
          </p:cNvPr>
          <p:cNvSpPr txBox="1"/>
          <p:nvPr/>
        </p:nvSpPr>
        <p:spPr>
          <a:xfrm>
            <a:off x="4499572" y="6200755"/>
            <a:ext cx="3402218" cy="553998"/>
          </a:xfrm>
          <a:custGeom>
            <a:avLst/>
            <a:gdLst>
              <a:gd name="connsiteX0" fmla="*/ 0 w 3402218"/>
              <a:gd name="connsiteY0" fmla="*/ 0 h 553998"/>
              <a:gd name="connsiteX1" fmla="*/ 646421 w 3402218"/>
              <a:gd name="connsiteY1" fmla="*/ 0 h 553998"/>
              <a:gd name="connsiteX2" fmla="*/ 1326865 w 3402218"/>
              <a:gd name="connsiteY2" fmla="*/ 0 h 553998"/>
              <a:gd name="connsiteX3" fmla="*/ 2041331 w 3402218"/>
              <a:gd name="connsiteY3" fmla="*/ 0 h 553998"/>
              <a:gd name="connsiteX4" fmla="*/ 2755797 w 3402218"/>
              <a:gd name="connsiteY4" fmla="*/ 0 h 553998"/>
              <a:gd name="connsiteX5" fmla="*/ 3402218 w 3402218"/>
              <a:gd name="connsiteY5" fmla="*/ 0 h 553998"/>
              <a:gd name="connsiteX6" fmla="*/ 3402218 w 3402218"/>
              <a:gd name="connsiteY6" fmla="*/ 553998 h 553998"/>
              <a:gd name="connsiteX7" fmla="*/ 2653730 w 3402218"/>
              <a:gd name="connsiteY7" fmla="*/ 553998 h 553998"/>
              <a:gd name="connsiteX8" fmla="*/ 1905242 w 3402218"/>
              <a:gd name="connsiteY8" fmla="*/ 553998 h 553998"/>
              <a:gd name="connsiteX9" fmla="*/ 1224798 w 3402218"/>
              <a:gd name="connsiteY9" fmla="*/ 553998 h 553998"/>
              <a:gd name="connsiteX10" fmla="*/ 0 w 3402218"/>
              <a:gd name="connsiteY10" fmla="*/ 553998 h 553998"/>
              <a:gd name="connsiteX11" fmla="*/ 0 w 3402218"/>
              <a:gd name="connsiteY11" fmla="*/ 0 h 55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02218" h="553998" fill="none" extrusionOk="0">
                <a:moveTo>
                  <a:pt x="0" y="0"/>
                </a:moveTo>
                <a:cubicBezTo>
                  <a:pt x="132429" y="21352"/>
                  <a:pt x="458632" y="-29585"/>
                  <a:pt x="646421" y="0"/>
                </a:cubicBezTo>
                <a:cubicBezTo>
                  <a:pt x="834210" y="29585"/>
                  <a:pt x="1115450" y="-25389"/>
                  <a:pt x="1326865" y="0"/>
                </a:cubicBezTo>
                <a:cubicBezTo>
                  <a:pt x="1538280" y="25389"/>
                  <a:pt x="1737883" y="34805"/>
                  <a:pt x="2041331" y="0"/>
                </a:cubicBezTo>
                <a:cubicBezTo>
                  <a:pt x="2344779" y="-34805"/>
                  <a:pt x="2435974" y="-913"/>
                  <a:pt x="2755797" y="0"/>
                </a:cubicBezTo>
                <a:cubicBezTo>
                  <a:pt x="3075620" y="913"/>
                  <a:pt x="3177806" y="20585"/>
                  <a:pt x="3402218" y="0"/>
                </a:cubicBezTo>
                <a:cubicBezTo>
                  <a:pt x="3402432" y="256591"/>
                  <a:pt x="3393153" y="357436"/>
                  <a:pt x="3402218" y="553998"/>
                </a:cubicBezTo>
                <a:cubicBezTo>
                  <a:pt x="3039050" y="541509"/>
                  <a:pt x="2927790" y="561724"/>
                  <a:pt x="2653730" y="553998"/>
                </a:cubicBezTo>
                <a:cubicBezTo>
                  <a:pt x="2379670" y="546272"/>
                  <a:pt x="2203114" y="533447"/>
                  <a:pt x="1905242" y="553998"/>
                </a:cubicBezTo>
                <a:cubicBezTo>
                  <a:pt x="1607370" y="574549"/>
                  <a:pt x="1460480" y="531559"/>
                  <a:pt x="1224798" y="553998"/>
                </a:cubicBezTo>
                <a:cubicBezTo>
                  <a:pt x="989116" y="576437"/>
                  <a:pt x="318561" y="548324"/>
                  <a:pt x="0" y="553998"/>
                </a:cubicBezTo>
                <a:cubicBezTo>
                  <a:pt x="-6815" y="277526"/>
                  <a:pt x="17647" y="195862"/>
                  <a:pt x="0" y="0"/>
                </a:cubicBezTo>
                <a:close/>
              </a:path>
              <a:path w="3402218" h="553998" stroke="0" extrusionOk="0">
                <a:moveTo>
                  <a:pt x="0" y="0"/>
                </a:moveTo>
                <a:cubicBezTo>
                  <a:pt x="149681" y="19544"/>
                  <a:pt x="345904" y="31350"/>
                  <a:pt x="646421" y="0"/>
                </a:cubicBezTo>
                <a:cubicBezTo>
                  <a:pt x="946938" y="-31350"/>
                  <a:pt x="984550" y="-19106"/>
                  <a:pt x="1224798" y="0"/>
                </a:cubicBezTo>
                <a:cubicBezTo>
                  <a:pt x="1465046" y="19106"/>
                  <a:pt x="1799364" y="5975"/>
                  <a:pt x="1973286" y="0"/>
                </a:cubicBezTo>
                <a:cubicBezTo>
                  <a:pt x="2147208" y="-5975"/>
                  <a:pt x="2333475" y="-8471"/>
                  <a:pt x="2619708" y="0"/>
                </a:cubicBezTo>
                <a:cubicBezTo>
                  <a:pt x="2905941" y="8471"/>
                  <a:pt x="3208583" y="-27001"/>
                  <a:pt x="3402218" y="0"/>
                </a:cubicBezTo>
                <a:cubicBezTo>
                  <a:pt x="3421758" y="238920"/>
                  <a:pt x="3386220" y="378859"/>
                  <a:pt x="3402218" y="553998"/>
                </a:cubicBezTo>
                <a:cubicBezTo>
                  <a:pt x="3265324" y="533889"/>
                  <a:pt x="2936189" y="568487"/>
                  <a:pt x="2721774" y="553998"/>
                </a:cubicBezTo>
                <a:cubicBezTo>
                  <a:pt x="2507359" y="539509"/>
                  <a:pt x="2220085" y="528124"/>
                  <a:pt x="1973286" y="553998"/>
                </a:cubicBezTo>
                <a:cubicBezTo>
                  <a:pt x="1726487" y="579872"/>
                  <a:pt x="1541693" y="554330"/>
                  <a:pt x="1394909" y="553998"/>
                </a:cubicBezTo>
                <a:cubicBezTo>
                  <a:pt x="1248125" y="553666"/>
                  <a:pt x="869639" y="580701"/>
                  <a:pt x="714466" y="553998"/>
                </a:cubicBezTo>
                <a:cubicBezTo>
                  <a:pt x="559293" y="527295"/>
                  <a:pt x="178242" y="569665"/>
                  <a:pt x="0" y="553998"/>
                </a:cubicBezTo>
                <a:cubicBezTo>
                  <a:pt x="-20036" y="354680"/>
                  <a:pt x="-13061" y="262861"/>
                  <a:pt x="0" y="0"/>
                </a:cubicBezTo>
                <a:close/>
              </a:path>
            </a:pathLst>
          </a:custGeom>
          <a:solidFill>
            <a:schemeClr val="bg1">
              <a:lumMod val="95000"/>
            </a:schemeClr>
          </a:solidFill>
          <a:ln>
            <a:solidFill>
              <a:schemeClr val="tx2"/>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3"/>
          </a:lnRef>
          <a:fillRef idx="1">
            <a:schemeClr val="lt1"/>
          </a:fillRef>
          <a:effectRef idx="0">
            <a:schemeClr val="accent3"/>
          </a:effectRef>
          <a:fontRef idx="minor">
            <a:schemeClr val="dk1"/>
          </a:fontRef>
        </p:style>
        <p:txBody>
          <a:bodyPr wrap="square" lIns="0" tIns="0" rIns="0" bIns="0" rtlCol="0">
            <a:spAutoFit/>
          </a:bodyPr>
          <a:lstStyle/>
          <a:p>
            <a:pPr algn="ctr"/>
            <a:br>
              <a:rPr lang="da-DK" sz="1200">
                <a:latin typeface="Quicksand" panose="020B0604020202020204" charset="0"/>
                <a:cs typeface="Amatic SC" panose="00000500000000000000" pitchFamily="2" charset="-79"/>
              </a:rPr>
            </a:br>
            <a:r>
              <a:rPr lang="da-DK" sz="1200">
                <a:latin typeface="Quicksand" panose="020B0604020202020204" charset="0"/>
                <a:cs typeface="Amatic SC" panose="00000500000000000000" pitchFamily="2" charset="-79"/>
              </a:rPr>
              <a:t>I finder øvelsesbeskrivelsen til lyttearket </a:t>
            </a:r>
            <a:r>
              <a:rPr lang="da-DK" sz="1200" b="1">
                <a:latin typeface="Quicksand" panose="020B0604020202020204" charset="0"/>
                <a:cs typeface="Amatic SC" panose="00000500000000000000" pitchFamily="2" charset="-79"/>
                <a:hlinkClick r:id="rId6" action="ppaction://hlinksldjump"/>
              </a:rPr>
              <a:t>her</a:t>
            </a:r>
            <a:r>
              <a:rPr lang="da-DK" sz="1200">
                <a:latin typeface="Quicksand" panose="020B0604020202020204" charset="0"/>
                <a:cs typeface="Amatic SC" panose="00000500000000000000" pitchFamily="2" charset="-79"/>
              </a:rPr>
              <a:t>.</a:t>
            </a:r>
            <a:br>
              <a:rPr lang="da-DK" sz="1200">
                <a:latin typeface="Quicksand" panose="020B0604020202020204" charset="0"/>
                <a:cs typeface="Amatic SC" panose="00000500000000000000" pitchFamily="2" charset="-79"/>
              </a:rPr>
            </a:br>
            <a:endParaRPr lang="da-DK" sz="1200">
              <a:latin typeface="Quicksand" panose="020B0604020202020204" charset="0"/>
              <a:cs typeface="Amatic SC" panose="00000500000000000000" pitchFamily="2" charset="-79"/>
            </a:endParaRPr>
          </a:p>
        </p:txBody>
      </p:sp>
      <p:pic>
        <p:nvPicPr>
          <p:cNvPr id="8" name="Graphic 7" descr="Information with solid fill">
            <a:extLst>
              <a:ext uri="{FF2B5EF4-FFF2-40B4-BE49-F238E27FC236}">
                <a16:creationId xmlns:a16="http://schemas.microsoft.com/office/drawing/2014/main" id="{48CB32FC-7535-A821-90E6-5F9FC3B2AF0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95068" y="5938429"/>
            <a:ext cx="468000" cy="468000"/>
          </a:xfrm>
          <a:prstGeom prst="rect">
            <a:avLst/>
          </a:prstGeom>
        </p:spPr>
      </p:pic>
    </p:spTree>
    <p:extLst>
      <p:ext uri="{BB962C8B-B14F-4D97-AF65-F5344CB8AC3E}">
        <p14:creationId xmlns:p14="http://schemas.microsoft.com/office/powerpoint/2010/main" val="18920671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Google Shape;847;p29">
            <a:extLst>
              <a:ext uri="{FF2B5EF4-FFF2-40B4-BE49-F238E27FC236}">
                <a16:creationId xmlns:a16="http://schemas.microsoft.com/office/drawing/2014/main" id="{D92C82CA-11D4-A0BD-D471-ADD352FBEB13}"/>
              </a:ext>
            </a:extLst>
          </p:cNvPr>
          <p:cNvSpPr txBox="1"/>
          <p:nvPr/>
        </p:nvSpPr>
        <p:spPr>
          <a:xfrm>
            <a:off x="722711" y="1663602"/>
            <a:ext cx="5114277" cy="2756930"/>
          </a:xfrm>
          <a:prstGeom prst="rect">
            <a:avLst/>
          </a:prstGeom>
          <a:noFill/>
          <a:ln>
            <a:noFill/>
          </a:ln>
        </p:spPr>
        <p:txBody>
          <a:bodyPr spcFirstLastPara="1" wrap="square" lIns="0" tIns="180000" rIns="0" bIns="0" anchor="t" anchorCtr="0">
            <a:noAutofit/>
          </a:bodyPr>
          <a:lstStyle/>
          <a:p>
            <a:pPr lvl="0" algn="l">
              <a:spcBef>
                <a:spcPts val="0"/>
              </a:spcBef>
              <a:spcAft>
                <a:spcPts val="0"/>
              </a:spcAft>
            </a:pPr>
            <a:r>
              <a:rPr lang="da-DK" sz="1500">
                <a:latin typeface="Quicksand"/>
                <a:ea typeface="Quicksand"/>
                <a:cs typeface="Quicksand"/>
                <a:sym typeface="Quicksand"/>
              </a:rPr>
              <a:t>I spørgeskemaundersøgelsen er det pædagogiske personale blevet bedt om at notere tre ord, der beskriver </a:t>
            </a:r>
            <a:r>
              <a:rPr lang="da-DK" sz="1500" b="1">
                <a:latin typeface="Quicksand"/>
                <a:ea typeface="Quicksand"/>
                <a:cs typeface="Quicksand"/>
                <a:sym typeface="Quicksand"/>
              </a:rPr>
              <a:t>børnesynet på deres skole</a:t>
            </a:r>
            <a:r>
              <a:rPr lang="da-DK" sz="1500">
                <a:latin typeface="Quicksand"/>
                <a:ea typeface="Quicksand"/>
                <a:cs typeface="Quicksand"/>
                <a:sym typeface="Quicksand"/>
              </a:rPr>
              <a:t>.</a:t>
            </a:r>
          </a:p>
          <a:p>
            <a:pPr lvl="0" algn="l">
              <a:spcBef>
                <a:spcPts val="0"/>
              </a:spcBef>
              <a:spcAft>
                <a:spcPts val="0"/>
              </a:spcAft>
            </a:pPr>
            <a:endParaRPr lang="da-DK" sz="1500">
              <a:latin typeface="Quicksand"/>
              <a:ea typeface="Quicksand"/>
              <a:cs typeface="Quicksand"/>
              <a:sym typeface="Quicksand"/>
            </a:endParaRPr>
          </a:p>
          <a:p>
            <a:pPr lvl="0" algn="l">
              <a:spcBef>
                <a:spcPts val="0"/>
              </a:spcBef>
              <a:spcAft>
                <a:spcPts val="0"/>
              </a:spcAft>
            </a:pPr>
            <a:r>
              <a:rPr lang="da-DK" sz="1500">
                <a:latin typeface="Quicksand"/>
                <a:ea typeface="Quicksand"/>
                <a:cs typeface="Quicksand"/>
                <a:sym typeface="Quicksand"/>
              </a:rPr>
              <a:t>Word-clouden til højre viser de mest brugte ord blandt det pædagogiske personale. Jo større skrift, desto hyppigere er ordet anvendt. </a:t>
            </a:r>
          </a:p>
          <a:p>
            <a:pPr lvl="0" algn="l">
              <a:spcBef>
                <a:spcPts val="0"/>
              </a:spcBef>
              <a:spcAft>
                <a:spcPts val="0"/>
              </a:spcAft>
            </a:pPr>
            <a:endParaRPr lang="da-DK" sz="1500" b="1">
              <a:latin typeface="Quicksand"/>
              <a:ea typeface="Quicksand"/>
              <a:cs typeface="Quicksand"/>
              <a:sym typeface="Quicksand"/>
            </a:endParaRPr>
          </a:p>
          <a:p>
            <a:pPr lvl="0" algn="l">
              <a:spcBef>
                <a:spcPts val="0"/>
              </a:spcBef>
              <a:spcAft>
                <a:spcPts val="0"/>
              </a:spcAft>
            </a:pPr>
            <a:endParaRPr lang="da-DK" sz="1500" b="1">
              <a:latin typeface="Quicksand"/>
              <a:ea typeface="Quicksand"/>
              <a:cs typeface="Quicksand"/>
              <a:sym typeface="Quicksand"/>
            </a:endParaRPr>
          </a:p>
        </p:txBody>
      </p:sp>
      <p:pic>
        <p:nvPicPr>
          <p:cNvPr id="3" name="Picture 2">
            <a:extLst>
              <a:ext uri="{FF2B5EF4-FFF2-40B4-BE49-F238E27FC236}">
                <a16:creationId xmlns:a16="http://schemas.microsoft.com/office/drawing/2014/main" id="{D44BB1A2-DF72-CB36-FC74-690ED85B9121}"/>
              </a:ext>
            </a:extLst>
          </p:cNvPr>
          <p:cNvPicPr>
            <a:picLocks noChangeAspect="1"/>
          </p:cNvPicPr>
          <p:nvPr/>
        </p:nvPicPr>
        <p:blipFill>
          <a:blip r:embed="rId6"/>
          <a:stretch>
            <a:fillRect/>
          </a:stretch>
        </p:blipFill>
        <p:spPr>
          <a:xfrm>
            <a:off x="6978700" y="1572920"/>
            <a:ext cx="4307799" cy="4020013"/>
          </a:xfrm>
          <a:prstGeom prst="rect">
            <a:avLst/>
          </a:prstGeom>
        </p:spPr>
      </p:pic>
      <p:sp>
        <p:nvSpPr>
          <p:cNvPr id="2" name="TextBox 1">
            <a:extLst>
              <a:ext uri="{FF2B5EF4-FFF2-40B4-BE49-F238E27FC236}">
                <a16:creationId xmlns:a16="http://schemas.microsoft.com/office/drawing/2014/main" id="{E2D1994F-904E-3B29-8C96-E2DB5935CF5D}"/>
              </a:ext>
            </a:extLst>
          </p:cNvPr>
          <p:cNvSpPr txBox="1"/>
          <p:nvPr/>
        </p:nvSpPr>
        <p:spPr>
          <a:xfrm>
            <a:off x="0" y="546977"/>
            <a:ext cx="12192000" cy="615553"/>
          </a:xfrm>
          <a:custGeom>
            <a:avLst/>
            <a:gdLst>
              <a:gd name="connsiteX0" fmla="*/ 0 w 12192000"/>
              <a:gd name="connsiteY0" fmla="*/ 0 h 615553"/>
              <a:gd name="connsiteX1" fmla="*/ 555413 w 12192000"/>
              <a:gd name="connsiteY1" fmla="*/ 0 h 615553"/>
              <a:gd name="connsiteX2" fmla="*/ 866987 w 12192000"/>
              <a:gd name="connsiteY2" fmla="*/ 0 h 615553"/>
              <a:gd name="connsiteX3" fmla="*/ 1788160 w 12192000"/>
              <a:gd name="connsiteY3" fmla="*/ 0 h 615553"/>
              <a:gd name="connsiteX4" fmla="*/ 2343573 w 12192000"/>
              <a:gd name="connsiteY4" fmla="*/ 0 h 615553"/>
              <a:gd name="connsiteX5" fmla="*/ 2898987 w 12192000"/>
              <a:gd name="connsiteY5" fmla="*/ 0 h 615553"/>
              <a:gd name="connsiteX6" fmla="*/ 3820160 w 12192000"/>
              <a:gd name="connsiteY6" fmla="*/ 0 h 615553"/>
              <a:gd name="connsiteX7" fmla="*/ 4253653 w 12192000"/>
              <a:gd name="connsiteY7" fmla="*/ 0 h 615553"/>
              <a:gd name="connsiteX8" fmla="*/ 5174827 w 12192000"/>
              <a:gd name="connsiteY8" fmla="*/ 0 h 615553"/>
              <a:gd name="connsiteX9" fmla="*/ 6096000 w 12192000"/>
              <a:gd name="connsiteY9" fmla="*/ 0 h 615553"/>
              <a:gd name="connsiteX10" fmla="*/ 6773333 w 12192000"/>
              <a:gd name="connsiteY10" fmla="*/ 0 h 615553"/>
              <a:gd name="connsiteX11" fmla="*/ 7694507 w 12192000"/>
              <a:gd name="connsiteY11" fmla="*/ 0 h 615553"/>
              <a:gd name="connsiteX12" fmla="*/ 8249920 w 12192000"/>
              <a:gd name="connsiteY12" fmla="*/ 0 h 615553"/>
              <a:gd name="connsiteX13" fmla="*/ 8805333 w 12192000"/>
              <a:gd name="connsiteY13" fmla="*/ 0 h 615553"/>
              <a:gd name="connsiteX14" fmla="*/ 9604587 w 12192000"/>
              <a:gd name="connsiteY14" fmla="*/ 0 h 615553"/>
              <a:gd name="connsiteX15" fmla="*/ 10160000 w 12192000"/>
              <a:gd name="connsiteY15" fmla="*/ 0 h 615553"/>
              <a:gd name="connsiteX16" fmla="*/ 11081173 w 12192000"/>
              <a:gd name="connsiteY16" fmla="*/ 0 h 615553"/>
              <a:gd name="connsiteX17" fmla="*/ 12192000 w 12192000"/>
              <a:gd name="connsiteY17" fmla="*/ 0 h 615553"/>
              <a:gd name="connsiteX18" fmla="*/ 12192000 w 12192000"/>
              <a:gd name="connsiteY18" fmla="*/ 615553 h 615553"/>
              <a:gd name="connsiteX19" fmla="*/ 11392747 w 12192000"/>
              <a:gd name="connsiteY19" fmla="*/ 615553 h 615553"/>
              <a:gd name="connsiteX20" fmla="*/ 10959253 w 12192000"/>
              <a:gd name="connsiteY20" fmla="*/ 615553 h 615553"/>
              <a:gd name="connsiteX21" fmla="*/ 10038080 w 12192000"/>
              <a:gd name="connsiteY21" fmla="*/ 615553 h 615553"/>
              <a:gd name="connsiteX22" fmla="*/ 9360747 w 12192000"/>
              <a:gd name="connsiteY22" fmla="*/ 615553 h 615553"/>
              <a:gd name="connsiteX23" fmla="*/ 8927253 w 12192000"/>
              <a:gd name="connsiteY23" fmla="*/ 615553 h 615553"/>
              <a:gd name="connsiteX24" fmla="*/ 8249920 w 12192000"/>
              <a:gd name="connsiteY24" fmla="*/ 615553 h 615553"/>
              <a:gd name="connsiteX25" fmla="*/ 7938347 w 12192000"/>
              <a:gd name="connsiteY25" fmla="*/ 615553 h 615553"/>
              <a:gd name="connsiteX26" fmla="*/ 7626773 w 12192000"/>
              <a:gd name="connsiteY26" fmla="*/ 615553 h 615553"/>
              <a:gd name="connsiteX27" fmla="*/ 6949440 w 12192000"/>
              <a:gd name="connsiteY27" fmla="*/ 615553 h 615553"/>
              <a:gd name="connsiteX28" fmla="*/ 6515947 w 12192000"/>
              <a:gd name="connsiteY28" fmla="*/ 615553 h 615553"/>
              <a:gd name="connsiteX29" fmla="*/ 5716693 w 12192000"/>
              <a:gd name="connsiteY29" fmla="*/ 615553 h 615553"/>
              <a:gd name="connsiteX30" fmla="*/ 5283200 w 12192000"/>
              <a:gd name="connsiteY30" fmla="*/ 615553 h 615553"/>
              <a:gd name="connsiteX31" fmla="*/ 4483947 w 12192000"/>
              <a:gd name="connsiteY31" fmla="*/ 615553 h 615553"/>
              <a:gd name="connsiteX32" fmla="*/ 4172373 w 12192000"/>
              <a:gd name="connsiteY32" fmla="*/ 615553 h 615553"/>
              <a:gd name="connsiteX33" fmla="*/ 3373120 w 12192000"/>
              <a:gd name="connsiteY33" fmla="*/ 615553 h 615553"/>
              <a:gd name="connsiteX34" fmla="*/ 2939627 w 12192000"/>
              <a:gd name="connsiteY34" fmla="*/ 615553 h 615553"/>
              <a:gd name="connsiteX35" fmla="*/ 2628053 w 12192000"/>
              <a:gd name="connsiteY35" fmla="*/ 615553 h 615553"/>
              <a:gd name="connsiteX36" fmla="*/ 2194560 w 12192000"/>
              <a:gd name="connsiteY36" fmla="*/ 615553 h 615553"/>
              <a:gd name="connsiteX37" fmla="*/ 1395307 w 12192000"/>
              <a:gd name="connsiteY37" fmla="*/ 615553 h 615553"/>
              <a:gd name="connsiteX38" fmla="*/ 961813 w 12192000"/>
              <a:gd name="connsiteY38" fmla="*/ 615553 h 615553"/>
              <a:gd name="connsiteX39" fmla="*/ 650240 w 12192000"/>
              <a:gd name="connsiteY39" fmla="*/ 615553 h 615553"/>
              <a:gd name="connsiteX40" fmla="*/ 0 w 12192000"/>
              <a:gd name="connsiteY40" fmla="*/ 615553 h 615553"/>
              <a:gd name="connsiteX41" fmla="*/ 0 w 12192000"/>
              <a:gd name="connsiteY41" fmla="*/ 0 h 615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2000" h="615553" extrusionOk="0">
                <a:moveTo>
                  <a:pt x="0" y="0"/>
                </a:moveTo>
                <a:cubicBezTo>
                  <a:pt x="172476" y="-1237"/>
                  <a:pt x="362690" y="-25324"/>
                  <a:pt x="555413" y="0"/>
                </a:cubicBezTo>
                <a:cubicBezTo>
                  <a:pt x="748136" y="25324"/>
                  <a:pt x="771955" y="-1228"/>
                  <a:pt x="866987" y="0"/>
                </a:cubicBezTo>
                <a:cubicBezTo>
                  <a:pt x="962019" y="1228"/>
                  <a:pt x="1600613" y="23388"/>
                  <a:pt x="1788160" y="0"/>
                </a:cubicBezTo>
                <a:cubicBezTo>
                  <a:pt x="1975707" y="-23388"/>
                  <a:pt x="2108729" y="-1887"/>
                  <a:pt x="2343573" y="0"/>
                </a:cubicBezTo>
                <a:cubicBezTo>
                  <a:pt x="2578417" y="1887"/>
                  <a:pt x="2752949" y="-24220"/>
                  <a:pt x="2898987" y="0"/>
                </a:cubicBezTo>
                <a:cubicBezTo>
                  <a:pt x="3045025" y="24220"/>
                  <a:pt x="3491919" y="21338"/>
                  <a:pt x="3820160" y="0"/>
                </a:cubicBezTo>
                <a:cubicBezTo>
                  <a:pt x="4148401" y="-21338"/>
                  <a:pt x="4081710" y="-3640"/>
                  <a:pt x="4253653" y="0"/>
                </a:cubicBezTo>
                <a:cubicBezTo>
                  <a:pt x="4425596" y="3640"/>
                  <a:pt x="4811390" y="16743"/>
                  <a:pt x="5174827" y="0"/>
                </a:cubicBezTo>
                <a:cubicBezTo>
                  <a:pt x="5538264" y="-16743"/>
                  <a:pt x="5741154" y="19844"/>
                  <a:pt x="6096000" y="0"/>
                </a:cubicBezTo>
                <a:cubicBezTo>
                  <a:pt x="6450846" y="-19844"/>
                  <a:pt x="6619865" y="-29521"/>
                  <a:pt x="6773333" y="0"/>
                </a:cubicBezTo>
                <a:cubicBezTo>
                  <a:pt x="6926801" y="29521"/>
                  <a:pt x="7451435" y="28560"/>
                  <a:pt x="7694507" y="0"/>
                </a:cubicBezTo>
                <a:cubicBezTo>
                  <a:pt x="7937579" y="-28560"/>
                  <a:pt x="8048651" y="20071"/>
                  <a:pt x="8249920" y="0"/>
                </a:cubicBezTo>
                <a:cubicBezTo>
                  <a:pt x="8451189" y="-20071"/>
                  <a:pt x="8573630" y="25711"/>
                  <a:pt x="8805333" y="0"/>
                </a:cubicBezTo>
                <a:cubicBezTo>
                  <a:pt x="9037036" y="-25711"/>
                  <a:pt x="9234701" y="-9987"/>
                  <a:pt x="9604587" y="0"/>
                </a:cubicBezTo>
                <a:cubicBezTo>
                  <a:pt x="9974473" y="9987"/>
                  <a:pt x="9998347" y="7806"/>
                  <a:pt x="10160000" y="0"/>
                </a:cubicBezTo>
                <a:cubicBezTo>
                  <a:pt x="10321653" y="-7806"/>
                  <a:pt x="10669739" y="-24619"/>
                  <a:pt x="11081173" y="0"/>
                </a:cubicBezTo>
                <a:cubicBezTo>
                  <a:pt x="11492607" y="24619"/>
                  <a:pt x="11649370" y="3326"/>
                  <a:pt x="12192000" y="0"/>
                </a:cubicBezTo>
                <a:cubicBezTo>
                  <a:pt x="12193353" y="181846"/>
                  <a:pt x="12215854" y="430640"/>
                  <a:pt x="12192000" y="615553"/>
                </a:cubicBezTo>
                <a:cubicBezTo>
                  <a:pt x="12020805" y="646419"/>
                  <a:pt x="11594423" y="587709"/>
                  <a:pt x="11392747" y="615553"/>
                </a:cubicBezTo>
                <a:cubicBezTo>
                  <a:pt x="11191071" y="643397"/>
                  <a:pt x="11053915" y="632886"/>
                  <a:pt x="10959253" y="615553"/>
                </a:cubicBezTo>
                <a:cubicBezTo>
                  <a:pt x="10864591" y="598220"/>
                  <a:pt x="10369258" y="629878"/>
                  <a:pt x="10038080" y="615553"/>
                </a:cubicBezTo>
                <a:cubicBezTo>
                  <a:pt x="9706902" y="601228"/>
                  <a:pt x="9630385" y="598949"/>
                  <a:pt x="9360747" y="615553"/>
                </a:cubicBezTo>
                <a:cubicBezTo>
                  <a:pt x="9091109" y="632157"/>
                  <a:pt x="9076667" y="634370"/>
                  <a:pt x="8927253" y="615553"/>
                </a:cubicBezTo>
                <a:cubicBezTo>
                  <a:pt x="8777839" y="596736"/>
                  <a:pt x="8413967" y="612048"/>
                  <a:pt x="8249920" y="615553"/>
                </a:cubicBezTo>
                <a:cubicBezTo>
                  <a:pt x="8085873" y="619058"/>
                  <a:pt x="8075056" y="615350"/>
                  <a:pt x="7938347" y="615553"/>
                </a:cubicBezTo>
                <a:cubicBezTo>
                  <a:pt x="7801638" y="615756"/>
                  <a:pt x="7749777" y="630996"/>
                  <a:pt x="7626773" y="615553"/>
                </a:cubicBezTo>
                <a:cubicBezTo>
                  <a:pt x="7503769" y="600110"/>
                  <a:pt x="7095462" y="642021"/>
                  <a:pt x="6949440" y="615553"/>
                </a:cubicBezTo>
                <a:cubicBezTo>
                  <a:pt x="6803418" y="589085"/>
                  <a:pt x="6644725" y="597012"/>
                  <a:pt x="6515947" y="615553"/>
                </a:cubicBezTo>
                <a:cubicBezTo>
                  <a:pt x="6387169" y="634094"/>
                  <a:pt x="5941428" y="611048"/>
                  <a:pt x="5716693" y="615553"/>
                </a:cubicBezTo>
                <a:cubicBezTo>
                  <a:pt x="5491958" y="620058"/>
                  <a:pt x="5395864" y="624069"/>
                  <a:pt x="5283200" y="615553"/>
                </a:cubicBezTo>
                <a:cubicBezTo>
                  <a:pt x="5170536" y="607037"/>
                  <a:pt x="4782035" y="645400"/>
                  <a:pt x="4483947" y="615553"/>
                </a:cubicBezTo>
                <a:cubicBezTo>
                  <a:pt x="4185859" y="585706"/>
                  <a:pt x="4279449" y="614862"/>
                  <a:pt x="4172373" y="615553"/>
                </a:cubicBezTo>
                <a:cubicBezTo>
                  <a:pt x="4065297" y="616244"/>
                  <a:pt x="3755654" y="613527"/>
                  <a:pt x="3373120" y="615553"/>
                </a:cubicBezTo>
                <a:cubicBezTo>
                  <a:pt x="2990586" y="617579"/>
                  <a:pt x="3113127" y="622094"/>
                  <a:pt x="2939627" y="615553"/>
                </a:cubicBezTo>
                <a:cubicBezTo>
                  <a:pt x="2766127" y="609012"/>
                  <a:pt x="2746942" y="605641"/>
                  <a:pt x="2628053" y="615553"/>
                </a:cubicBezTo>
                <a:cubicBezTo>
                  <a:pt x="2509164" y="625465"/>
                  <a:pt x="2346483" y="610575"/>
                  <a:pt x="2194560" y="615553"/>
                </a:cubicBezTo>
                <a:cubicBezTo>
                  <a:pt x="2042637" y="620531"/>
                  <a:pt x="1580466" y="623074"/>
                  <a:pt x="1395307" y="615553"/>
                </a:cubicBezTo>
                <a:cubicBezTo>
                  <a:pt x="1210148" y="608032"/>
                  <a:pt x="1154769" y="610799"/>
                  <a:pt x="961813" y="615553"/>
                </a:cubicBezTo>
                <a:cubicBezTo>
                  <a:pt x="768857" y="620307"/>
                  <a:pt x="767400" y="614989"/>
                  <a:pt x="650240" y="615553"/>
                </a:cubicBezTo>
                <a:cubicBezTo>
                  <a:pt x="533080" y="616117"/>
                  <a:pt x="316546" y="595935"/>
                  <a:pt x="0" y="615553"/>
                </a:cubicBezTo>
                <a:cubicBezTo>
                  <a:pt x="-7981" y="324085"/>
                  <a:pt x="-18890" y="280249"/>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da-DK" sz="4000" b="1">
                <a:latin typeface="Amatic SC" panose="00000500000000000000" pitchFamily="2" charset="-79"/>
                <a:cs typeface="Amatic SC" panose="00000500000000000000" pitchFamily="2" charset="-79"/>
              </a:rPr>
              <a:t>Det pædagogiske personales beskrivelse af børnesyn</a:t>
            </a:r>
          </a:p>
        </p:txBody>
      </p:sp>
      <p:sp>
        <p:nvSpPr>
          <p:cNvPr id="11" name="Rectangle 10">
            <a:extLst>
              <a:ext uri="{FF2B5EF4-FFF2-40B4-BE49-F238E27FC236}">
                <a16:creationId xmlns:a16="http://schemas.microsoft.com/office/drawing/2014/main" id="{61C2465E-B462-E14D-D381-19CD0B271F33}"/>
              </a:ext>
            </a:extLst>
          </p:cNvPr>
          <p:cNvSpPr/>
          <p:nvPr/>
        </p:nvSpPr>
        <p:spPr>
          <a:xfrm>
            <a:off x="4283573" y="6257392"/>
            <a:ext cx="222636" cy="20913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2" name="TextBox 11">
            <a:extLst>
              <a:ext uri="{FF2B5EF4-FFF2-40B4-BE49-F238E27FC236}">
                <a16:creationId xmlns:a16="http://schemas.microsoft.com/office/drawing/2014/main" id="{8384D55F-7E1E-DCEF-FA6E-556F3A8CD4DE}"/>
              </a:ext>
            </a:extLst>
          </p:cNvPr>
          <p:cNvSpPr txBox="1"/>
          <p:nvPr/>
        </p:nvSpPr>
        <p:spPr>
          <a:xfrm>
            <a:off x="3866238" y="6227862"/>
            <a:ext cx="3941500" cy="553998"/>
          </a:xfrm>
          <a:custGeom>
            <a:avLst/>
            <a:gdLst>
              <a:gd name="connsiteX0" fmla="*/ 0 w 3941500"/>
              <a:gd name="connsiteY0" fmla="*/ 0 h 553998"/>
              <a:gd name="connsiteX1" fmla="*/ 735747 w 3941500"/>
              <a:gd name="connsiteY1" fmla="*/ 0 h 553998"/>
              <a:gd name="connsiteX2" fmla="*/ 1432078 w 3941500"/>
              <a:gd name="connsiteY2" fmla="*/ 0 h 553998"/>
              <a:gd name="connsiteX3" fmla="*/ 2128410 w 3941500"/>
              <a:gd name="connsiteY3" fmla="*/ 0 h 553998"/>
              <a:gd name="connsiteX4" fmla="*/ 2667082 w 3941500"/>
              <a:gd name="connsiteY4" fmla="*/ 0 h 553998"/>
              <a:gd name="connsiteX5" fmla="*/ 3245168 w 3941500"/>
              <a:gd name="connsiteY5" fmla="*/ 0 h 553998"/>
              <a:gd name="connsiteX6" fmla="*/ 3941500 w 3941500"/>
              <a:gd name="connsiteY6" fmla="*/ 0 h 553998"/>
              <a:gd name="connsiteX7" fmla="*/ 3941500 w 3941500"/>
              <a:gd name="connsiteY7" fmla="*/ 553998 h 553998"/>
              <a:gd name="connsiteX8" fmla="*/ 3284583 w 3941500"/>
              <a:gd name="connsiteY8" fmla="*/ 553998 h 553998"/>
              <a:gd name="connsiteX9" fmla="*/ 2745912 w 3941500"/>
              <a:gd name="connsiteY9" fmla="*/ 553998 h 553998"/>
              <a:gd name="connsiteX10" fmla="*/ 2207240 w 3941500"/>
              <a:gd name="connsiteY10" fmla="*/ 553998 h 553998"/>
              <a:gd name="connsiteX11" fmla="*/ 1510908 w 3941500"/>
              <a:gd name="connsiteY11" fmla="*/ 553998 h 553998"/>
              <a:gd name="connsiteX12" fmla="*/ 932822 w 3941500"/>
              <a:gd name="connsiteY12" fmla="*/ 553998 h 553998"/>
              <a:gd name="connsiteX13" fmla="*/ 0 w 3941500"/>
              <a:gd name="connsiteY13" fmla="*/ 553998 h 553998"/>
              <a:gd name="connsiteX14" fmla="*/ 0 w 3941500"/>
              <a:gd name="connsiteY14" fmla="*/ 0 h 55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41500" h="553998" fill="none" extrusionOk="0">
                <a:moveTo>
                  <a:pt x="0" y="0"/>
                </a:moveTo>
                <a:cubicBezTo>
                  <a:pt x="342405" y="35779"/>
                  <a:pt x="507562" y="-23476"/>
                  <a:pt x="735747" y="0"/>
                </a:cubicBezTo>
                <a:cubicBezTo>
                  <a:pt x="963932" y="23476"/>
                  <a:pt x="1270674" y="-12111"/>
                  <a:pt x="1432078" y="0"/>
                </a:cubicBezTo>
                <a:cubicBezTo>
                  <a:pt x="1593482" y="12111"/>
                  <a:pt x="1781278" y="16713"/>
                  <a:pt x="2128410" y="0"/>
                </a:cubicBezTo>
                <a:cubicBezTo>
                  <a:pt x="2475542" y="-16713"/>
                  <a:pt x="2423223" y="944"/>
                  <a:pt x="2667082" y="0"/>
                </a:cubicBezTo>
                <a:cubicBezTo>
                  <a:pt x="2910941" y="-944"/>
                  <a:pt x="3076035" y="9709"/>
                  <a:pt x="3245168" y="0"/>
                </a:cubicBezTo>
                <a:cubicBezTo>
                  <a:pt x="3414301" y="-9709"/>
                  <a:pt x="3709784" y="-10140"/>
                  <a:pt x="3941500" y="0"/>
                </a:cubicBezTo>
                <a:cubicBezTo>
                  <a:pt x="3955491" y="185269"/>
                  <a:pt x="3939062" y="423835"/>
                  <a:pt x="3941500" y="553998"/>
                </a:cubicBezTo>
                <a:cubicBezTo>
                  <a:pt x="3710274" y="537929"/>
                  <a:pt x="3579788" y="525304"/>
                  <a:pt x="3284583" y="553998"/>
                </a:cubicBezTo>
                <a:cubicBezTo>
                  <a:pt x="2989378" y="582692"/>
                  <a:pt x="2945377" y="560296"/>
                  <a:pt x="2745912" y="553998"/>
                </a:cubicBezTo>
                <a:cubicBezTo>
                  <a:pt x="2546447" y="547700"/>
                  <a:pt x="2411170" y="533757"/>
                  <a:pt x="2207240" y="553998"/>
                </a:cubicBezTo>
                <a:cubicBezTo>
                  <a:pt x="2003310" y="574239"/>
                  <a:pt x="1727531" y="557139"/>
                  <a:pt x="1510908" y="553998"/>
                </a:cubicBezTo>
                <a:cubicBezTo>
                  <a:pt x="1294285" y="550857"/>
                  <a:pt x="1161156" y="559073"/>
                  <a:pt x="932822" y="553998"/>
                </a:cubicBezTo>
                <a:cubicBezTo>
                  <a:pt x="704488" y="548923"/>
                  <a:pt x="239616" y="535353"/>
                  <a:pt x="0" y="553998"/>
                </a:cubicBezTo>
                <a:cubicBezTo>
                  <a:pt x="4088" y="432809"/>
                  <a:pt x="10061" y="220716"/>
                  <a:pt x="0" y="0"/>
                </a:cubicBezTo>
                <a:close/>
              </a:path>
              <a:path w="3941500" h="553998" stroke="0" extrusionOk="0">
                <a:moveTo>
                  <a:pt x="0" y="0"/>
                </a:moveTo>
                <a:cubicBezTo>
                  <a:pt x="202619" y="-17228"/>
                  <a:pt x="482037" y="-25006"/>
                  <a:pt x="617502" y="0"/>
                </a:cubicBezTo>
                <a:cubicBezTo>
                  <a:pt x="752967" y="25006"/>
                  <a:pt x="893624" y="15805"/>
                  <a:pt x="1156173" y="0"/>
                </a:cubicBezTo>
                <a:cubicBezTo>
                  <a:pt x="1418722" y="-15805"/>
                  <a:pt x="1731603" y="-33748"/>
                  <a:pt x="1891920" y="0"/>
                </a:cubicBezTo>
                <a:cubicBezTo>
                  <a:pt x="2052237" y="33748"/>
                  <a:pt x="2369024" y="-23847"/>
                  <a:pt x="2509422" y="0"/>
                </a:cubicBezTo>
                <a:cubicBezTo>
                  <a:pt x="2649820" y="23847"/>
                  <a:pt x="2905276" y="-4674"/>
                  <a:pt x="3126923" y="0"/>
                </a:cubicBezTo>
                <a:cubicBezTo>
                  <a:pt x="3348570" y="4674"/>
                  <a:pt x="3593993" y="6182"/>
                  <a:pt x="3941500" y="0"/>
                </a:cubicBezTo>
                <a:cubicBezTo>
                  <a:pt x="3935479" y="144936"/>
                  <a:pt x="3958199" y="386169"/>
                  <a:pt x="3941500" y="553998"/>
                </a:cubicBezTo>
                <a:cubicBezTo>
                  <a:pt x="3773167" y="583283"/>
                  <a:pt x="3481698" y="553060"/>
                  <a:pt x="3284583" y="553998"/>
                </a:cubicBezTo>
                <a:cubicBezTo>
                  <a:pt x="3087468" y="554936"/>
                  <a:pt x="2951036" y="543122"/>
                  <a:pt x="2745912" y="553998"/>
                </a:cubicBezTo>
                <a:cubicBezTo>
                  <a:pt x="2540788" y="564874"/>
                  <a:pt x="2268873" y="551632"/>
                  <a:pt x="2088995" y="553998"/>
                </a:cubicBezTo>
                <a:cubicBezTo>
                  <a:pt x="1909117" y="556364"/>
                  <a:pt x="1717229" y="548247"/>
                  <a:pt x="1432078" y="553998"/>
                </a:cubicBezTo>
                <a:cubicBezTo>
                  <a:pt x="1146927" y="559749"/>
                  <a:pt x="946510" y="549022"/>
                  <a:pt x="814577" y="553998"/>
                </a:cubicBezTo>
                <a:cubicBezTo>
                  <a:pt x="682644" y="558974"/>
                  <a:pt x="239985" y="591239"/>
                  <a:pt x="0" y="553998"/>
                </a:cubicBezTo>
                <a:cubicBezTo>
                  <a:pt x="-2486" y="354507"/>
                  <a:pt x="3860" y="210141"/>
                  <a:pt x="0" y="0"/>
                </a:cubicBezTo>
                <a:close/>
              </a:path>
            </a:pathLst>
          </a:custGeom>
          <a:solidFill>
            <a:schemeClr val="bg1">
              <a:lumMod val="95000"/>
            </a:schemeClr>
          </a:solidFill>
          <a:ln>
            <a:solidFill>
              <a:schemeClr val="tx2"/>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3"/>
          </a:lnRef>
          <a:fillRef idx="1">
            <a:schemeClr val="lt1"/>
          </a:fillRef>
          <a:effectRef idx="0">
            <a:schemeClr val="accent3"/>
          </a:effectRef>
          <a:fontRef idx="minor">
            <a:schemeClr val="dk1"/>
          </a:fontRef>
        </p:style>
        <p:txBody>
          <a:bodyPr wrap="square" lIns="0" tIns="0" rIns="0" bIns="0" rtlCol="0">
            <a:spAutoFit/>
          </a:bodyPr>
          <a:lstStyle/>
          <a:p>
            <a:pPr algn="ctr"/>
            <a:br>
              <a:rPr lang="da-DK" sz="1200">
                <a:latin typeface="Quicksand" panose="020B0604020202020204" charset="0"/>
                <a:cs typeface="Amatic SC" panose="00000500000000000000" pitchFamily="2" charset="-79"/>
              </a:rPr>
            </a:br>
            <a:r>
              <a:rPr lang="da-DK" sz="1200">
                <a:latin typeface="Quicksand" panose="020B0604020202020204" charset="0"/>
                <a:cs typeface="Amatic SC" panose="00000500000000000000" pitchFamily="2" charset="-79"/>
              </a:rPr>
              <a:t>I finder øvelsesbeskrivelsen til arbejdet med børnesynet </a:t>
            </a:r>
            <a:r>
              <a:rPr lang="da-DK" sz="1200" b="1">
                <a:latin typeface="Quicksand" panose="020B0604020202020204" charset="0"/>
                <a:cs typeface="Amatic SC" panose="00000500000000000000" pitchFamily="2" charset="-79"/>
                <a:hlinkClick r:id="rId7" action="ppaction://hlinksldjump"/>
              </a:rPr>
              <a:t>her</a:t>
            </a:r>
            <a:br>
              <a:rPr lang="da-DK" sz="1200">
                <a:latin typeface="Quicksand" panose="020B0604020202020204" charset="0"/>
                <a:cs typeface="Amatic SC" panose="00000500000000000000" pitchFamily="2" charset="-79"/>
              </a:rPr>
            </a:br>
            <a:endParaRPr lang="da-DK" sz="1200">
              <a:latin typeface="Quicksand" panose="020B0604020202020204" charset="0"/>
              <a:cs typeface="Amatic SC" panose="00000500000000000000" pitchFamily="2" charset="-79"/>
            </a:endParaRPr>
          </a:p>
        </p:txBody>
      </p:sp>
      <p:sp>
        <p:nvSpPr>
          <p:cNvPr id="18" name="Rectangle 17">
            <a:extLst>
              <a:ext uri="{FF2B5EF4-FFF2-40B4-BE49-F238E27FC236}">
                <a16:creationId xmlns:a16="http://schemas.microsoft.com/office/drawing/2014/main" id="{B126E0E7-8F1A-4E83-AEAE-C588D916E325}"/>
              </a:ext>
            </a:extLst>
          </p:cNvPr>
          <p:cNvSpPr/>
          <p:nvPr/>
        </p:nvSpPr>
        <p:spPr>
          <a:xfrm>
            <a:off x="4256352" y="5872241"/>
            <a:ext cx="277078" cy="20913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17" name="Graphic 16" descr="Information with solid fill">
            <a:extLst>
              <a:ext uri="{FF2B5EF4-FFF2-40B4-BE49-F238E27FC236}">
                <a16:creationId xmlns:a16="http://schemas.microsoft.com/office/drawing/2014/main" id="{509111C6-2F25-4FD4-0BB2-8121F684E3D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32238" y="5936040"/>
            <a:ext cx="468000" cy="468000"/>
          </a:xfrm>
          <a:prstGeom prst="rect">
            <a:avLst/>
          </a:prstGeom>
        </p:spPr>
      </p:pic>
      <p:sp>
        <p:nvSpPr>
          <p:cNvPr id="4" name="Rectangle 3">
            <a:extLst>
              <a:ext uri="{FF2B5EF4-FFF2-40B4-BE49-F238E27FC236}">
                <a16:creationId xmlns:a16="http://schemas.microsoft.com/office/drawing/2014/main" id="{EB18EF5B-D004-4A56-BAF3-B56DC80D4A42}"/>
              </a:ext>
            </a:extLst>
          </p:cNvPr>
          <p:cNvSpPr/>
          <p:nvPr/>
        </p:nvSpPr>
        <p:spPr>
          <a:xfrm>
            <a:off x="7643681" y="2670619"/>
            <a:ext cx="328114" cy="20078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Tree>
    <p:extLst>
      <p:ext uri="{BB962C8B-B14F-4D97-AF65-F5344CB8AC3E}">
        <p14:creationId xmlns:p14="http://schemas.microsoft.com/office/powerpoint/2010/main" val="81417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69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41E3BF-4194-4AEC-AE0B-9FE634FD6E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2" name="Object 1" hidden="1">
                        <a:extLst>
                          <a:ext uri="{FF2B5EF4-FFF2-40B4-BE49-F238E27FC236}">
                            <a16:creationId xmlns:a16="http://schemas.microsoft.com/office/drawing/2014/main" id="{CB41E3BF-4194-4AEC-AE0B-9FE634FD6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reeform 5">
            <a:extLst>
              <a:ext uri="{FF2B5EF4-FFF2-40B4-BE49-F238E27FC236}">
                <a16:creationId xmlns:a16="http://schemas.microsoft.com/office/drawing/2014/main" id="{6700E6DD-2609-4241-8E3B-D501AA8DCC47}"/>
              </a:ext>
            </a:extLst>
          </p:cNvPr>
          <p:cNvSpPr>
            <a:spLocks noEditPoints="1"/>
          </p:cNvSpPr>
          <p:nvPr/>
        </p:nvSpPr>
        <p:spPr bwMode="auto">
          <a:xfrm>
            <a:off x="549872" y="6128309"/>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12" name="Group 11">
            <a:extLst>
              <a:ext uri="{FF2B5EF4-FFF2-40B4-BE49-F238E27FC236}">
                <a16:creationId xmlns:a16="http://schemas.microsoft.com/office/drawing/2014/main" id="{FC22219E-63D2-0D8F-275A-D01F6D6F720B}"/>
              </a:ext>
            </a:extLst>
          </p:cNvPr>
          <p:cNvGrpSpPr/>
          <p:nvPr/>
        </p:nvGrpSpPr>
        <p:grpSpPr>
          <a:xfrm>
            <a:off x="2344275" y="1880427"/>
            <a:ext cx="3862866" cy="2506793"/>
            <a:chOff x="2153530" y="1095100"/>
            <a:chExt cx="3862866" cy="2506793"/>
          </a:xfrm>
        </p:grpSpPr>
        <p:sp>
          <p:nvSpPr>
            <p:cNvPr id="13" name="TextBox 12">
              <a:extLst>
                <a:ext uri="{FF2B5EF4-FFF2-40B4-BE49-F238E27FC236}">
                  <a16:creationId xmlns:a16="http://schemas.microsoft.com/office/drawing/2014/main" id="{925B9C4B-3672-B336-96AE-C33EEA97F628}"/>
                </a:ext>
              </a:extLst>
            </p:cNvPr>
            <p:cNvSpPr txBox="1"/>
            <p:nvPr/>
          </p:nvSpPr>
          <p:spPr>
            <a:xfrm>
              <a:off x="2153530" y="1095100"/>
              <a:ext cx="3862866" cy="1335419"/>
            </a:xfrm>
            <a:prstGeom prst="rect">
              <a:avLst/>
            </a:prstGeom>
            <a:noFill/>
            <a:ln w="28575">
              <a:noFill/>
            </a:ln>
          </p:spPr>
          <p:txBody>
            <a:bodyPr wrap="square" lIns="0" tIns="0" rIns="0" bIns="0" rtlCol="0" anchor="ctr">
              <a:noAutofit/>
            </a:bodyPr>
            <a:lstStyle/>
            <a:p>
              <a:pPr algn="ctr"/>
              <a:r>
                <a:rPr lang="da-DK" sz="2800" b="1">
                  <a:solidFill>
                    <a:schemeClr val="bg1"/>
                  </a:solidFill>
                  <a:latin typeface="Amatic SC" panose="00000500000000000000" pitchFamily="2" charset="-79"/>
                  <a:cs typeface="Amatic SC" panose="00000500000000000000" pitchFamily="2" charset="-79"/>
                </a:rPr>
                <a:t>Kontaktperson for evalueringen</a:t>
              </a:r>
              <a:endParaRPr lang="da-DK" b="1">
                <a:solidFill>
                  <a:schemeClr val="bg1"/>
                </a:solidFill>
                <a:latin typeface="Amatic SC" panose="00000500000000000000" pitchFamily="2" charset="-79"/>
                <a:cs typeface="Amatic SC" panose="00000500000000000000" pitchFamily="2" charset="-79"/>
              </a:endParaRPr>
            </a:p>
          </p:txBody>
        </p:sp>
        <p:sp>
          <p:nvSpPr>
            <p:cNvPr id="14" name="TextBox 13">
              <a:extLst>
                <a:ext uri="{FF2B5EF4-FFF2-40B4-BE49-F238E27FC236}">
                  <a16:creationId xmlns:a16="http://schemas.microsoft.com/office/drawing/2014/main" id="{1973B5B9-36A0-A0A5-FB9F-C2B0CF6E6D70}"/>
                </a:ext>
              </a:extLst>
            </p:cNvPr>
            <p:cNvSpPr txBox="1"/>
            <p:nvPr/>
          </p:nvSpPr>
          <p:spPr>
            <a:xfrm>
              <a:off x="2407390" y="2266473"/>
              <a:ext cx="3355145" cy="1335420"/>
            </a:xfrm>
            <a:prstGeom prst="rect">
              <a:avLst/>
            </a:prstGeom>
            <a:noFill/>
            <a:ln w="28575">
              <a:solidFill>
                <a:schemeClr val="accent2"/>
              </a:solidFill>
            </a:ln>
          </p:spPr>
          <p:txBody>
            <a:bodyPr wrap="square" lIns="108000" tIns="0" rIns="0" bIns="0" rtlCol="0" anchor="t">
              <a:noAutofit/>
            </a:bodyPr>
            <a:lstStyle/>
            <a:p>
              <a:pPr algn="ctr"/>
              <a:endParaRPr lang="da-DK" sz="2000" b="1">
                <a:latin typeface="Amatic SC" panose="00000500000000000000" pitchFamily="2" charset="-79"/>
                <a:cs typeface="Amatic SC" panose="00000500000000000000" pitchFamily="2" charset="-79"/>
              </a:endParaRPr>
            </a:p>
            <a:p>
              <a:r>
                <a:rPr lang="da-DK" sz="2000" b="1">
                  <a:solidFill>
                    <a:schemeClr val="bg1"/>
                  </a:solidFill>
                  <a:latin typeface="Amatic SC" panose="00000500000000000000" pitchFamily="2" charset="-79"/>
                  <a:cs typeface="Amatic SC" panose="00000500000000000000" pitchFamily="2" charset="-79"/>
                </a:rPr>
                <a:t>	projektleder for evalueringen </a:t>
              </a:r>
            </a:p>
            <a:p>
              <a:r>
                <a:rPr lang="da-DK" sz="2000" b="1">
                  <a:solidFill>
                    <a:schemeClr val="bg1"/>
                  </a:solidFill>
                  <a:latin typeface="Amatic SC" panose="00000500000000000000" pitchFamily="2" charset="-79"/>
                  <a:cs typeface="Amatic SC" panose="00000500000000000000" pitchFamily="2" charset="-79"/>
                </a:rPr>
                <a:t>	E-mail: MRYL@ramboll.com	tlf. 51 61 41 95</a:t>
              </a:r>
            </a:p>
          </p:txBody>
        </p:sp>
        <p:sp>
          <p:nvSpPr>
            <p:cNvPr id="15" name="TextBox 14">
              <a:extLst>
                <a:ext uri="{FF2B5EF4-FFF2-40B4-BE49-F238E27FC236}">
                  <a16:creationId xmlns:a16="http://schemas.microsoft.com/office/drawing/2014/main" id="{A23D2DD4-8A09-B71F-DECF-2A070AD633A1}"/>
                </a:ext>
              </a:extLst>
            </p:cNvPr>
            <p:cNvSpPr txBox="1"/>
            <p:nvPr/>
          </p:nvSpPr>
          <p:spPr>
            <a:xfrm>
              <a:off x="2407390" y="1985202"/>
              <a:ext cx="3355145" cy="547318"/>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3200" b="1">
                  <a:latin typeface="Amatic SC" panose="00000500000000000000" pitchFamily="2" charset="-79"/>
                  <a:cs typeface="Amatic SC" panose="00000500000000000000" pitchFamily="2" charset="-79"/>
                </a:rPr>
                <a:t>Mia Rytter Lund</a:t>
              </a:r>
              <a:endParaRPr lang="da-DK" sz="2000" b="1">
                <a:latin typeface="Amatic SC" panose="00000500000000000000" pitchFamily="2" charset="-79"/>
                <a:cs typeface="Amatic SC" panose="00000500000000000000" pitchFamily="2" charset="-79"/>
              </a:endParaRPr>
            </a:p>
          </p:txBody>
        </p:sp>
      </p:grpSp>
      <p:grpSp>
        <p:nvGrpSpPr>
          <p:cNvPr id="16" name="Group 15">
            <a:extLst>
              <a:ext uri="{FF2B5EF4-FFF2-40B4-BE49-F238E27FC236}">
                <a16:creationId xmlns:a16="http://schemas.microsoft.com/office/drawing/2014/main" id="{9A20F5B1-1E03-18E3-C940-73AA337D1091}"/>
              </a:ext>
            </a:extLst>
          </p:cNvPr>
          <p:cNvGrpSpPr/>
          <p:nvPr/>
        </p:nvGrpSpPr>
        <p:grpSpPr>
          <a:xfrm>
            <a:off x="6096000" y="1893656"/>
            <a:ext cx="3862866" cy="2493564"/>
            <a:chOff x="6096000" y="1108329"/>
            <a:chExt cx="3862866" cy="2493564"/>
          </a:xfrm>
        </p:grpSpPr>
        <p:sp>
          <p:nvSpPr>
            <p:cNvPr id="17" name="TextBox 16">
              <a:extLst>
                <a:ext uri="{FF2B5EF4-FFF2-40B4-BE49-F238E27FC236}">
                  <a16:creationId xmlns:a16="http://schemas.microsoft.com/office/drawing/2014/main" id="{38C0A56B-80AB-D9F2-DFB8-735CB0418AF2}"/>
                </a:ext>
              </a:extLst>
            </p:cNvPr>
            <p:cNvSpPr txBox="1"/>
            <p:nvPr/>
          </p:nvSpPr>
          <p:spPr>
            <a:xfrm>
              <a:off x="6096000" y="1108329"/>
              <a:ext cx="3862866" cy="1335419"/>
            </a:xfrm>
            <a:prstGeom prst="rect">
              <a:avLst/>
            </a:prstGeom>
            <a:noFill/>
            <a:ln w="28575">
              <a:noFill/>
            </a:ln>
          </p:spPr>
          <p:txBody>
            <a:bodyPr wrap="square" lIns="0" tIns="0" rIns="0" bIns="0" rtlCol="0" anchor="ctr">
              <a:noAutofit/>
            </a:bodyPr>
            <a:lstStyle/>
            <a:p>
              <a:pPr algn="ctr"/>
              <a:r>
                <a:rPr lang="da-DK" sz="2800" b="1">
                  <a:solidFill>
                    <a:schemeClr val="bg1"/>
                  </a:solidFill>
                  <a:latin typeface="Amatic SC" panose="00000500000000000000" pitchFamily="2" charset="-79"/>
                  <a:cs typeface="Amatic SC" panose="00000500000000000000" pitchFamily="2" charset="-79"/>
                </a:rPr>
                <a:t>Kontaktperson for projektet</a:t>
              </a:r>
              <a:endParaRPr lang="da-DK" b="1">
                <a:solidFill>
                  <a:schemeClr val="bg1"/>
                </a:solidFill>
                <a:latin typeface="Amatic SC" panose="00000500000000000000" pitchFamily="2" charset="-79"/>
                <a:cs typeface="Amatic SC" panose="00000500000000000000" pitchFamily="2" charset="-79"/>
              </a:endParaRPr>
            </a:p>
          </p:txBody>
        </p:sp>
        <p:sp>
          <p:nvSpPr>
            <p:cNvPr id="18" name="TextBox 17">
              <a:extLst>
                <a:ext uri="{FF2B5EF4-FFF2-40B4-BE49-F238E27FC236}">
                  <a16:creationId xmlns:a16="http://schemas.microsoft.com/office/drawing/2014/main" id="{95B5E0DD-A6C5-2573-6BDA-2FC0AD5B1D7D}"/>
                </a:ext>
              </a:extLst>
            </p:cNvPr>
            <p:cNvSpPr txBox="1"/>
            <p:nvPr/>
          </p:nvSpPr>
          <p:spPr>
            <a:xfrm>
              <a:off x="6270254" y="2266473"/>
              <a:ext cx="3490273" cy="1335420"/>
            </a:xfrm>
            <a:prstGeom prst="rect">
              <a:avLst/>
            </a:prstGeom>
            <a:noFill/>
            <a:ln w="28575">
              <a:solidFill>
                <a:schemeClr val="accent3"/>
              </a:solidFill>
            </a:ln>
          </p:spPr>
          <p:txBody>
            <a:bodyPr wrap="square" lIns="108000" tIns="0" rIns="0" bIns="0" rtlCol="0" anchor="t">
              <a:noAutofit/>
            </a:bodyPr>
            <a:lstStyle/>
            <a:p>
              <a:pPr algn="ctr"/>
              <a:endParaRPr lang="da-DK" sz="2000" b="1">
                <a:latin typeface="Amatic SC" panose="00000500000000000000" pitchFamily="2" charset="-79"/>
                <a:cs typeface="Amatic SC" panose="00000500000000000000" pitchFamily="2" charset="-79"/>
              </a:endParaRPr>
            </a:p>
            <a:p>
              <a:r>
                <a:rPr lang="da-DK" sz="2000" b="1">
                  <a:solidFill>
                    <a:schemeClr val="bg1"/>
                  </a:solidFill>
                  <a:latin typeface="Amatic SC" panose="00000500000000000000" pitchFamily="2" charset="-79"/>
                  <a:cs typeface="Amatic SC" panose="00000500000000000000" pitchFamily="2" charset="-79"/>
                </a:rPr>
                <a:t>	tværkommunal projektleder</a:t>
              </a:r>
            </a:p>
            <a:p>
              <a:r>
                <a:rPr lang="da-DK" sz="2000" b="1">
                  <a:solidFill>
                    <a:schemeClr val="bg1"/>
                  </a:solidFill>
                  <a:latin typeface="Amatic SC" panose="00000500000000000000" pitchFamily="2" charset="-79"/>
                  <a:cs typeface="Amatic SC" panose="00000500000000000000" pitchFamily="2" charset="-79"/>
                </a:rPr>
                <a:t>	E-mail: </a:t>
              </a:r>
              <a:r>
                <a:rPr lang="da-DK" sz="2000" b="1">
                  <a:solidFill>
                    <a:schemeClr val="bg2"/>
                  </a:solidFill>
                  <a:latin typeface="Amatic SC" panose="00000500000000000000" pitchFamily="2" charset="-79"/>
                  <a:cs typeface="Amatic SC" panose="00000500000000000000" pitchFamily="2" charset="-79"/>
                  <a:hlinkClick r:id="rId6">
                    <a:extLst>
                      <a:ext uri="{A12FA001-AC4F-418D-AE19-62706E023703}">
                        <ahyp:hlinkClr xmlns:ahyp="http://schemas.microsoft.com/office/drawing/2018/hyperlinkcolor" val="tx"/>
                      </a:ext>
                    </a:extLst>
                  </a:hlinkClick>
                </a:rPr>
                <a:t>mvd-skole@aalborg.dk</a:t>
              </a:r>
              <a:endParaRPr lang="da-DK" sz="2000" b="1">
                <a:solidFill>
                  <a:schemeClr val="bg2"/>
                </a:solidFill>
                <a:latin typeface="Amatic SC" panose="00000500000000000000" pitchFamily="2" charset="-79"/>
                <a:cs typeface="Amatic SC" panose="00000500000000000000" pitchFamily="2" charset="-79"/>
              </a:endParaRPr>
            </a:p>
            <a:p>
              <a:r>
                <a:rPr lang="da-DK" sz="2000" b="1">
                  <a:solidFill>
                    <a:schemeClr val="bg2"/>
                  </a:solidFill>
                  <a:latin typeface="Amatic SC" panose="00000500000000000000" pitchFamily="2" charset="-79"/>
                  <a:cs typeface="Amatic SC" panose="00000500000000000000" pitchFamily="2" charset="-79"/>
                </a:rPr>
                <a:t>	tlf. </a:t>
              </a:r>
              <a:r>
                <a:rPr lang="da-DK" sz="1800" b="1">
                  <a:solidFill>
                    <a:schemeClr val="bg2"/>
                  </a:solidFill>
                  <a:effectLst/>
                  <a:latin typeface="Amatic SC" panose="00000500000000000000" pitchFamily="2" charset="-79"/>
                  <a:ea typeface="Calibri" panose="020F0502020204030204" pitchFamily="34" charset="0"/>
                  <a:cs typeface="Amatic SC" panose="00000500000000000000" pitchFamily="2" charset="-79"/>
                </a:rPr>
                <a:t>93 52 02 35</a:t>
              </a:r>
              <a:endParaRPr lang="da-DK" sz="2000" b="1">
                <a:solidFill>
                  <a:schemeClr val="bg2"/>
                </a:solidFill>
                <a:latin typeface="Amatic SC" panose="00000500000000000000" pitchFamily="2" charset="-79"/>
                <a:cs typeface="Amatic SC" panose="00000500000000000000" pitchFamily="2" charset="-79"/>
              </a:endParaRPr>
            </a:p>
            <a:p>
              <a:r>
                <a:rPr lang="da-DK" sz="2000" b="1">
                  <a:solidFill>
                    <a:schemeClr val="bg1"/>
                  </a:solidFill>
                  <a:latin typeface="Amatic SC" panose="00000500000000000000" pitchFamily="2" charset="-79"/>
                  <a:cs typeface="Amatic SC" panose="00000500000000000000" pitchFamily="2" charset="-79"/>
                </a:rPr>
                <a:t>	</a:t>
              </a:r>
            </a:p>
          </p:txBody>
        </p:sp>
        <p:sp>
          <p:nvSpPr>
            <p:cNvPr id="19" name="TextBox 18">
              <a:extLst>
                <a:ext uri="{FF2B5EF4-FFF2-40B4-BE49-F238E27FC236}">
                  <a16:creationId xmlns:a16="http://schemas.microsoft.com/office/drawing/2014/main" id="{FC56F04D-E261-FAC4-C74E-704781B1948D}"/>
                </a:ext>
              </a:extLst>
            </p:cNvPr>
            <p:cNvSpPr txBox="1"/>
            <p:nvPr/>
          </p:nvSpPr>
          <p:spPr>
            <a:xfrm>
              <a:off x="6270254" y="1985202"/>
              <a:ext cx="3490273" cy="547318"/>
            </a:xfrm>
            <a:prstGeom prst="rect">
              <a:avLst/>
            </a:prstGeom>
            <a:solidFill>
              <a:schemeClr val="accent3"/>
            </a:solidFill>
            <a:ln w="28575">
              <a:solidFill>
                <a:schemeClr val="accent3"/>
              </a:solidFill>
            </a:ln>
          </p:spPr>
          <p:txBody>
            <a:bodyPr wrap="square" lIns="0" tIns="0" rIns="0" bIns="0" rtlCol="0" anchor="ctr">
              <a:noAutofit/>
            </a:bodyPr>
            <a:lstStyle/>
            <a:p>
              <a:pPr algn="ctr"/>
              <a:r>
                <a:rPr lang="da-DK" sz="3200" b="1">
                  <a:latin typeface="Amatic SC" panose="00000500000000000000" pitchFamily="2" charset="-79"/>
                  <a:cs typeface="Amatic SC" panose="00000500000000000000" pitchFamily="2" charset="-79"/>
                </a:rPr>
                <a:t>Mette van Dalm</a:t>
              </a:r>
              <a:endParaRPr lang="da-DK" sz="2000" b="1">
                <a:latin typeface="Amatic SC" panose="00000500000000000000" pitchFamily="2" charset="-79"/>
                <a:cs typeface="Amatic SC" panose="00000500000000000000" pitchFamily="2" charset="-79"/>
              </a:endParaRPr>
            </a:p>
          </p:txBody>
        </p:sp>
      </p:grpSp>
      <p:pic>
        <p:nvPicPr>
          <p:cNvPr id="20" name="Picture 19">
            <a:extLst>
              <a:ext uri="{FF2B5EF4-FFF2-40B4-BE49-F238E27FC236}">
                <a16:creationId xmlns:a16="http://schemas.microsoft.com/office/drawing/2014/main" id="{331405BD-5B57-7500-B79A-FABBB2491C20}"/>
              </a:ext>
            </a:extLst>
          </p:cNvPr>
          <p:cNvPicPr>
            <a:picLocks noChangeAspect="1"/>
          </p:cNvPicPr>
          <p:nvPr/>
        </p:nvPicPr>
        <p:blipFill>
          <a:blip r:embed="rId7"/>
          <a:stretch>
            <a:fillRect/>
          </a:stretch>
        </p:blipFill>
        <p:spPr>
          <a:xfrm>
            <a:off x="2718851" y="3427020"/>
            <a:ext cx="792938" cy="792938"/>
          </a:xfrm>
          <a:prstGeom prst="rect">
            <a:avLst/>
          </a:prstGeom>
        </p:spPr>
      </p:pic>
      <p:pic>
        <p:nvPicPr>
          <p:cNvPr id="21" name="Picture 20">
            <a:extLst>
              <a:ext uri="{FF2B5EF4-FFF2-40B4-BE49-F238E27FC236}">
                <a16:creationId xmlns:a16="http://schemas.microsoft.com/office/drawing/2014/main" id="{009F7ED6-653F-869B-C96E-491B33241926}"/>
              </a:ext>
            </a:extLst>
          </p:cNvPr>
          <p:cNvPicPr>
            <a:picLocks noChangeAspect="1"/>
          </p:cNvPicPr>
          <p:nvPr/>
        </p:nvPicPr>
        <p:blipFill rotWithShape="1">
          <a:blip r:embed="rId8">
            <a:extLst>
              <a:ext uri="{28A0092B-C50C-407E-A947-70E740481C1C}">
                <a14:useLocalDpi xmlns:a14="http://schemas.microsoft.com/office/drawing/2010/main" val="0"/>
              </a:ext>
            </a:extLst>
          </a:blip>
          <a:srcRect l="3747" t="7401" r="7219" b="17240"/>
          <a:stretch/>
        </p:blipFill>
        <p:spPr>
          <a:xfrm>
            <a:off x="6410360" y="3427020"/>
            <a:ext cx="676240" cy="871192"/>
          </a:xfrm>
          <a:prstGeom prst="rect">
            <a:avLst/>
          </a:prstGeom>
        </p:spPr>
      </p:pic>
    </p:spTree>
    <p:extLst>
      <p:ext uri="{BB962C8B-B14F-4D97-AF65-F5344CB8AC3E}">
        <p14:creationId xmlns:p14="http://schemas.microsoft.com/office/powerpoint/2010/main" val="9369361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387A61-43FE-46B6-8C73-F239F7BF43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6" name="Object 5" hidden="1">
                        <a:extLst>
                          <a:ext uri="{FF2B5EF4-FFF2-40B4-BE49-F238E27FC236}">
                            <a16:creationId xmlns:a16="http://schemas.microsoft.com/office/drawing/2014/main" id="{04387A61-43FE-46B6-8C73-F239F7BF43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8" name="Google Shape;994;p40">
            <a:extLst>
              <a:ext uri="{FF2B5EF4-FFF2-40B4-BE49-F238E27FC236}">
                <a16:creationId xmlns:a16="http://schemas.microsoft.com/office/drawing/2014/main" id="{F7505CCF-6B2D-4791-8B8E-A8068ECE6AE7}"/>
              </a:ext>
            </a:extLst>
          </p:cNvPr>
          <p:cNvSpPr txBox="1">
            <a:spLocks/>
          </p:cNvSpPr>
          <p:nvPr/>
        </p:nvSpPr>
        <p:spPr>
          <a:xfrm>
            <a:off x="0" y="370872"/>
            <a:ext cx="12192000" cy="71435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1pPr>
            <a:lvl2pPr marR="0" lvl="1"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2pPr>
            <a:lvl3pPr marR="0" lvl="2"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3pPr>
            <a:lvl4pPr marR="0" lvl="3"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4pPr>
            <a:lvl5pPr marR="0" lvl="4"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5pPr>
            <a:lvl6pPr marR="0" lvl="5"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6pPr>
            <a:lvl7pPr marR="0" lvl="6"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7pPr>
            <a:lvl8pPr marR="0" lvl="7"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8pPr>
            <a:lvl9pPr marR="0" lvl="8"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9pPr>
          </a:lstStyle>
          <a:p>
            <a:pPr marL="0" marR="0" lvl="0" indent="0" algn="ctr" defTabSz="914400" eaLnBrk="1" fontAlgn="auto" latinLnBrk="0" hangingPunct="1">
              <a:lnSpc>
                <a:spcPct val="90000"/>
              </a:lnSpc>
              <a:spcBef>
                <a:spcPts val="0"/>
              </a:spcBef>
              <a:spcAft>
                <a:spcPts val="0"/>
              </a:spcAft>
              <a:buClr>
                <a:srgbClr val="273F68"/>
              </a:buClr>
              <a:buSzPts val="3000"/>
              <a:buFont typeface="Amatic SC"/>
              <a:buNone/>
              <a:tabLst/>
              <a:defRPr/>
            </a:pPr>
            <a:r>
              <a:rPr kumimoji="0" lang="da-DK" sz="4000" b="1" i="0" u="none" strike="noStrike" kern="0" cap="none" spc="0" normalizeH="0" baseline="0" noProof="0">
                <a:ln>
                  <a:noFill/>
                </a:ln>
                <a:solidFill>
                  <a:srgbClr val="273F68"/>
                </a:solidFill>
                <a:effectLst/>
                <a:uLnTx/>
                <a:uFillTx/>
                <a:latin typeface="Amatic SC"/>
                <a:cs typeface="Amatic SC"/>
                <a:sym typeface="Amatic SC"/>
              </a:rPr>
              <a:t>resultaterne bygger på…</a:t>
            </a:r>
          </a:p>
        </p:txBody>
      </p:sp>
      <p:sp>
        <p:nvSpPr>
          <p:cNvPr id="41" name="Slide Number Placeholder 3">
            <a:extLst>
              <a:ext uri="{FF2B5EF4-FFF2-40B4-BE49-F238E27FC236}">
                <a16:creationId xmlns:a16="http://schemas.microsoft.com/office/drawing/2014/main" id="{7DD1BEFE-FF04-46C0-8C82-875A228C70F3}"/>
              </a:ext>
            </a:extLst>
          </p:cNvPr>
          <p:cNvSpPr txBox="1">
            <a:spLocks/>
          </p:cNvSpPr>
          <p:nvPr/>
        </p:nvSpPr>
        <p:spPr>
          <a:xfrm>
            <a:off x="11565600" y="6682205"/>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da-DK" smtClean="0"/>
              <a:pPr/>
              <a:t>5</a:t>
            </a:fld>
            <a:endParaRPr lang="da-DK"/>
          </a:p>
        </p:txBody>
      </p:sp>
      <p:sp>
        <p:nvSpPr>
          <p:cNvPr id="3" name="TextBox 2">
            <a:extLst>
              <a:ext uri="{FF2B5EF4-FFF2-40B4-BE49-F238E27FC236}">
                <a16:creationId xmlns:a16="http://schemas.microsoft.com/office/drawing/2014/main" id="{0CC0EF36-5596-87B3-06F9-45F28C6BE8FA}"/>
              </a:ext>
            </a:extLst>
          </p:cNvPr>
          <p:cNvSpPr txBox="1"/>
          <p:nvPr/>
        </p:nvSpPr>
        <p:spPr>
          <a:xfrm>
            <a:off x="382889" y="2040683"/>
            <a:ext cx="3983542" cy="1138773"/>
          </a:xfrm>
          <a:custGeom>
            <a:avLst/>
            <a:gdLst>
              <a:gd name="connsiteX0" fmla="*/ 0 w 3983542"/>
              <a:gd name="connsiteY0" fmla="*/ 0 h 1138773"/>
              <a:gd name="connsiteX1" fmla="*/ 624088 w 3983542"/>
              <a:gd name="connsiteY1" fmla="*/ 0 h 1138773"/>
              <a:gd name="connsiteX2" fmla="*/ 1168506 w 3983542"/>
              <a:gd name="connsiteY2" fmla="*/ 0 h 1138773"/>
              <a:gd name="connsiteX3" fmla="*/ 1752758 w 3983542"/>
              <a:gd name="connsiteY3" fmla="*/ 0 h 1138773"/>
              <a:gd name="connsiteX4" fmla="*/ 2456518 w 3983542"/>
              <a:gd name="connsiteY4" fmla="*/ 0 h 1138773"/>
              <a:gd name="connsiteX5" fmla="*/ 3080606 w 3983542"/>
              <a:gd name="connsiteY5" fmla="*/ 0 h 1138773"/>
              <a:gd name="connsiteX6" fmla="*/ 3983542 w 3983542"/>
              <a:gd name="connsiteY6" fmla="*/ 0 h 1138773"/>
              <a:gd name="connsiteX7" fmla="*/ 3983542 w 3983542"/>
              <a:gd name="connsiteY7" fmla="*/ 580774 h 1138773"/>
              <a:gd name="connsiteX8" fmla="*/ 3983542 w 3983542"/>
              <a:gd name="connsiteY8" fmla="*/ 1138773 h 1138773"/>
              <a:gd name="connsiteX9" fmla="*/ 3319618 w 3983542"/>
              <a:gd name="connsiteY9" fmla="*/ 1138773 h 1138773"/>
              <a:gd name="connsiteX10" fmla="*/ 2735366 w 3983542"/>
              <a:gd name="connsiteY10" fmla="*/ 1138773 h 1138773"/>
              <a:gd name="connsiteX11" fmla="*/ 1991771 w 3983542"/>
              <a:gd name="connsiteY11" fmla="*/ 1138773 h 1138773"/>
              <a:gd name="connsiteX12" fmla="*/ 1367683 w 3983542"/>
              <a:gd name="connsiteY12" fmla="*/ 1138773 h 1138773"/>
              <a:gd name="connsiteX13" fmla="*/ 823265 w 3983542"/>
              <a:gd name="connsiteY13" fmla="*/ 1138773 h 1138773"/>
              <a:gd name="connsiteX14" fmla="*/ 0 w 3983542"/>
              <a:gd name="connsiteY14" fmla="*/ 1138773 h 1138773"/>
              <a:gd name="connsiteX15" fmla="*/ 0 w 3983542"/>
              <a:gd name="connsiteY15" fmla="*/ 592162 h 1138773"/>
              <a:gd name="connsiteX16" fmla="*/ 0 w 3983542"/>
              <a:gd name="connsiteY16" fmla="*/ 0 h 1138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83542" h="1138773" fill="none" extrusionOk="0">
                <a:moveTo>
                  <a:pt x="0" y="0"/>
                </a:moveTo>
                <a:cubicBezTo>
                  <a:pt x="175172" y="19026"/>
                  <a:pt x="491872" y="986"/>
                  <a:pt x="624088" y="0"/>
                </a:cubicBezTo>
                <a:cubicBezTo>
                  <a:pt x="756304" y="-986"/>
                  <a:pt x="970804" y="-24125"/>
                  <a:pt x="1168506" y="0"/>
                </a:cubicBezTo>
                <a:cubicBezTo>
                  <a:pt x="1366208" y="24125"/>
                  <a:pt x="1595551" y="-779"/>
                  <a:pt x="1752758" y="0"/>
                </a:cubicBezTo>
                <a:cubicBezTo>
                  <a:pt x="1909965" y="779"/>
                  <a:pt x="2169218" y="17519"/>
                  <a:pt x="2456518" y="0"/>
                </a:cubicBezTo>
                <a:cubicBezTo>
                  <a:pt x="2743818" y="-17519"/>
                  <a:pt x="2825365" y="30170"/>
                  <a:pt x="3080606" y="0"/>
                </a:cubicBezTo>
                <a:cubicBezTo>
                  <a:pt x="3335847" y="-30170"/>
                  <a:pt x="3538799" y="10122"/>
                  <a:pt x="3983542" y="0"/>
                </a:cubicBezTo>
                <a:cubicBezTo>
                  <a:pt x="3996608" y="142718"/>
                  <a:pt x="3988751" y="417710"/>
                  <a:pt x="3983542" y="580774"/>
                </a:cubicBezTo>
                <a:cubicBezTo>
                  <a:pt x="3978333" y="743838"/>
                  <a:pt x="3975887" y="908054"/>
                  <a:pt x="3983542" y="1138773"/>
                </a:cubicBezTo>
                <a:cubicBezTo>
                  <a:pt x="3822737" y="1164691"/>
                  <a:pt x="3640133" y="1107046"/>
                  <a:pt x="3319618" y="1138773"/>
                </a:cubicBezTo>
                <a:cubicBezTo>
                  <a:pt x="2999103" y="1170500"/>
                  <a:pt x="2865956" y="1138087"/>
                  <a:pt x="2735366" y="1138773"/>
                </a:cubicBezTo>
                <a:cubicBezTo>
                  <a:pt x="2604776" y="1139459"/>
                  <a:pt x="2271699" y="1110818"/>
                  <a:pt x="1991771" y="1138773"/>
                </a:cubicBezTo>
                <a:cubicBezTo>
                  <a:pt x="1711844" y="1166728"/>
                  <a:pt x="1528213" y="1123666"/>
                  <a:pt x="1367683" y="1138773"/>
                </a:cubicBezTo>
                <a:cubicBezTo>
                  <a:pt x="1207153" y="1153880"/>
                  <a:pt x="1027367" y="1140773"/>
                  <a:pt x="823265" y="1138773"/>
                </a:cubicBezTo>
                <a:cubicBezTo>
                  <a:pt x="619163" y="1136773"/>
                  <a:pt x="351160" y="1106383"/>
                  <a:pt x="0" y="1138773"/>
                </a:cubicBezTo>
                <a:cubicBezTo>
                  <a:pt x="16967" y="893096"/>
                  <a:pt x="24017" y="777443"/>
                  <a:pt x="0" y="592162"/>
                </a:cubicBezTo>
                <a:cubicBezTo>
                  <a:pt x="-24017" y="406881"/>
                  <a:pt x="-18451" y="243262"/>
                  <a:pt x="0" y="0"/>
                </a:cubicBezTo>
                <a:close/>
              </a:path>
              <a:path w="3983542" h="1138773" stroke="0" extrusionOk="0">
                <a:moveTo>
                  <a:pt x="0" y="0"/>
                </a:moveTo>
                <a:cubicBezTo>
                  <a:pt x="190069" y="-942"/>
                  <a:pt x="451638" y="-10539"/>
                  <a:pt x="624088" y="0"/>
                </a:cubicBezTo>
                <a:cubicBezTo>
                  <a:pt x="796538" y="10539"/>
                  <a:pt x="1052379" y="-11014"/>
                  <a:pt x="1168506" y="0"/>
                </a:cubicBezTo>
                <a:cubicBezTo>
                  <a:pt x="1284633" y="11014"/>
                  <a:pt x="1709312" y="-29525"/>
                  <a:pt x="1912100" y="0"/>
                </a:cubicBezTo>
                <a:cubicBezTo>
                  <a:pt x="2114888" y="29525"/>
                  <a:pt x="2247442" y="-13296"/>
                  <a:pt x="2536188" y="0"/>
                </a:cubicBezTo>
                <a:cubicBezTo>
                  <a:pt x="2824934" y="13296"/>
                  <a:pt x="2898649" y="-8150"/>
                  <a:pt x="3160277" y="0"/>
                </a:cubicBezTo>
                <a:cubicBezTo>
                  <a:pt x="3421905" y="8150"/>
                  <a:pt x="3638395" y="-16312"/>
                  <a:pt x="3983542" y="0"/>
                </a:cubicBezTo>
                <a:cubicBezTo>
                  <a:pt x="3968243" y="179832"/>
                  <a:pt x="3977322" y="410773"/>
                  <a:pt x="3983542" y="546611"/>
                </a:cubicBezTo>
                <a:cubicBezTo>
                  <a:pt x="3989762" y="682449"/>
                  <a:pt x="3955488" y="915014"/>
                  <a:pt x="3983542" y="1138773"/>
                </a:cubicBezTo>
                <a:cubicBezTo>
                  <a:pt x="3796523" y="1120332"/>
                  <a:pt x="3517458" y="1122595"/>
                  <a:pt x="3399289" y="1138773"/>
                </a:cubicBezTo>
                <a:cubicBezTo>
                  <a:pt x="3281120" y="1154951"/>
                  <a:pt x="2908294" y="1158942"/>
                  <a:pt x="2735366" y="1138773"/>
                </a:cubicBezTo>
                <a:cubicBezTo>
                  <a:pt x="2562438" y="1118604"/>
                  <a:pt x="2396756" y="1123984"/>
                  <a:pt x="2071442" y="1138773"/>
                </a:cubicBezTo>
                <a:cubicBezTo>
                  <a:pt x="1746128" y="1153562"/>
                  <a:pt x="1612495" y="1143111"/>
                  <a:pt x="1447354" y="1138773"/>
                </a:cubicBezTo>
                <a:cubicBezTo>
                  <a:pt x="1282213" y="1134435"/>
                  <a:pt x="889877" y="1108596"/>
                  <a:pt x="703759" y="1138773"/>
                </a:cubicBezTo>
                <a:cubicBezTo>
                  <a:pt x="517642" y="1168950"/>
                  <a:pt x="190619" y="1146504"/>
                  <a:pt x="0" y="1138773"/>
                </a:cubicBezTo>
                <a:cubicBezTo>
                  <a:pt x="4955" y="952548"/>
                  <a:pt x="-11190" y="781940"/>
                  <a:pt x="0" y="592162"/>
                </a:cubicBezTo>
                <a:cubicBezTo>
                  <a:pt x="11190" y="402384"/>
                  <a:pt x="-13630" y="264830"/>
                  <a:pt x="0" y="0"/>
                </a:cubicBezTo>
                <a:close/>
              </a:path>
            </a:pathLst>
          </a:custGeom>
          <a:solidFill>
            <a:schemeClr val="tx2">
              <a:lumMod val="20000"/>
              <a:lumOff val="80000"/>
            </a:schemeClr>
          </a:solidFill>
          <a:ln>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72000" rIns="0" bIns="0" rtlCol="0">
            <a:noAutofit/>
          </a:bodyPr>
          <a:lstStyle/>
          <a:p>
            <a:pPr algn="ctr"/>
            <a:r>
              <a:rPr lang="da-DK" sz="2400" b="1">
                <a:latin typeface="Amatic SC" panose="00000500000000000000" pitchFamily="2" charset="-79"/>
                <a:cs typeface="Amatic SC" panose="00000500000000000000" pitchFamily="2" charset="-79"/>
              </a:rPr>
              <a:t>Spørgeskema</a:t>
            </a:r>
          </a:p>
          <a:p>
            <a:pPr marL="360000" lvl="1" indent="-108000">
              <a:buFontTx/>
              <a:buChar char="-"/>
            </a:pPr>
            <a:r>
              <a:rPr lang="da-DK" sz="1200" b="1">
                <a:latin typeface="Quicksand" panose="020B0604020202020204" charset="0"/>
                <a:cs typeface="Amatic SC" panose="00000500000000000000" pitchFamily="2" charset="-79"/>
              </a:rPr>
              <a:t>Spørgeskemaundersøgelse </a:t>
            </a:r>
            <a:r>
              <a:rPr lang="da-DK" sz="1200">
                <a:latin typeface="Quicksand" panose="020B0604020202020204" charset="0"/>
                <a:cs typeface="Amatic SC" panose="00000500000000000000" pitchFamily="2" charset="-79"/>
              </a:rPr>
              <a:t>blandt alt </a:t>
            </a:r>
            <a:r>
              <a:rPr lang="da-DK" sz="1200">
                <a:latin typeface="Quicksand" panose="020B0604020202020204" charset="0"/>
                <a:ea typeface="Verdana" pitchFamily="34" charset="0"/>
                <a:cs typeface="Amatic SC" panose="00000500000000000000" pitchFamily="2" charset="-79"/>
              </a:rPr>
              <a:t>det pædagogiske personale på alle skoler i ni nordjyske kommuner </a:t>
            </a:r>
            <a:r>
              <a:rPr lang="da-DK" sz="1200">
                <a:latin typeface="Quicksand" panose="020B0604020202020204" charset="0"/>
                <a:cs typeface="Amatic SC" panose="00000500000000000000" pitchFamily="2" charset="-79"/>
              </a:rPr>
              <a:t>i marts 2023</a:t>
            </a:r>
          </a:p>
          <a:p>
            <a:pPr marL="342900" indent="-342900">
              <a:buFontTx/>
              <a:buChar char="-"/>
            </a:pPr>
            <a:endParaRPr lang="da-DK" sz="1400" b="1">
              <a:latin typeface="Quicksand" panose="020B0604020202020204" charset="0"/>
              <a:cs typeface="Amatic SC" panose="00000500000000000000" pitchFamily="2" charset="-79"/>
            </a:endParaRPr>
          </a:p>
        </p:txBody>
      </p:sp>
      <p:sp>
        <p:nvSpPr>
          <p:cNvPr id="4" name="TextBox 3">
            <a:extLst>
              <a:ext uri="{FF2B5EF4-FFF2-40B4-BE49-F238E27FC236}">
                <a16:creationId xmlns:a16="http://schemas.microsoft.com/office/drawing/2014/main" id="{2C434F6C-E91D-3DB7-EF57-ACCDEFF78CF9}"/>
              </a:ext>
            </a:extLst>
          </p:cNvPr>
          <p:cNvSpPr txBox="1"/>
          <p:nvPr/>
        </p:nvSpPr>
        <p:spPr>
          <a:xfrm>
            <a:off x="380272" y="4189320"/>
            <a:ext cx="3991371" cy="1477328"/>
          </a:xfrm>
          <a:custGeom>
            <a:avLst/>
            <a:gdLst>
              <a:gd name="connsiteX0" fmla="*/ 0 w 3991371"/>
              <a:gd name="connsiteY0" fmla="*/ 0 h 1477328"/>
              <a:gd name="connsiteX1" fmla="*/ 585401 w 3991371"/>
              <a:gd name="connsiteY1" fmla="*/ 0 h 1477328"/>
              <a:gd name="connsiteX2" fmla="*/ 1290543 w 3991371"/>
              <a:gd name="connsiteY2" fmla="*/ 0 h 1477328"/>
              <a:gd name="connsiteX3" fmla="*/ 1915858 w 3991371"/>
              <a:gd name="connsiteY3" fmla="*/ 0 h 1477328"/>
              <a:gd name="connsiteX4" fmla="*/ 2501259 w 3991371"/>
              <a:gd name="connsiteY4" fmla="*/ 0 h 1477328"/>
              <a:gd name="connsiteX5" fmla="*/ 3206401 w 3991371"/>
              <a:gd name="connsiteY5" fmla="*/ 0 h 1477328"/>
              <a:gd name="connsiteX6" fmla="*/ 3991371 w 3991371"/>
              <a:gd name="connsiteY6" fmla="*/ 0 h 1477328"/>
              <a:gd name="connsiteX7" fmla="*/ 3991371 w 3991371"/>
              <a:gd name="connsiteY7" fmla="*/ 492443 h 1477328"/>
              <a:gd name="connsiteX8" fmla="*/ 3991371 w 3991371"/>
              <a:gd name="connsiteY8" fmla="*/ 955339 h 1477328"/>
              <a:gd name="connsiteX9" fmla="*/ 3991371 w 3991371"/>
              <a:gd name="connsiteY9" fmla="*/ 1477328 h 1477328"/>
              <a:gd name="connsiteX10" fmla="*/ 3405970 w 3991371"/>
              <a:gd name="connsiteY10" fmla="*/ 1477328 h 1477328"/>
              <a:gd name="connsiteX11" fmla="*/ 2860483 w 3991371"/>
              <a:gd name="connsiteY11" fmla="*/ 1477328 h 1477328"/>
              <a:gd name="connsiteX12" fmla="*/ 2155340 w 3991371"/>
              <a:gd name="connsiteY12" fmla="*/ 1477328 h 1477328"/>
              <a:gd name="connsiteX13" fmla="*/ 1569939 w 3991371"/>
              <a:gd name="connsiteY13" fmla="*/ 1477328 h 1477328"/>
              <a:gd name="connsiteX14" fmla="*/ 864797 w 3991371"/>
              <a:gd name="connsiteY14" fmla="*/ 1477328 h 1477328"/>
              <a:gd name="connsiteX15" fmla="*/ 0 w 3991371"/>
              <a:gd name="connsiteY15" fmla="*/ 1477328 h 1477328"/>
              <a:gd name="connsiteX16" fmla="*/ 0 w 3991371"/>
              <a:gd name="connsiteY16" fmla="*/ 999659 h 1477328"/>
              <a:gd name="connsiteX17" fmla="*/ 0 w 3991371"/>
              <a:gd name="connsiteY17" fmla="*/ 492443 h 1477328"/>
              <a:gd name="connsiteX18" fmla="*/ 0 w 3991371"/>
              <a:gd name="connsiteY18" fmla="*/ 0 h 147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91371" h="1477328" fill="none" extrusionOk="0">
                <a:moveTo>
                  <a:pt x="0" y="0"/>
                </a:moveTo>
                <a:cubicBezTo>
                  <a:pt x="174483" y="13242"/>
                  <a:pt x="411434" y="21092"/>
                  <a:pt x="585401" y="0"/>
                </a:cubicBezTo>
                <a:cubicBezTo>
                  <a:pt x="759368" y="-21092"/>
                  <a:pt x="1010112" y="-14217"/>
                  <a:pt x="1290543" y="0"/>
                </a:cubicBezTo>
                <a:cubicBezTo>
                  <a:pt x="1570974" y="14217"/>
                  <a:pt x="1783008" y="-28860"/>
                  <a:pt x="1915858" y="0"/>
                </a:cubicBezTo>
                <a:cubicBezTo>
                  <a:pt x="2048708" y="28860"/>
                  <a:pt x="2374879" y="1458"/>
                  <a:pt x="2501259" y="0"/>
                </a:cubicBezTo>
                <a:cubicBezTo>
                  <a:pt x="2627639" y="-1458"/>
                  <a:pt x="3045144" y="4099"/>
                  <a:pt x="3206401" y="0"/>
                </a:cubicBezTo>
                <a:cubicBezTo>
                  <a:pt x="3367658" y="-4099"/>
                  <a:pt x="3795806" y="12049"/>
                  <a:pt x="3991371" y="0"/>
                </a:cubicBezTo>
                <a:cubicBezTo>
                  <a:pt x="4003807" y="232773"/>
                  <a:pt x="4007742" y="377088"/>
                  <a:pt x="3991371" y="492443"/>
                </a:cubicBezTo>
                <a:cubicBezTo>
                  <a:pt x="3975000" y="607798"/>
                  <a:pt x="3992306" y="858827"/>
                  <a:pt x="3991371" y="955339"/>
                </a:cubicBezTo>
                <a:cubicBezTo>
                  <a:pt x="3990436" y="1051851"/>
                  <a:pt x="4010507" y="1310649"/>
                  <a:pt x="3991371" y="1477328"/>
                </a:cubicBezTo>
                <a:cubicBezTo>
                  <a:pt x="3784387" y="1448722"/>
                  <a:pt x="3698238" y="1489805"/>
                  <a:pt x="3405970" y="1477328"/>
                </a:cubicBezTo>
                <a:cubicBezTo>
                  <a:pt x="3113702" y="1464851"/>
                  <a:pt x="3052605" y="1486056"/>
                  <a:pt x="2860483" y="1477328"/>
                </a:cubicBezTo>
                <a:cubicBezTo>
                  <a:pt x="2668361" y="1468600"/>
                  <a:pt x="2442460" y="1508128"/>
                  <a:pt x="2155340" y="1477328"/>
                </a:cubicBezTo>
                <a:cubicBezTo>
                  <a:pt x="1868220" y="1446528"/>
                  <a:pt x="1761633" y="1463693"/>
                  <a:pt x="1569939" y="1477328"/>
                </a:cubicBezTo>
                <a:cubicBezTo>
                  <a:pt x="1378245" y="1490963"/>
                  <a:pt x="1064754" y="1501927"/>
                  <a:pt x="864797" y="1477328"/>
                </a:cubicBezTo>
                <a:cubicBezTo>
                  <a:pt x="664840" y="1452729"/>
                  <a:pt x="367745" y="1513639"/>
                  <a:pt x="0" y="1477328"/>
                </a:cubicBezTo>
                <a:cubicBezTo>
                  <a:pt x="-19723" y="1258529"/>
                  <a:pt x="2659" y="1187436"/>
                  <a:pt x="0" y="999659"/>
                </a:cubicBezTo>
                <a:cubicBezTo>
                  <a:pt x="-2659" y="811882"/>
                  <a:pt x="5087" y="688364"/>
                  <a:pt x="0" y="492443"/>
                </a:cubicBezTo>
                <a:cubicBezTo>
                  <a:pt x="-5087" y="296522"/>
                  <a:pt x="19499" y="141125"/>
                  <a:pt x="0" y="0"/>
                </a:cubicBezTo>
                <a:close/>
              </a:path>
              <a:path w="3991371" h="1477328" stroke="0" extrusionOk="0">
                <a:moveTo>
                  <a:pt x="0" y="0"/>
                </a:moveTo>
                <a:cubicBezTo>
                  <a:pt x="176038" y="30478"/>
                  <a:pt x="459887" y="-1171"/>
                  <a:pt x="625315" y="0"/>
                </a:cubicBezTo>
                <a:cubicBezTo>
                  <a:pt x="790744" y="1171"/>
                  <a:pt x="987973" y="10331"/>
                  <a:pt x="1170802" y="0"/>
                </a:cubicBezTo>
                <a:cubicBezTo>
                  <a:pt x="1353631" y="-10331"/>
                  <a:pt x="1608836" y="999"/>
                  <a:pt x="1915858" y="0"/>
                </a:cubicBezTo>
                <a:cubicBezTo>
                  <a:pt x="2222880" y="-999"/>
                  <a:pt x="2243155" y="28192"/>
                  <a:pt x="2541173" y="0"/>
                </a:cubicBezTo>
                <a:cubicBezTo>
                  <a:pt x="2839191" y="-28192"/>
                  <a:pt x="2961449" y="-24306"/>
                  <a:pt x="3166488" y="0"/>
                </a:cubicBezTo>
                <a:cubicBezTo>
                  <a:pt x="3371528" y="24306"/>
                  <a:pt x="3820207" y="4180"/>
                  <a:pt x="3991371" y="0"/>
                </a:cubicBezTo>
                <a:cubicBezTo>
                  <a:pt x="3995540" y="108949"/>
                  <a:pt x="3997444" y="293481"/>
                  <a:pt x="3991371" y="462896"/>
                </a:cubicBezTo>
                <a:cubicBezTo>
                  <a:pt x="3985298" y="632311"/>
                  <a:pt x="3982678" y="754333"/>
                  <a:pt x="3991371" y="955339"/>
                </a:cubicBezTo>
                <a:cubicBezTo>
                  <a:pt x="4000064" y="1156345"/>
                  <a:pt x="3992547" y="1251853"/>
                  <a:pt x="3991371" y="1477328"/>
                </a:cubicBezTo>
                <a:cubicBezTo>
                  <a:pt x="3831651" y="1468602"/>
                  <a:pt x="3635672" y="1473735"/>
                  <a:pt x="3405970" y="1477328"/>
                </a:cubicBezTo>
                <a:cubicBezTo>
                  <a:pt x="3176268" y="1480921"/>
                  <a:pt x="2977234" y="1448746"/>
                  <a:pt x="2740741" y="1477328"/>
                </a:cubicBezTo>
                <a:cubicBezTo>
                  <a:pt x="2504248" y="1505910"/>
                  <a:pt x="2373207" y="1461524"/>
                  <a:pt x="2115427" y="1477328"/>
                </a:cubicBezTo>
                <a:cubicBezTo>
                  <a:pt x="1857647" y="1493132"/>
                  <a:pt x="1526751" y="1456894"/>
                  <a:pt x="1370371" y="1477328"/>
                </a:cubicBezTo>
                <a:cubicBezTo>
                  <a:pt x="1213991" y="1497762"/>
                  <a:pt x="794556" y="1458533"/>
                  <a:pt x="625315" y="1477328"/>
                </a:cubicBezTo>
                <a:cubicBezTo>
                  <a:pt x="456074" y="1496123"/>
                  <a:pt x="254021" y="1448902"/>
                  <a:pt x="0" y="1477328"/>
                </a:cubicBezTo>
                <a:cubicBezTo>
                  <a:pt x="3028" y="1249424"/>
                  <a:pt x="15679" y="1210974"/>
                  <a:pt x="0" y="984885"/>
                </a:cubicBezTo>
                <a:cubicBezTo>
                  <a:pt x="-15679" y="758796"/>
                  <a:pt x="-22811" y="637841"/>
                  <a:pt x="0" y="507216"/>
                </a:cubicBezTo>
                <a:cubicBezTo>
                  <a:pt x="22811" y="376591"/>
                  <a:pt x="-11239" y="149112"/>
                  <a:pt x="0" y="0"/>
                </a:cubicBezTo>
                <a:close/>
              </a:path>
            </a:pathLst>
          </a:custGeom>
          <a:solidFill>
            <a:schemeClr val="tx2">
              <a:lumMod val="20000"/>
              <a:lumOff val="80000"/>
            </a:schemeClr>
          </a:solidFill>
          <a:ln>
            <a:solidFill>
              <a:schemeClr val="accent4"/>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3"/>
          </a:lnRef>
          <a:fillRef idx="1">
            <a:schemeClr val="lt1"/>
          </a:fillRef>
          <a:effectRef idx="0">
            <a:schemeClr val="accent3"/>
          </a:effectRef>
          <a:fontRef idx="minor">
            <a:schemeClr val="dk1"/>
          </a:fontRef>
        </p:style>
        <p:txBody>
          <a:bodyPr wrap="square" lIns="0" tIns="72000" rIns="0" bIns="0" rtlCol="0">
            <a:noAutofit/>
          </a:bodyPr>
          <a:lstStyle/>
          <a:p>
            <a:pPr algn="ctr"/>
            <a:r>
              <a:rPr lang="da-DK" sz="2400" b="1">
                <a:latin typeface="Amatic SC" panose="00000500000000000000" pitchFamily="2" charset="-79"/>
                <a:cs typeface="Amatic SC" panose="00000500000000000000" pitchFamily="2" charset="-79"/>
              </a:rPr>
              <a:t>Dialogværktøjer</a:t>
            </a:r>
          </a:p>
          <a:p>
            <a:pPr marL="360000" lvl="1" indent="-108000">
              <a:buFontTx/>
              <a:buChar char="-"/>
            </a:pPr>
            <a:r>
              <a:rPr lang="da-DK" sz="1200" b="1">
                <a:latin typeface="Quicksand" panose="020B0604020202020204" charset="0"/>
                <a:cs typeface="Amatic SC" panose="00000500000000000000" pitchFamily="2" charset="-79"/>
              </a:rPr>
              <a:t>Fem lydoptagelser </a:t>
            </a:r>
            <a:r>
              <a:rPr lang="da-DK" sz="1200">
                <a:latin typeface="Quicksand" panose="020B0604020202020204" charset="0"/>
                <a:cs typeface="Amatic SC" panose="00000500000000000000" pitchFamily="2" charset="-79"/>
              </a:rPr>
              <a:t>af dialoger i lederteams fra</a:t>
            </a:r>
            <a:br>
              <a:rPr lang="da-DK" sz="1200">
                <a:latin typeface="Quicksand" panose="020B0604020202020204" charset="0"/>
                <a:cs typeface="Amatic SC" panose="00000500000000000000" pitchFamily="2" charset="-79"/>
              </a:rPr>
            </a:br>
            <a:r>
              <a:rPr lang="da-DK" sz="1200">
                <a:latin typeface="Quicksand" panose="020B0604020202020204" charset="0"/>
                <a:cs typeface="Amatic SC" panose="00000500000000000000" pitchFamily="2" charset="-79"/>
              </a:rPr>
              <a:t>forskellige skoler</a:t>
            </a:r>
          </a:p>
          <a:p>
            <a:pPr lvl="1"/>
            <a:endParaRPr lang="da-DK" sz="1200">
              <a:latin typeface="Quicksand" panose="020B0604020202020204" charset="0"/>
              <a:cs typeface="Amatic SC" panose="00000500000000000000" pitchFamily="2" charset="-79"/>
            </a:endParaRPr>
          </a:p>
          <a:p>
            <a:pPr marL="360000" lvl="1" indent="-108000">
              <a:buFontTx/>
              <a:buChar char="-"/>
            </a:pPr>
            <a:r>
              <a:rPr lang="da-DK" sz="1200" b="1">
                <a:latin typeface="Quicksand" panose="020B0604020202020204" charset="0"/>
                <a:cs typeface="Amatic SC" panose="00000500000000000000" pitchFamily="2" charset="-79"/>
              </a:rPr>
              <a:t>Fem lydoptagelser </a:t>
            </a:r>
            <a:r>
              <a:rPr lang="da-DK" sz="1200">
                <a:latin typeface="Quicksand" panose="020B0604020202020204" charset="0"/>
                <a:cs typeface="Amatic SC" panose="00000500000000000000" pitchFamily="2" charset="-79"/>
              </a:rPr>
              <a:t>af dialoger i teams</a:t>
            </a:r>
            <a:br>
              <a:rPr lang="da-DK" sz="1200">
                <a:latin typeface="Quicksand" panose="020B0604020202020204" charset="0"/>
                <a:cs typeface="Amatic SC" panose="00000500000000000000" pitchFamily="2" charset="-79"/>
              </a:rPr>
            </a:br>
            <a:r>
              <a:rPr lang="da-DK" sz="1200">
                <a:latin typeface="Quicksand" panose="020B0604020202020204" charset="0"/>
                <a:cs typeface="Amatic SC" panose="00000500000000000000" pitchFamily="2" charset="-79"/>
              </a:rPr>
              <a:t>(det pædagogiske personale) fra forskellige skoler</a:t>
            </a:r>
          </a:p>
          <a:p>
            <a:pPr marL="800100" lvl="1" indent="-342900">
              <a:buFontTx/>
              <a:buChar char="-"/>
            </a:pPr>
            <a:endParaRPr lang="da-DK" sz="1200" b="1">
              <a:latin typeface="Quicksand" panose="020B0604020202020204" charset="0"/>
              <a:cs typeface="Amatic SC" panose="00000500000000000000" pitchFamily="2" charset="-79"/>
            </a:endParaRPr>
          </a:p>
        </p:txBody>
      </p:sp>
      <p:sp>
        <p:nvSpPr>
          <p:cNvPr id="5" name="TextBox 4">
            <a:extLst>
              <a:ext uri="{FF2B5EF4-FFF2-40B4-BE49-F238E27FC236}">
                <a16:creationId xmlns:a16="http://schemas.microsoft.com/office/drawing/2014/main" id="{F8011E77-FD52-8D59-DF69-25DB95D1DA2D}"/>
              </a:ext>
            </a:extLst>
          </p:cNvPr>
          <p:cNvSpPr txBox="1"/>
          <p:nvPr/>
        </p:nvSpPr>
        <p:spPr>
          <a:xfrm>
            <a:off x="4792256" y="2034885"/>
            <a:ext cx="3191855" cy="3631763"/>
          </a:xfrm>
          <a:custGeom>
            <a:avLst/>
            <a:gdLst>
              <a:gd name="connsiteX0" fmla="*/ 0 w 3191855"/>
              <a:gd name="connsiteY0" fmla="*/ 0 h 3631763"/>
              <a:gd name="connsiteX1" fmla="*/ 702208 w 3191855"/>
              <a:gd name="connsiteY1" fmla="*/ 0 h 3631763"/>
              <a:gd name="connsiteX2" fmla="*/ 1372498 w 3191855"/>
              <a:gd name="connsiteY2" fmla="*/ 0 h 3631763"/>
              <a:gd name="connsiteX3" fmla="*/ 2010869 w 3191855"/>
              <a:gd name="connsiteY3" fmla="*/ 0 h 3631763"/>
              <a:gd name="connsiteX4" fmla="*/ 3191855 w 3191855"/>
              <a:gd name="connsiteY4" fmla="*/ 0 h 3631763"/>
              <a:gd name="connsiteX5" fmla="*/ 3191855 w 3191855"/>
              <a:gd name="connsiteY5" fmla="*/ 677929 h 3631763"/>
              <a:gd name="connsiteX6" fmla="*/ 3191855 w 3191855"/>
              <a:gd name="connsiteY6" fmla="*/ 1319541 h 3631763"/>
              <a:gd name="connsiteX7" fmla="*/ 3191855 w 3191855"/>
              <a:gd name="connsiteY7" fmla="*/ 1852199 h 3631763"/>
              <a:gd name="connsiteX8" fmla="*/ 3191855 w 3191855"/>
              <a:gd name="connsiteY8" fmla="*/ 2493811 h 3631763"/>
              <a:gd name="connsiteX9" fmla="*/ 3191855 w 3191855"/>
              <a:gd name="connsiteY9" fmla="*/ 2990152 h 3631763"/>
              <a:gd name="connsiteX10" fmla="*/ 3191855 w 3191855"/>
              <a:gd name="connsiteY10" fmla="*/ 3631763 h 3631763"/>
              <a:gd name="connsiteX11" fmla="*/ 2617321 w 3191855"/>
              <a:gd name="connsiteY11" fmla="*/ 3631763 h 3631763"/>
              <a:gd name="connsiteX12" fmla="*/ 1915113 w 3191855"/>
              <a:gd name="connsiteY12" fmla="*/ 3631763 h 3631763"/>
              <a:gd name="connsiteX13" fmla="*/ 1308661 w 3191855"/>
              <a:gd name="connsiteY13" fmla="*/ 3631763 h 3631763"/>
              <a:gd name="connsiteX14" fmla="*/ 606452 w 3191855"/>
              <a:gd name="connsiteY14" fmla="*/ 3631763 h 3631763"/>
              <a:gd name="connsiteX15" fmla="*/ 0 w 3191855"/>
              <a:gd name="connsiteY15" fmla="*/ 3631763 h 3631763"/>
              <a:gd name="connsiteX16" fmla="*/ 0 w 3191855"/>
              <a:gd name="connsiteY16" fmla="*/ 3135422 h 3631763"/>
              <a:gd name="connsiteX17" fmla="*/ 0 w 3191855"/>
              <a:gd name="connsiteY17" fmla="*/ 2493811 h 3631763"/>
              <a:gd name="connsiteX18" fmla="*/ 0 w 3191855"/>
              <a:gd name="connsiteY18" fmla="*/ 1997470 h 3631763"/>
              <a:gd name="connsiteX19" fmla="*/ 0 w 3191855"/>
              <a:gd name="connsiteY19" fmla="*/ 1501129 h 3631763"/>
              <a:gd name="connsiteX20" fmla="*/ 0 w 3191855"/>
              <a:gd name="connsiteY20" fmla="*/ 823200 h 3631763"/>
              <a:gd name="connsiteX21" fmla="*/ 0 w 3191855"/>
              <a:gd name="connsiteY21" fmla="*/ 0 h 363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91855" h="3631763" fill="none" extrusionOk="0">
                <a:moveTo>
                  <a:pt x="0" y="0"/>
                </a:moveTo>
                <a:cubicBezTo>
                  <a:pt x="247222" y="15772"/>
                  <a:pt x="408195" y="2755"/>
                  <a:pt x="702208" y="0"/>
                </a:cubicBezTo>
                <a:cubicBezTo>
                  <a:pt x="996221" y="-2755"/>
                  <a:pt x="1229379" y="-7637"/>
                  <a:pt x="1372498" y="0"/>
                </a:cubicBezTo>
                <a:cubicBezTo>
                  <a:pt x="1515617" y="7637"/>
                  <a:pt x="1862230" y="-6227"/>
                  <a:pt x="2010869" y="0"/>
                </a:cubicBezTo>
                <a:cubicBezTo>
                  <a:pt x="2159508" y="6227"/>
                  <a:pt x="2848726" y="-12682"/>
                  <a:pt x="3191855" y="0"/>
                </a:cubicBezTo>
                <a:cubicBezTo>
                  <a:pt x="3177757" y="233322"/>
                  <a:pt x="3214380" y="399907"/>
                  <a:pt x="3191855" y="677929"/>
                </a:cubicBezTo>
                <a:cubicBezTo>
                  <a:pt x="3169330" y="955951"/>
                  <a:pt x="3167288" y="1060612"/>
                  <a:pt x="3191855" y="1319541"/>
                </a:cubicBezTo>
                <a:cubicBezTo>
                  <a:pt x="3216422" y="1578470"/>
                  <a:pt x="3193400" y="1667830"/>
                  <a:pt x="3191855" y="1852199"/>
                </a:cubicBezTo>
                <a:cubicBezTo>
                  <a:pt x="3190310" y="2036568"/>
                  <a:pt x="3207606" y="2275692"/>
                  <a:pt x="3191855" y="2493811"/>
                </a:cubicBezTo>
                <a:cubicBezTo>
                  <a:pt x="3176104" y="2711930"/>
                  <a:pt x="3170735" y="2827623"/>
                  <a:pt x="3191855" y="2990152"/>
                </a:cubicBezTo>
                <a:cubicBezTo>
                  <a:pt x="3212975" y="3152681"/>
                  <a:pt x="3223013" y="3500952"/>
                  <a:pt x="3191855" y="3631763"/>
                </a:cubicBezTo>
                <a:cubicBezTo>
                  <a:pt x="2981844" y="3642880"/>
                  <a:pt x="2777422" y="3618145"/>
                  <a:pt x="2617321" y="3631763"/>
                </a:cubicBezTo>
                <a:cubicBezTo>
                  <a:pt x="2457220" y="3645381"/>
                  <a:pt x="2127662" y="3616476"/>
                  <a:pt x="1915113" y="3631763"/>
                </a:cubicBezTo>
                <a:cubicBezTo>
                  <a:pt x="1702564" y="3647050"/>
                  <a:pt x="1542716" y="3645856"/>
                  <a:pt x="1308661" y="3631763"/>
                </a:cubicBezTo>
                <a:cubicBezTo>
                  <a:pt x="1074606" y="3617670"/>
                  <a:pt x="818282" y="3607296"/>
                  <a:pt x="606452" y="3631763"/>
                </a:cubicBezTo>
                <a:cubicBezTo>
                  <a:pt x="394622" y="3656230"/>
                  <a:pt x="280538" y="3641037"/>
                  <a:pt x="0" y="3631763"/>
                </a:cubicBezTo>
                <a:cubicBezTo>
                  <a:pt x="-22579" y="3463511"/>
                  <a:pt x="-1889" y="3353787"/>
                  <a:pt x="0" y="3135422"/>
                </a:cubicBezTo>
                <a:cubicBezTo>
                  <a:pt x="1889" y="2917057"/>
                  <a:pt x="-5638" y="2656833"/>
                  <a:pt x="0" y="2493811"/>
                </a:cubicBezTo>
                <a:cubicBezTo>
                  <a:pt x="5638" y="2330789"/>
                  <a:pt x="13787" y="2183556"/>
                  <a:pt x="0" y="1997470"/>
                </a:cubicBezTo>
                <a:cubicBezTo>
                  <a:pt x="-13787" y="1811384"/>
                  <a:pt x="1087" y="1720051"/>
                  <a:pt x="0" y="1501129"/>
                </a:cubicBezTo>
                <a:cubicBezTo>
                  <a:pt x="-1087" y="1282207"/>
                  <a:pt x="14923" y="1114852"/>
                  <a:pt x="0" y="823200"/>
                </a:cubicBezTo>
                <a:cubicBezTo>
                  <a:pt x="-14923" y="531548"/>
                  <a:pt x="15101" y="185124"/>
                  <a:pt x="0" y="0"/>
                </a:cubicBezTo>
                <a:close/>
              </a:path>
              <a:path w="3191855" h="3631763" stroke="0" extrusionOk="0">
                <a:moveTo>
                  <a:pt x="0" y="0"/>
                </a:moveTo>
                <a:cubicBezTo>
                  <a:pt x="148733" y="5662"/>
                  <a:pt x="323181" y="-29486"/>
                  <a:pt x="606452" y="0"/>
                </a:cubicBezTo>
                <a:cubicBezTo>
                  <a:pt x="889723" y="29486"/>
                  <a:pt x="884118" y="3669"/>
                  <a:pt x="1149068" y="0"/>
                </a:cubicBezTo>
                <a:cubicBezTo>
                  <a:pt x="1414018" y="-3669"/>
                  <a:pt x="1535308" y="30514"/>
                  <a:pt x="1851276" y="0"/>
                </a:cubicBezTo>
                <a:cubicBezTo>
                  <a:pt x="2167244" y="-30514"/>
                  <a:pt x="2175792" y="-14065"/>
                  <a:pt x="2457728" y="0"/>
                </a:cubicBezTo>
                <a:cubicBezTo>
                  <a:pt x="2739664" y="14065"/>
                  <a:pt x="2953605" y="-18183"/>
                  <a:pt x="3191855" y="0"/>
                </a:cubicBezTo>
                <a:cubicBezTo>
                  <a:pt x="3171361" y="157538"/>
                  <a:pt x="3184552" y="388594"/>
                  <a:pt x="3191855" y="677929"/>
                </a:cubicBezTo>
                <a:cubicBezTo>
                  <a:pt x="3199158" y="967264"/>
                  <a:pt x="3196235" y="1073328"/>
                  <a:pt x="3191855" y="1283223"/>
                </a:cubicBezTo>
                <a:cubicBezTo>
                  <a:pt x="3187475" y="1493118"/>
                  <a:pt x="3162025" y="1747110"/>
                  <a:pt x="3191855" y="1888517"/>
                </a:cubicBezTo>
                <a:cubicBezTo>
                  <a:pt x="3221685" y="2029924"/>
                  <a:pt x="3185470" y="2280649"/>
                  <a:pt x="3191855" y="2421175"/>
                </a:cubicBezTo>
                <a:cubicBezTo>
                  <a:pt x="3198240" y="2561701"/>
                  <a:pt x="3172585" y="2809797"/>
                  <a:pt x="3191855" y="2953834"/>
                </a:cubicBezTo>
                <a:cubicBezTo>
                  <a:pt x="3211125" y="3097871"/>
                  <a:pt x="3198108" y="3439381"/>
                  <a:pt x="3191855" y="3631763"/>
                </a:cubicBezTo>
                <a:cubicBezTo>
                  <a:pt x="2908947" y="3601457"/>
                  <a:pt x="2691100" y="3645183"/>
                  <a:pt x="2521565" y="3631763"/>
                </a:cubicBezTo>
                <a:cubicBezTo>
                  <a:pt x="2352030" y="3618344"/>
                  <a:pt x="2049592" y="3620210"/>
                  <a:pt x="1819357" y="3631763"/>
                </a:cubicBezTo>
                <a:cubicBezTo>
                  <a:pt x="1589122" y="3643316"/>
                  <a:pt x="1384764" y="3625677"/>
                  <a:pt x="1117149" y="3631763"/>
                </a:cubicBezTo>
                <a:cubicBezTo>
                  <a:pt x="849534" y="3637849"/>
                  <a:pt x="557516" y="3579962"/>
                  <a:pt x="0" y="3631763"/>
                </a:cubicBezTo>
                <a:cubicBezTo>
                  <a:pt x="18178" y="3474992"/>
                  <a:pt x="16179" y="3166028"/>
                  <a:pt x="0" y="3026469"/>
                </a:cubicBezTo>
                <a:cubicBezTo>
                  <a:pt x="-16179" y="2886910"/>
                  <a:pt x="11626" y="2650557"/>
                  <a:pt x="0" y="2457493"/>
                </a:cubicBezTo>
                <a:cubicBezTo>
                  <a:pt x="-11626" y="2264429"/>
                  <a:pt x="-24216" y="2181398"/>
                  <a:pt x="0" y="1961152"/>
                </a:cubicBezTo>
                <a:cubicBezTo>
                  <a:pt x="24216" y="1740906"/>
                  <a:pt x="-12269" y="1571218"/>
                  <a:pt x="0" y="1428493"/>
                </a:cubicBezTo>
                <a:cubicBezTo>
                  <a:pt x="12269" y="1285768"/>
                  <a:pt x="17895" y="1044807"/>
                  <a:pt x="0" y="895835"/>
                </a:cubicBezTo>
                <a:cubicBezTo>
                  <a:pt x="-17895" y="746863"/>
                  <a:pt x="19059" y="442557"/>
                  <a:pt x="0" y="0"/>
                </a:cubicBezTo>
                <a:close/>
              </a:path>
            </a:pathLst>
          </a:custGeom>
          <a:solidFill>
            <a:schemeClr val="tx2">
              <a:lumMod val="20000"/>
              <a:lumOff val="80000"/>
            </a:schemeClr>
          </a:solidFill>
          <a:ln>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3"/>
          </a:lnRef>
          <a:fillRef idx="1">
            <a:schemeClr val="lt1"/>
          </a:fillRef>
          <a:effectRef idx="0">
            <a:schemeClr val="accent3"/>
          </a:effectRef>
          <a:fontRef idx="minor">
            <a:schemeClr val="dk1"/>
          </a:fontRef>
        </p:style>
        <p:txBody>
          <a:bodyPr wrap="square" lIns="0" tIns="72000" rIns="0" bIns="0" rtlCol="0">
            <a:noAutofit/>
          </a:bodyPr>
          <a:lstStyle/>
          <a:p>
            <a:pPr algn="ctr"/>
            <a:r>
              <a:rPr lang="da-DK" sz="2400" b="1">
                <a:latin typeface="Amatic SC" panose="00000500000000000000" pitchFamily="2" charset="-79"/>
                <a:cs typeface="Amatic SC" panose="00000500000000000000" pitchFamily="2" charset="-79"/>
              </a:rPr>
              <a:t>interviews på skoler</a:t>
            </a:r>
          </a:p>
          <a:p>
            <a:pPr algn="ctr"/>
            <a:endParaRPr lang="da-DK" sz="2400" b="1">
              <a:latin typeface="Amatic SC" panose="00000500000000000000" pitchFamily="2" charset="-79"/>
              <a:cs typeface="Amatic SC" panose="00000500000000000000" pitchFamily="2" charset="-79"/>
            </a:endParaRPr>
          </a:p>
          <a:p>
            <a:pPr algn="ctr"/>
            <a:endParaRPr lang="da-DK" sz="2400" b="1">
              <a:latin typeface="Amatic SC" panose="00000500000000000000" pitchFamily="2" charset="-79"/>
              <a:cs typeface="Amatic SC" panose="00000500000000000000" pitchFamily="2" charset="-79"/>
            </a:endParaRPr>
          </a:p>
          <a:p>
            <a:pPr algn="ctr"/>
            <a:endParaRPr lang="da-DK" sz="2400" b="1">
              <a:latin typeface="Amatic SC" panose="00000500000000000000" pitchFamily="2" charset="-79"/>
              <a:cs typeface="Amatic SC" panose="00000500000000000000" pitchFamily="2" charset="-79"/>
            </a:endParaRPr>
          </a:p>
          <a:p>
            <a:pPr lvl="1"/>
            <a:endParaRPr lang="da-DK" sz="2000">
              <a:latin typeface="Amatic SC" panose="00000500000000000000" pitchFamily="2" charset="-79"/>
              <a:cs typeface="Amatic SC" panose="00000500000000000000" pitchFamily="2" charset="-79"/>
            </a:endParaRPr>
          </a:p>
          <a:p>
            <a:pPr algn="ctr"/>
            <a:endParaRPr lang="da-DK" sz="2400" b="1">
              <a:latin typeface="Amatic SC" panose="00000500000000000000" pitchFamily="2" charset="-79"/>
              <a:cs typeface="Amatic SC" panose="00000500000000000000" pitchFamily="2" charset="-79"/>
            </a:endParaRPr>
          </a:p>
          <a:p>
            <a:pPr algn="ctr"/>
            <a:endParaRPr lang="da-DK" sz="2400" b="1">
              <a:latin typeface="Amatic SC" panose="00000500000000000000" pitchFamily="2" charset="-79"/>
              <a:cs typeface="Amatic SC" panose="00000500000000000000" pitchFamily="2" charset="-79"/>
            </a:endParaRPr>
          </a:p>
          <a:p>
            <a:pPr algn="ctr"/>
            <a:endParaRPr lang="da-DK" sz="2400" b="1">
              <a:latin typeface="Amatic SC" panose="00000500000000000000" pitchFamily="2" charset="-79"/>
              <a:cs typeface="Amatic SC" panose="00000500000000000000" pitchFamily="2" charset="-79"/>
            </a:endParaRPr>
          </a:p>
          <a:p>
            <a:pPr algn="ctr"/>
            <a:endParaRPr lang="da-DK" sz="2400" b="1">
              <a:latin typeface="Amatic SC" panose="00000500000000000000" pitchFamily="2" charset="-79"/>
              <a:cs typeface="Amatic SC" panose="00000500000000000000" pitchFamily="2" charset="-79"/>
            </a:endParaRPr>
          </a:p>
          <a:p>
            <a:pPr algn="ctr"/>
            <a:endParaRPr lang="da-DK" sz="2400" b="1">
              <a:latin typeface="Amatic SC" panose="00000500000000000000" pitchFamily="2" charset="-79"/>
              <a:cs typeface="Amatic SC" panose="00000500000000000000" pitchFamily="2" charset="-79"/>
            </a:endParaRPr>
          </a:p>
        </p:txBody>
      </p:sp>
      <p:sp>
        <p:nvSpPr>
          <p:cNvPr id="7" name="TextBox 6">
            <a:extLst>
              <a:ext uri="{FF2B5EF4-FFF2-40B4-BE49-F238E27FC236}">
                <a16:creationId xmlns:a16="http://schemas.microsoft.com/office/drawing/2014/main" id="{C6DC51C9-021A-D41E-8C13-B63BF5F64C2F}"/>
              </a:ext>
            </a:extLst>
          </p:cNvPr>
          <p:cNvSpPr txBox="1"/>
          <p:nvPr/>
        </p:nvSpPr>
        <p:spPr>
          <a:xfrm>
            <a:off x="5087162" y="4260474"/>
            <a:ext cx="2571738" cy="369332"/>
          </a:xfrm>
          <a:custGeom>
            <a:avLst/>
            <a:gdLst>
              <a:gd name="connsiteX0" fmla="*/ 0 w 2571738"/>
              <a:gd name="connsiteY0" fmla="*/ 0 h 369332"/>
              <a:gd name="connsiteX1" fmla="*/ 617217 w 2571738"/>
              <a:gd name="connsiteY1" fmla="*/ 0 h 369332"/>
              <a:gd name="connsiteX2" fmla="*/ 1182999 w 2571738"/>
              <a:gd name="connsiteY2" fmla="*/ 0 h 369332"/>
              <a:gd name="connsiteX3" fmla="*/ 1877369 w 2571738"/>
              <a:gd name="connsiteY3" fmla="*/ 0 h 369332"/>
              <a:gd name="connsiteX4" fmla="*/ 2571738 w 2571738"/>
              <a:gd name="connsiteY4" fmla="*/ 0 h 369332"/>
              <a:gd name="connsiteX5" fmla="*/ 2571738 w 2571738"/>
              <a:gd name="connsiteY5" fmla="*/ 369332 h 369332"/>
              <a:gd name="connsiteX6" fmla="*/ 1980238 w 2571738"/>
              <a:gd name="connsiteY6" fmla="*/ 369332 h 369332"/>
              <a:gd name="connsiteX7" fmla="*/ 1388739 w 2571738"/>
              <a:gd name="connsiteY7" fmla="*/ 369332 h 369332"/>
              <a:gd name="connsiteX8" fmla="*/ 694369 w 2571738"/>
              <a:gd name="connsiteY8" fmla="*/ 369332 h 369332"/>
              <a:gd name="connsiteX9" fmla="*/ 0 w 2571738"/>
              <a:gd name="connsiteY9" fmla="*/ 369332 h 369332"/>
              <a:gd name="connsiteX10" fmla="*/ 0 w 2571738"/>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1738" h="369332" extrusionOk="0">
                <a:moveTo>
                  <a:pt x="0" y="0"/>
                </a:moveTo>
                <a:cubicBezTo>
                  <a:pt x="222907" y="-13606"/>
                  <a:pt x="488073" y="-28567"/>
                  <a:pt x="617217" y="0"/>
                </a:cubicBezTo>
                <a:cubicBezTo>
                  <a:pt x="746361" y="28567"/>
                  <a:pt x="1059442" y="10673"/>
                  <a:pt x="1182999" y="0"/>
                </a:cubicBezTo>
                <a:cubicBezTo>
                  <a:pt x="1306556" y="-10673"/>
                  <a:pt x="1569008" y="11899"/>
                  <a:pt x="1877369" y="0"/>
                </a:cubicBezTo>
                <a:cubicBezTo>
                  <a:pt x="2185730" y="-11899"/>
                  <a:pt x="2431630" y="31249"/>
                  <a:pt x="2571738" y="0"/>
                </a:cubicBezTo>
                <a:cubicBezTo>
                  <a:pt x="2588844" y="91456"/>
                  <a:pt x="2589897" y="211595"/>
                  <a:pt x="2571738" y="369332"/>
                </a:cubicBezTo>
                <a:cubicBezTo>
                  <a:pt x="2451904" y="398746"/>
                  <a:pt x="2207214" y="349778"/>
                  <a:pt x="1980238" y="369332"/>
                </a:cubicBezTo>
                <a:cubicBezTo>
                  <a:pt x="1753262" y="388886"/>
                  <a:pt x="1670905" y="371552"/>
                  <a:pt x="1388739" y="369332"/>
                </a:cubicBezTo>
                <a:cubicBezTo>
                  <a:pt x="1106573" y="367112"/>
                  <a:pt x="972365" y="343507"/>
                  <a:pt x="694369" y="369332"/>
                </a:cubicBezTo>
                <a:cubicBezTo>
                  <a:pt x="416373" y="395158"/>
                  <a:pt x="222865" y="337236"/>
                  <a:pt x="0" y="369332"/>
                </a:cubicBezTo>
                <a:cubicBezTo>
                  <a:pt x="11387" y="231265"/>
                  <a:pt x="-12011" y="175783"/>
                  <a:pt x="0" y="0"/>
                </a:cubicBezTo>
                <a:close/>
              </a:path>
            </a:pathLst>
          </a:custGeom>
          <a:noFill/>
          <a:ln>
            <a:solidFill>
              <a:schemeClr val="accent3"/>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3"/>
          </a:lnRef>
          <a:fillRef idx="1">
            <a:schemeClr val="lt1"/>
          </a:fillRef>
          <a:effectRef idx="0">
            <a:schemeClr val="accent3"/>
          </a:effectRef>
          <a:fontRef idx="minor">
            <a:schemeClr val="dk1"/>
          </a:fontRef>
        </p:style>
        <p:txBody>
          <a:bodyPr wrap="square" lIns="0" tIns="0" rIns="0" bIns="0" rtlCol="0">
            <a:noAutofit/>
          </a:bodyPr>
          <a:lstStyle/>
          <a:p>
            <a:pPr algn="ctr"/>
            <a:r>
              <a:rPr lang="da-DK" sz="2400" b="1">
                <a:latin typeface="Amatic SC" panose="00000500000000000000" pitchFamily="2" charset="-79"/>
                <a:cs typeface="Amatic SC" panose="00000500000000000000" pitchFamily="2" charset="-79"/>
              </a:rPr>
              <a:t>Observationer</a:t>
            </a:r>
          </a:p>
        </p:txBody>
      </p:sp>
      <p:sp>
        <p:nvSpPr>
          <p:cNvPr id="11" name="TextBox 10">
            <a:extLst>
              <a:ext uri="{FF2B5EF4-FFF2-40B4-BE49-F238E27FC236}">
                <a16:creationId xmlns:a16="http://schemas.microsoft.com/office/drawing/2014/main" id="{6F1F60EC-D9D6-4AA9-32FC-3E3409DB52CB}"/>
              </a:ext>
            </a:extLst>
          </p:cNvPr>
          <p:cNvSpPr txBox="1"/>
          <p:nvPr/>
        </p:nvSpPr>
        <p:spPr>
          <a:xfrm>
            <a:off x="5087162" y="4713512"/>
            <a:ext cx="2648452" cy="553998"/>
          </a:xfrm>
          <a:prstGeom prst="rect">
            <a:avLst/>
          </a:prstGeom>
          <a:noFill/>
        </p:spPr>
        <p:txBody>
          <a:bodyPr wrap="square" lIns="0" tIns="0" rIns="0" bIns="0" rtlCol="0">
            <a:spAutoFit/>
          </a:bodyPr>
          <a:lstStyle/>
          <a:p>
            <a:pPr marL="360000" indent="-108000">
              <a:buFontTx/>
              <a:buChar char="-"/>
            </a:pPr>
            <a:r>
              <a:rPr lang="da-DK" sz="1200">
                <a:latin typeface="Quicksand" panose="020B0604020202020204" charset="0"/>
                <a:cs typeface="Amatic SC" panose="00000500000000000000" pitchFamily="2" charset="-79"/>
              </a:rPr>
              <a:t>Udført som led i</a:t>
            </a:r>
            <a:r>
              <a:rPr lang="da-DK" sz="1200" b="1">
                <a:latin typeface="Quicksand" panose="020B0604020202020204" charset="0"/>
                <a:cs typeface="Amatic SC" panose="00000500000000000000" pitchFamily="2" charset="-79"/>
              </a:rPr>
              <a:t> </a:t>
            </a:r>
            <a:r>
              <a:rPr lang="da-DK" sz="1200" b="1" err="1">
                <a:latin typeface="Quicksand" panose="020B0604020202020204" charset="0"/>
                <a:cs typeface="Amatic SC" panose="00000500000000000000" pitchFamily="2" charset="-79"/>
              </a:rPr>
              <a:t>casebesøg</a:t>
            </a:r>
            <a:r>
              <a:rPr lang="da-DK" sz="1200" b="1">
                <a:latin typeface="Quicksand" panose="020B0604020202020204" charset="0"/>
                <a:cs typeface="Amatic SC" panose="00000500000000000000" pitchFamily="2" charset="-79"/>
              </a:rPr>
              <a:t> på seks udvalgte skoler </a:t>
            </a:r>
            <a:r>
              <a:rPr lang="da-DK" sz="1200">
                <a:latin typeface="Quicksand" panose="020B0604020202020204" charset="0"/>
                <a:cs typeface="Amatic SC" panose="00000500000000000000" pitchFamily="2" charset="-79"/>
              </a:rPr>
              <a:t>i udvalgte kommuner</a:t>
            </a:r>
          </a:p>
        </p:txBody>
      </p:sp>
      <p:pic>
        <p:nvPicPr>
          <p:cNvPr id="12" name="Graphic 11" descr="Eyes outline">
            <a:extLst>
              <a:ext uri="{FF2B5EF4-FFF2-40B4-BE49-F238E27FC236}">
                <a16:creationId xmlns:a16="http://schemas.microsoft.com/office/drawing/2014/main" id="{9A6D265D-5073-204C-9231-09CB8F6403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30983" y="3628236"/>
            <a:ext cx="914400" cy="914400"/>
          </a:xfrm>
          <a:prstGeom prst="rect">
            <a:avLst/>
          </a:prstGeom>
        </p:spPr>
      </p:pic>
      <p:pic>
        <p:nvPicPr>
          <p:cNvPr id="18" name="Graphic 17" descr="Clipboard Partially Checked with solid fill">
            <a:extLst>
              <a:ext uri="{FF2B5EF4-FFF2-40B4-BE49-F238E27FC236}">
                <a16:creationId xmlns:a16="http://schemas.microsoft.com/office/drawing/2014/main" id="{802D8400-1442-75D1-FC9E-9E823AD9A55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17485" y="1253842"/>
            <a:ext cx="714350" cy="714350"/>
          </a:xfrm>
          <a:prstGeom prst="rect">
            <a:avLst/>
          </a:prstGeom>
        </p:spPr>
      </p:pic>
      <p:pic>
        <p:nvPicPr>
          <p:cNvPr id="13" name="Graphic 12" descr="Chat with solid fill">
            <a:extLst>
              <a:ext uri="{FF2B5EF4-FFF2-40B4-BE49-F238E27FC236}">
                <a16:creationId xmlns:a16="http://schemas.microsoft.com/office/drawing/2014/main" id="{D7D8C319-BCC4-62B1-4202-276D8B9AB4C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917460" y="3387136"/>
            <a:ext cx="914400" cy="914400"/>
          </a:xfrm>
          <a:prstGeom prst="rect">
            <a:avLst/>
          </a:prstGeom>
        </p:spPr>
      </p:pic>
      <p:pic>
        <p:nvPicPr>
          <p:cNvPr id="19" name="Graphic 18" descr="Users with solid fill">
            <a:extLst>
              <a:ext uri="{FF2B5EF4-FFF2-40B4-BE49-F238E27FC236}">
                <a16:creationId xmlns:a16="http://schemas.microsoft.com/office/drawing/2014/main" id="{A4CDCBF3-7806-8C4D-73D9-E24747E3802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711122" y="1228788"/>
            <a:ext cx="914400" cy="914400"/>
          </a:xfrm>
          <a:prstGeom prst="rect">
            <a:avLst/>
          </a:prstGeom>
        </p:spPr>
      </p:pic>
      <p:pic>
        <p:nvPicPr>
          <p:cNvPr id="20" name="Graphic 19" descr="Schoolhouse with solid fill">
            <a:extLst>
              <a:ext uri="{FF2B5EF4-FFF2-40B4-BE49-F238E27FC236}">
                <a16:creationId xmlns:a16="http://schemas.microsoft.com/office/drawing/2014/main" id="{6F597099-16CC-790D-A288-A62EF10D5A8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915831" y="1162321"/>
            <a:ext cx="914400" cy="914400"/>
          </a:xfrm>
          <a:prstGeom prst="rect">
            <a:avLst/>
          </a:prstGeom>
        </p:spPr>
      </p:pic>
      <p:sp>
        <p:nvSpPr>
          <p:cNvPr id="21" name="TextBox 20">
            <a:extLst>
              <a:ext uri="{FF2B5EF4-FFF2-40B4-BE49-F238E27FC236}">
                <a16:creationId xmlns:a16="http://schemas.microsoft.com/office/drawing/2014/main" id="{7B941C82-DB62-49AB-642A-17C6EBEEA8EF}"/>
              </a:ext>
            </a:extLst>
          </p:cNvPr>
          <p:cNvSpPr txBox="1"/>
          <p:nvPr/>
        </p:nvSpPr>
        <p:spPr>
          <a:xfrm>
            <a:off x="8457771" y="2020270"/>
            <a:ext cx="3402218" cy="1477328"/>
          </a:xfrm>
          <a:custGeom>
            <a:avLst/>
            <a:gdLst>
              <a:gd name="connsiteX0" fmla="*/ 0 w 3402218"/>
              <a:gd name="connsiteY0" fmla="*/ 0 h 1477328"/>
              <a:gd name="connsiteX1" fmla="*/ 646421 w 3402218"/>
              <a:gd name="connsiteY1" fmla="*/ 0 h 1477328"/>
              <a:gd name="connsiteX2" fmla="*/ 1224798 w 3402218"/>
              <a:gd name="connsiteY2" fmla="*/ 0 h 1477328"/>
              <a:gd name="connsiteX3" fmla="*/ 1837198 w 3402218"/>
              <a:gd name="connsiteY3" fmla="*/ 0 h 1477328"/>
              <a:gd name="connsiteX4" fmla="*/ 2551664 w 3402218"/>
              <a:gd name="connsiteY4" fmla="*/ 0 h 1477328"/>
              <a:gd name="connsiteX5" fmla="*/ 3402218 w 3402218"/>
              <a:gd name="connsiteY5" fmla="*/ 0 h 1477328"/>
              <a:gd name="connsiteX6" fmla="*/ 3402218 w 3402218"/>
              <a:gd name="connsiteY6" fmla="*/ 462896 h 1477328"/>
              <a:gd name="connsiteX7" fmla="*/ 3402218 w 3402218"/>
              <a:gd name="connsiteY7" fmla="*/ 911019 h 1477328"/>
              <a:gd name="connsiteX8" fmla="*/ 3402218 w 3402218"/>
              <a:gd name="connsiteY8" fmla="*/ 1477328 h 1477328"/>
              <a:gd name="connsiteX9" fmla="*/ 2721774 w 3402218"/>
              <a:gd name="connsiteY9" fmla="*/ 1477328 h 1477328"/>
              <a:gd name="connsiteX10" fmla="*/ 2109375 w 3402218"/>
              <a:gd name="connsiteY10" fmla="*/ 1477328 h 1477328"/>
              <a:gd name="connsiteX11" fmla="*/ 1360887 w 3402218"/>
              <a:gd name="connsiteY11" fmla="*/ 1477328 h 1477328"/>
              <a:gd name="connsiteX12" fmla="*/ 714466 w 3402218"/>
              <a:gd name="connsiteY12" fmla="*/ 1477328 h 1477328"/>
              <a:gd name="connsiteX13" fmla="*/ 0 w 3402218"/>
              <a:gd name="connsiteY13" fmla="*/ 1477328 h 1477328"/>
              <a:gd name="connsiteX14" fmla="*/ 0 w 3402218"/>
              <a:gd name="connsiteY14" fmla="*/ 970112 h 1477328"/>
              <a:gd name="connsiteX15" fmla="*/ 0 w 3402218"/>
              <a:gd name="connsiteY15" fmla="*/ 492443 h 1477328"/>
              <a:gd name="connsiteX16" fmla="*/ 0 w 3402218"/>
              <a:gd name="connsiteY16" fmla="*/ 0 h 147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02218" h="1477328" fill="none" extrusionOk="0">
                <a:moveTo>
                  <a:pt x="0" y="0"/>
                </a:moveTo>
                <a:cubicBezTo>
                  <a:pt x="157255" y="-3612"/>
                  <a:pt x="422009" y="20585"/>
                  <a:pt x="646421" y="0"/>
                </a:cubicBezTo>
                <a:cubicBezTo>
                  <a:pt x="870833" y="-20585"/>
                  <a:pt x="1104704" y="-10731"/>
                  <a:pt x="1224798" y="0"/>
                </a:cubicBezTo>
                <a:cubicBezTo>
                  <a:pt x="1344892" y="10731"/>
                  <a:pt x="1703691" y="-16967"/>
                  <a:pt x="1837198" y="0"/>
                </a:cubicBezTo>
                <a:cubicBezTo>
                  <a:pt x="1970705" y="16967"/>
                  <a:pt x="2393532" y="9818"/>
                  <a:pt x="2551664" y="0"/>
                </a:cubicBezTo>
                <a:cubicBezTo>
                  <a:pt x="2709796" y="-9818"/>
                  <a:pt x="3163675" y="35131"/>
                  <a:pt x="3402218" y="0"/>
                </a:cubicBezTo>
                <a:cubicBezTo>
                  <a:pt x="3389768" y="210285"/>
                  <a:pt x="3407916" y="272749"/>
                  <a:pt x="3402218" y="462896"/>
                </a:cubicBezTo>
                <a:cubicBezTo>
                  <a:pt x="3396520" y="653043"/>
                  <a:pt x="3381063" y="817031"/>
                  <a:pt x="3402218" y="911019"/>
                </a:cubicBezTo>
                <a:cubicBezTo>
                  <a:pt x="3423373" y="1005007"/>
                  <a:pt x="3422212" y="1359959"/>
                  <a:pt x="3402218" y="1477328"/>
                </a:cubicBezTo>
                <a:cubicBezTo>
                  <a:pt x="3192359" y="1507729"/>
                  <a:pt x="2887991" y="1504717"/>
                  <a:pt x="2721774" y="1477328"/>
                </a:cubicBezTo>
                <a:cubicBezTo>
                  <a:pt x="2555557" y="1449939"/>
                  <a:pt x="2388479" y="1500500"/>
                  <a:pt x="2109375" y="1477328"/>
                </a:cubicBezTo>
                <a:cubicBezTo>
                  <a:pt x="1830271" y="1454156"/>
                  <a:pt x="1591010" y="1449864"/>
                  <a:pt x="1360887" y="1477328"/>
                </a:cubicBezTo>
                <a:cubicBezTo>
                  <a:pt x="1130764" y="1504792"/>
                  <a:pt x="1030515" y="1450470"/>
                  <a:pt x="714466" y="1477328"/>
                </a:cubicBezTo>
                <a:cubicBezTo>
                  <a:pt x="398417" y="1504186"/>
                  <a:pt x="280664" y="1447103"/>
                  <a:pt x="0" y="1477328"/>
                </a:cubicBezTo>
                <a:cubicBezTo>
                  <a:pt x="-11209" y="1282722"/>
                  <a:pt x="5083" y="1158167"/>
                  <a:pt x="0" y="970112"/>
                </a:cubicBezTo>
                <a:cubicBezTo>
                  <a:pt x="-5083" y="782057"/>
                  <a:pt x="-5470" y="714060"/>
                  <a:pt x="0" y="492443"/>
                </a:cubicBezTo>
                <a:cubicBezTo>
                  <a:pt x="5470" y="270826"/>
                  <a:pt x="-15039" y="164193"/>
                  <a:pt x="0" y="0"/>
                </a:cubicBezTo>
                <a:close/>
              </a:path>
              <a:path w="3402218" h="1477328" stroke="0" extrusionOk="0">
                <a:moveTo>
                  <a:pt x="0" y="0"/>
                </a:moveTo>
                <a:cubicBezTo>
                  <a:pt x="149681" y="19544"/>
                  <a:pt x="345904" y="31350"/>
                  <a:pt x="646421" y="0"/>
                </a:cubicBezTo>
                <a:cubicBezTo>
                  <a:pt x="946938" y="-31350"/>
                  <a:pt x="984550" y="-19106"/>
                  <a:pt x="1224798" y="0"/>
                </a:cubicBezTo>
                <a:cubicBezTo>
                  <a:pt x="1465046" y="19106"/>
                  <a:pt x="1799364" y="5975"/>
                  <a:pt x="1973286" y="0"/>
                </a:cubicBezTo>
                <a:cubicBezTo>
                  <a:pt x="2147208" y="-5975"/>
                  <a:pt x="2333475" y="-8471"/>
                  <a:pt x="2619708" y="0"/>
                </a:cubicBezTo>
                <a:cubicBezTo>
                  <a:pt x="2905941" y="8471"/>
                  <a:pt x="3208583" y="-27001"/>
                  <a:pt x="3402218" y="0"/>
                </a:cubicBezTo>
                <a:cubicBezTo>
                  <a:pt x="3396234" y="155912"/>
                  <a:pt x="3381467" y="377797"/>
                  <a:pt x="3402218" y="521989"/>
                </a:cubicBezTo>
                <a:cubicBezTo>
                  <a:pt x="3422969" y="666181"/>
                  <a:pt x="3405446" y="799293"/>
                  <a:pt x="3402218" y="1014432"/>
                </a:cubicBezTo>
                <a:cubicBezTo>
                  <a:pt x="3398990" y="1229571"/>
                  <a:pt x="3383960" y="1288622"/>
                  <a:pt x="3402218" y="1477328"/>
                </a:cubicBezTo>
                <a:cubicBezTo>
                  <a:pt x="3235732" y="1449995"/>
                  <a:pt x="2992376" y="1479078"/>
                  <a:pt x="2789819" y="1477328"/>
                </a:cubicBezTo>
                <a:cubicBezTo>
                  <a:pt x="2587262" y="1475578"/>
                  <a:pt x="2265837" y="1508379"/>
                  <a:pt x="2109375" y="1477328"/>
                </a:cubicBezTo>
                <a:cubicBezTo>
                  <a:pt x="1952913" y="1446277"/>
                  <a:pt x="1701897" y="1492771"/>
                  <a:pt x="1428932" y="1477328"/>
                </a:cubicBezTo>
                <a:cubicBezTo>
                  <a:pt x="1155967" y="1461885"/>
                  <a:pt x="1001602" y="1470407"/>
                  <a:pt x="782510" y="1477328"/>
                </a:cubicBezTo>
                <a:cubicBezTo>
                  <a:pt x="563418" y="1484249"/>
                  <a:pt x="345636" y="1515011"/>
                  <a:pt x="0" y="1477328"/>
                </a:cubicBezTo>
                <a:cubicBezTo>
                  <a:pt x="-15161" y="1358578"/>
                  <a:pt x="-15650" y="1162627"/>
                  <a:pt x="0" y="955339"/>
                </a:cubicBezTo>
                <a:cubicBezTo>
                  <a:pt x="15650" y="748051"/>
                  <a:pt x="536" y="598938"/>
                  <a:pt x="0" y="433350"/>
                </a:cubicBezTo>
                <a:cubicBezTo>
                  <a:pt x="-536" y="267762"/>
                  <a:pt x="-13318" y="173744"/>
                  <a:pt x="0" y="0"/>
                </a:cubicBezTo>
                <a:close/>
              </a:path>
            </a:pathLst>
          </a:custGeom>
          <a:solidFill>
            <a:schemeClr val="tx2">
              <a:lumMod val="20000"/>
              <a:lumOff val="80000"/>
            </a:schemeClr>
          </a:solidFill>
          <a:ln>
            <a:solidFill>
              <a:schemeClr val="accent6"/>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3"/>
          </a:lnRef>
          <a:fillRef idx="1">
            <a:schemeClr val="lt1"/>
          </a:fillRef>
          <a:effectRef idx="0">
            <a:schemeClr val="accent3"/>
          </a:effectRef>
          <a:fontRef idx="minor">
            <a:schemeClr val="dk1"/>
          </a:fontRef>
        </p:style>
        <p:txBody>
          <a:bodyPr wrap="square" lIns="0" tIns="72000" rIns="0" bIns="0" rtlCol="0">
            <a:noAutofit/>
          </a:bodyPr>
          <a:lstStyle/>
          <a:p>
            <a:pPr algn="ctr"/>
            <a:r>
              <a:rPr lang="da-DK" sz="2400" b="1">
                <a:latin typeface="Amatic SC" panose="00000500000000000000" pitchFamily="2" charset="-79"/>
                <a:cs typeface="Amatic SC" panose="00000500000000000000" pitchFamily="2" charset="-79"/>
              </a:rPr>
              <a:t>Interviews med valideringsklynger</a:t>
            </a:r>
          </a:p>
          <a:p>
            <a:endParaRPr lang="da-DK" sz="1200">
              <a:latin typeface="Quicksand" panose="020B0604020202020204" charset="0"/>
              <a:cs typeface="Amatic SC" panose="00000500000000000000" pitchFamily="2" charset="-79"/>
            </a:endParaRPr>
          </a:p>
          <a:p>
            <a:pPr marL="360000" indent="-108000">
              <a:buFontTx/>
              <a:buChar char="-"/>
            </a:pPr>
            <a:r>
              <a:rPr lang="da-DK" sz="1200">
                <a:latin typeface="Quicksand" panose="020B0604020202020204" charset="0"/>
                <a:cs typeface="Amatic SC" panose="00000500000000000000" pitchFamily="2" charset="-79"/>
              </a:rPr>
              <a:t>Udført som </a:t>
            </a:r>
            <a:r>
              <a:rPr lang="da-DK" sz="1200" b="1">
                <a:latin typeface="Quicksand" panose="020B0604020202020204" charset="0"/>
                <a:cs typeface="Amatic SC" panose="00000500000000000000" pitchFamily="2" charset="-79"/>
              </a:rPr>
              <a:t>workshops med repræsentanter </a:t>
            </a:r>
            <a:r>
              <a:rPr lang="da-DK" sz="1200">
                <a:latin typeface="Quicksand" panose="020B0604020202020204" charset="0"/>
                <a:cs typeface="Amatic SC" panose="00000500000000000000" pitchFamily="2" charset="-79"/>
              </a:rPr>
              <a:t>(det pædagogiske personale, vejledere, og ledere) </a:t>
            </a:r>
            <a:r>
              <a:rPr lang="da-DK" sz="1200" b="1">
                <a:latin typeface="Quicksand" panose="020B0604020202020204" charset="0"/>
                <a:cs typeface="Amatic SC" panose="00000500000000000000" pitchFamily="2" charset="-79"/>
              </a:rPr>
              <a:t>fra fem til seks skoler </a:t>
            </a:r>
            <a:r>
              <a:rPr lang="da-DK" sz="1200">
                <a:latin typeface="Quicksand" panose="020B0604020202020204" charset="0"/>
                <a:cs typeface="Amatic SC" panose="00000500000000000000" pitchFamily="2" charset="-79"/>
              </a:rPr>
              <a:t>inden for hver</a:t>
            </a:r>
            <a:br>
              <a:rPr lang="da-DK" sz="1200">
                <a:latin typeface="Quicksand" panose="020B0604020202020204" charset="0"/>
                <a:cs typeface="Amatic SC" panose="00000500000000000000" pitchFamily="2" charset="-79"/>
              </a:rPr>
            </a:br>
            <a:r>
              <a:rPr lang="da-DK" sz="1200">
                <a:latin typeface="Quicksand" panose="020B0604020202020204" charset="0"/>
                <a:cs typeface="Amatic SC" panose="00000500000000000000" pitchFamily="2" charset="-79"/>
              </a:rPr>
              <a:t>af de udvalgte kommuner</a:t>
            </a:r>
          </a:p>
          <a:p>
            <a:endParaRPr lang="da-DK" sz="1200">
              <a:latin typeface="Quicksand" panose="020B0604020202020204" charset="0"/>
              <a:cs typeface="Amatic SC" panose="00000500000000000000" pitchFamily="2" charset="-79"/>
            </a:endParaRPr>
          </a:p>
        </p:txBody>
      </p:sp>
      <p:grpSp>
        <p:nvGrpSpPr>
          <p:cNvPr id="8" name="Group 7">
            <a:extLst>
              <a:ext uri="{FF2B5EF4-FFF2-40B4-BE49-F238E27FC236}">
                <a16:creationId xmlns:a16="http://schemas.microsoft.com/office/drawing/2014/main" id="{F45E9660-60A1-5ACA-9EB0-3DE743587F2F}"/>
              </a:ext>
            </a:extLst>
          </p:cNvPr>
          <p:cNvGrpSpPr/>
          <p:nvPr/>
        </p:nvGrpSpPr>
        <p:grpSpPr>
          <a:xfrm>
            <a:off x="9732054" y="3776195"/>
            <a:ext cx="872536" cy="526886"/>
            <a:chOff x="9728765" y="3776195"/>
            <a:chExt cx="872536" cy="526886"/>
          </a:xfrm>
        </p:grpSpPr>
        <p:pic>
          <p:nvPicPr>
            <p:cNvPr id="26" name="Graphic 25" descr="Laptop with solid fill">
              <a:extLst>
                <a:ext uri="{FF2B5EF4-FFF2-40B4-BE49-F238E27FC236}">
                  <a16:creationId xmlns:a16="http://schemas.microsoft.com/office/drawing/2014/main" id="{81BB8BFE-E0DB-3831-4034-247D932C931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217363" y="3919143"/>
              <a:ext cx="383938" cy="383938"/>
            </a:xfrm>
            <a:prstGeom prst="rect">
              <a:avLst/>
            </a:prstGeom>
          </p:spPr>
        </p:pic>
        <p:pic>
          <p:nvPicPr>
            <p:cNvPr id="23" name="Graphic 22" descr="User with solid fill">
              <a:extLst>
                <a:ext uri="{FF2B5EF4-FFF2-40B4-BE49-F238E27FC236}">
                  <a16:creationId xmlns:a16="http://schemas.microsoft.com/office/drawing/2014/main" id="{71302C10-9A40-2FDA-3673-8FF96DACD91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728765" y="3776195"/>
              <a:ext cx="526886" cy="526886"/>
            </a:xfrm>
            <a:prstGeom prst="rect">
              <a:avLst/>
            </a:prstGeom>
          </p:spPr>
        </p:pic>
      </p:grpSp>
      <p:sp>
        <p:nvSpPr>
          <p:cNvPr id="24" name="TextBox 23">
            <a:extLst>
              <a:ext uri="{FF2B5EF4-FFF2-40B4-BE49-F238E27FC236}">
                <a16:creationId xmlns:a16="http://schemas.microsoft.com/office/drawing/2014/main" id="{D0E09C07-26C5-0545-BCE2-7C821B5D7E05}"/>
              </a:ext>
            </a:extLst>
          </p:cNvPr>
          <p:cNvSpPr txBox="1"/>
          <p:nvPr/>
        </p:nvSpPr>
        <p:spPr>
          <a:xfrm>
            <a:off x="8400240" y="4351237"/>
            <a:ext cx="3402218" cy="1292662"/>
          </a:xfrm>
          <a:custGeom>
            <a:avLst/>
            <a:gdLst>
              <a:gd name="connsiteX0" fmla="*/ 0 w 3402218"/>
              <a:gd name="connsiteY0" fmla="*/ 0 h 1292662"/>
              <a:gd name="connsiteX1" fmla="*/ 748488 w 3402218"/>
              <a:gd name="connsiteY1" fmla="*/ 0 h 1292662"/>
              <a:gd name="connsiteX2" fmla="*/ 1462954 w 3402218"/>
              <a:gd name="connsiteY2" fmla="*/ 0 h 1292662"/>
              <a:gd name="connsiteX3" fmla="*/ 2177420 w 3402218"/>
              <a:gd name="connsiteY3" fmla="*/ 0 h 1292662"/>
              <a:gd name="connsiteX4" fmla="*/ 2755797 w 3402218"/>
              <a:gd name="connsiteY4" fmla="*/ 0 h 1292662"/>
              <a:gd name="connsiteX5" fmla="*/ 3402218 w 3402218"/>
              <a:gd name="connsiteY5" fmla="*/ 0 h 1292662"/>
              <a:gd name="connsiteX6" fmla="*/ 3402218 w 3402218"/>
              <a:gd name="connsiteY6" fmla="*/ 659258 h 1292662"/>
              <a:gd name="connsiteX7" fmla="*/ 3402218 w 3402218"/>
              <a:gd name="connsiteY7" fmla="*/ 1292662 h 1292662"/>
              <a:gd name="connsiteX8" fmla="*/ 2721774 w 3402218"/>
              <a:gd name="connsiteY8" fmla="*/ 1292662 h 1292662"/>
              <a:gd name="connsiteX9" fmla="*/ 2143397 w 3402218"/>
              <a:gd name="connsiteY9" fmla="*/ 1292662 h 1292662"/>
              <a:gd name="connsiteX10" fmla="*/ 1565020 w 3402218"/>
              <a:gd name="connsiteY10" fmla="*/ 1292662 h 1292662"/>
              <a:gd name="connsiteX11" fmla="*/ 850555 w 3402218"/>
              <a:gd name="connsiteY11" fmla="*/ 1292662 h 1292662"/>
              <a:gd name="connsiteX12" fmla="*/ 0 w 3402218"/>
              <a:gd name="connsiteY12" fmla="*/ 1292662 h 1292662"/>
              <a:gd name="connsiteX13" fmla="*/ 0 w 3402218"/>
              <a:gd name="connsiteY13" fmla="*/ 620478 h 1292662"/>
              <a:gd name="connsiteX14" fmla="*/ 0 w 3402218"/>
              <a:gd name="connsiteY14" fmla="*/ 0 h 129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02218" h="1292662" fill="none" extrusionOk="0">
                <a:moveTo>
                  <a:pt x="0" y="0"/>
                </a:moveTo>
                <a:cubicBezTo>
                  <a:pt x="249552" y="21984"/>
                  <a:pt x="429847" y="36671"/>
                  <a:pt x="748488" y="0"/>
                </a:cubicBezTo>
                <a:cubicBezTo>
                  <a:pt x="1067129" y="-36671"/>
                  <a:pt x="1143131" y="-913"/>
                  <a:pt x="1462954" y="0"/>
                </a:cubicBezTo>
                <a:cubicBezTo>
                  <a:pt x="1782777" y="913"/>
                  <a:pt x="1898063" y="-22952"/>
                  <a:pt x="2177420" y="0"/>
                </a:cubicBezTo>
                <a:cubicBezTo>
                  <a:pt x="2456777" y="22952"/>
                  <a:pt x="2635703" y="-10731"/>
                  <a:pt x="2755797" y="0"/>
                </a:cubicBezTo>
                <a:cubicBezTo>
                  <a:pt x="2875891" y="10731"/>
                  <a:pt x="3117963" y="19411"/>
                  <a:pt x="3402218" y="0"/>
                </a:cubicBezTo>
                <a:cubicBezTo>
                  <a:pt x="3410997" y="238240"/>
                  <a:pt x="3398344" y="354427"/>
                  <a:pt x="3402218" y="659258"/>
                </a:cubicBezTo>
                <a:cubicBezTo>
                  <a:pt x="3406092" y="964089"/>
                  <a:pt x="3403649" y="1054407"/>
                  <a:pt x="3402218" y="1292662"/>
                </a:cubicBezTo>
                <a:cubicBezTo>
                  <a:pt x="3213500" y="1286829"/>
                  <a:pt x="2980870" y="1316778"/>
                  <a:pt x="2721774" y="1292662"/>
                </a:cubicBezTo>
                <a:cubicBezTo>
                  <a:pt x="2462678" y="1268546"/>
                  <a:pt x="2372497" y="1304394"/>
                  <a:pt x="2143397" y="1292662"/>
                </a:cubicBezTo>
                <a:cubicBezTo>
                  <a:pt x="1914297" y="1280930"/>
                  <a:pt x="1841516" y="1269169"/>
                  <a:pt x="1565020" y="1292662"/>
                </a:cubicBezTo>
                <a:cubicBezTo>
                  <a:pt x="1288524" y="1316155"/>
                  <a:pt x="1068753" y="1314685"/>
                  <a:pt x="850555" y="1292662"/>
                </a:cubicBezTo>
                <a:cubicBezTo>
                  <a:pt x="632358" y="1270639"/>
                  <a:pt x="213939" y="1283995"/>
                  <a:pt x="0" y="1292662"/>
                </a:cubicBezTo>
                <a:cubicBezTo>
                  <a:pt x="-32946" y="1143432"/>
                  <a:pt x="-23406" y="899433"/>
                  <a:pt x="0" y="620478"/>
                </a:cubicBezTo>
                <a:cubicBezTo>
                  <a:pt x="23406" y="341523"/>
                  <a:pt x="-14010" y="206789"/>
                  <a:pt x="0" y="0"/>
                </a:cubicBezTo>
                <a:close/>
              </a:path>
              <a:path w="3402218" h="1292662" stroke="0" extrusionOk="0">
                <a:moveTo>
                  <a:pt x="0" y="0"/>
                </a:moveTo>
                <a:cubicBezTo>
                  <a:pt x="149681" y="19544"/>
                  <a:pt x="345904" y="31350"/>
                  <a:pt x="646421" y="0"/>
                </a:cubicBezTo>
                <a:cubicBezTo>
                  <a:pt x="946938" y="-31350"/>
                  <a:pt x="984550" y="-19106"/>
                  <a:pt x="1224798" y="0"/>
                </a:cubicBezTo>
                <a:cubicBezTo>
                  <a:pt x="1465046" y="19106"/>
                  <a:pt x="1799364" y="5975"/>
                  <a:pt x="1973286" y="0"/>
                </a:cubicBezTo>
                <a:cubicBezTo>
                  <a:pt x="2147208" y="-5975"/>
                  <a:pt x="2333475" y="-8471"/>
                  <a:pt x="2619708" y="0"/>
                </a:cubicBezTo>
                <a:cubicBezTo>
                  <a:pt x="2905941" y="8471"/>
                  <a:pt x="3208583" y="-27001"/>
                  <a:pt x="3402218" y="0"/>
                </a:cubicBezTo>
                <a:cubicBezTo>
                  <a:pt x="3376393" y="183033"/>
                  <a:pt x="3370879" y="388438"/>
                  <a:pt x="3402218" y="672184"/>
                </a:cubicBezTo>
                <a:cubicBezTo>
                  <a:pt x="3433557" y="955930"/>
                  <a:pt x="3401177" y="1065763"/>
                  <a:pt x="3402218" y="1292662"/>
                </a:cubicBezTo>
                <a:cubicBezTo>
                  <a:pt x="3115461" y="1283524"/>
                  <a:pt x="3017012" y="1325234"/>
                  <a:pt x="2721774" y="1292662"/>
                </a:cubicBezTo>
                <a:cubicBezTo>
                  <a:pt x="2426536" y="1260090"/>
                  <a:pt x="2290181" y="1292994"/>
                  <a:pt x="2143397" y="1292662"/>
                </a:cubicBezTo>
                <a:cubicBezTo>
                  <a:pt x="1996613" y="1292330"/>
                  <a:pt x="1618127" y="1319365"/>
                  <a:pt x="1462954" y="1292662"/>
                </a:cubicBezTo>
                <a:cubicBezTo>
                  <a:pt x="1307781" y="1265959"/>
                  <a:pt x="1056304" y="1310483"/>
                  <a:pt x="782510" y="1292662"/>
                </a:cubicBezTo>
                <a:cubicBezTo>
                  <a:pt x="508716" y="1274841"/>
                  <a:pt x="263427" y="1306622"/>
                  <a:pt x="0" y="1292662"/>
                </a:cubicBezTo>
                <a:cubicBezTo>
                  <a:pt x="13436" y="1155277"/>
                  <a:pt x="7190" y="885609"/>
                  <a:pt x="0" y="620478"/>
                </a:cubicBezTo>
                <a:cubicBezTo>
                  <a:pt x="-7190" y="355347"/>
                  <a:pt x="6469" y="309290"/>
                  <a:pt x="0" y="0"/>
                </a:cubicBezTo>
                <a:close/>
              </a:path>
            </a:pathLst>
          </a:custGeom>
          <a:solidFill>
            <a:schemeClr val="tx2">
              <a:lumMod val="20000"/>
              <a:lumOff val="80000"/>
            </a:schemeClr>
          </a:solidFill>
          <a:ln>
            <a:solidFill>
              <a:schemeClr val="tx2"/>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3"/>
          </a:lnRef>
          <a:fillRef idx="1">
            <a:schemeClr val="lt1"/>
          </a:fillRef>
          <a:effectRef idx="0">
            <a:schemeClr val="accent3"/>
          </a:effectRef>
          <a:fontRef idx="minor">
            <a:schemeClr val="dk1"/>
          </a:fontRef>
        </p:style>
        <p:txBody>
          <a:bodyPr wrap="square" lIns="0" tIns="72000" rIns="0" bIns="0" rtlCol="0">
            <a:noAutofit/>
          </a:bodyPr>
          <a:lstStyle/>
          <a:p>
            <a:pPr algn="ctr"/>
            <a:r>
              <a:rPr lang="da-DK" sz="2400" b="1">
                <a:latin typeface="Amatic SC" panose="00000500000000000000" pitchFamily="2" charset="-79"/>
                <a:cs typeface="Amatic SC" panose="00000500000000000000" pitchFamily="2" charset="-79"/>
              </a:rPr>
              <a:t>Virtuelle interviews med forvaltningerne</a:t>
            </a:r>
          </a:p>
          <a:p>
            <a:pPr marL="360000" lvl="1" indent="-108000">
              <a:buFontTx/>
              <a:buChar char="-"/>
            </a:pPr>
            <a:r>
              <a:rPr lang="da-DK" sz="1200">
                <a:latin typeface="Quicksand" panose="020B0604020202020204" charset="0"/>
                <a:cs typeface="Amatic SC" panose="00000500000000000000" pitchFamily="2" charset="-79"/>
              </a:rPr>
              <a:t>Interview med kommunal tovholder</a:t>
            </a:r>
            <a:br>
              <a:rPr lang="da-DK" sz="1200">
                <a:latin typeface="Quicksand" panose="020B0604020202020204" charset="0"/>
                <a:cs typeface="Amatic SC" panose="00000500000000000000" pitchFamily="2" charset="-79"/>
              </a:rPr>
            </a:br>
            <a:r>
              <a:rPr lang="da-DK" sz="1200">
                <a:latin typeface="Quicksand" panose="020B0604020202020204" charset="0"/>
                <a:cs typeface="Amatic SC" panose="00000500000000000000" pitchFamily="2" charset="-79"/>
              </a:rPr>
              <a:t>og skolechef fra seks udvalgte kommuner</a:t>
            </a:r>
            <a:br>
              <a:rPr lang="da-DK" sz="1200">
                <a:latin typeface="Quicksand" panose="020B0604020202020204" charset="0"/>
                <a:cs typeface="Amatic SC" panose="00000500000000000000" pitchFamily="2" charset="-79"/>
              </a:rPr>
            </a:br>
            <a:endParaRPr lang="da-DK" sz="1200">
              <a:latin typeface="Quicksand" panose="020B0604020202020204" charset="0"/>
              <a:cs typeface="Amatic SC" panose="00000500000000000000" pitchFamily="2" charset="-79"/>
            </a:endParaRPr>
          </a:p>
        </p:txBody>
      </p:sp>
      <p:sp>
        <p:nvSpPr>
          <p:cNvPr id="2" name="TextBox 1">
            <a:extLst>
              <a:ext uri="{FF2B5EF4-FFF2-40B4-BE49-F238E27FC236}">
                <a16:creationId xmlns:a16="http://schemas.microsoft.com/office/drawing/2014/main" id="{3C6880A0-9774-09DF-0267-F93E2B47DFEF}"/>
              </a:ext>
            </a:extLst>
          </p:cNvPr>
          <p:cNvSpPr txBox="1"/>
          <p:nvPr/>
        </p:nvSpPr>
        <p:spPr>
          <a:xfrm>
            <a:off x="5087162" y="2498090"/>
            <a:ext cx="2648452" cy="1046440"/>
          </a:xfrm>
          <a:prstGeom prst="rect">
            <a:avLst/>
          </a:prstGeom>
          <a:noFill/>
        </p:spPr>
        <p:txBody>
          <a:bodyPr wrap="square" lIns="0" tIns="0" rIns="0" bIns="0" rtlCol="0">
            <a:spAutoFit/>
          </a:bodyPr>
          <a:lstStyle/>
          <a:p>
            <a:pPr marL="360000" indent="-108000">
              <a:buFontTx/>
              <a:buChar char="-"/>
            </a:pPr>
            <a:r>
              <a:rPr lang="da-DK" sz="1200">
                <a:latin typeface="Quicksand" panose="020B0604020202020204" charset="0"/>
                <a:cs typeface="Amatic SC" panose="00000500000000000000" pitchFamily="2" charset="-79"/>
              </a:rPr>
              <a:t>Udført som led i </a:t>
            </a:r>
            <a:r>
              <a:rPr lang="da-DK" sz="1200" err="1">
                <a:latin typeface="Quicksand" panose="020B0604020202020204" charset="0"/>
                <a:cs typeface="Amatic SC" panose="00000500000000000000" pitchFamily="2" charset="-79"/>
              </a:rPr>
              <a:t>casebesøg</a:t>
            </a:r>
            <a:r>
              <a:rPr lang="da-DK" sz="1200">
                <a:latin typeface="Quicksand" panose="020B0604020202020204" charset="0"/>
                <a:cs typeface="Amatic SC" panose="00000500000000000000" pitchFamily="2" charset="-79"/>
              </a:rPr>
              <a:t> på seks udvalgte skoler i udvalgte kommuner</a:t>
            </a:r>
          </a:p>
          <a:p>
            <a:pPr marL="468000" lvl="1" indent="-108000">
              <a:buFontTx/>
              <a:buChar char="-"/>
            </a:pPr>
            <a:r>
              <a:rPr lang="da-DK" sz="1100">
                <a:latin typeface="Quicksand" panose="020B0604020202020204" charset="0"/>
                <a:cs typeface="Amatic SC" panose="00000500000000000000" pitchFamily="2" charset="-79"/>
              </a:rPr>
              <a:t>Elever</a:t>
            </a:r>
          </a:p>
          <a:p>
            <a:pPr marL="468000" lvl="1" indent="-108000">
              <a:buFontTx/>
              <a:buChar char="-"/>
            </a:pPr>
            <a:r>
              <a:rPr lang="da-DK" sz="1100">
                <a:latin typeface="Quicksand" panose="020B0604020202020204" charset="0"/>
                <a:cs typeface="Amatic SC" panose="00000500000000000000" pitchFamily="2" charset="-79"/>
              </a:rPr>
              <a:t>det pædagogiske personale</a:t>
            </a:r>
          </a:p>
          <a:p>
            <a:pPr marL="468000" lvl="1" indent="-108000">
              <a:buFontTx/>
              <a:buChar char="-"/>
            </a:pPr>
            <a:r>
              <a:rPr lang="da-DK" sz="1100">
                <a:latin typeface="Quicksand" panose="020B0604020202020204" charset="0"/>
                <a:cs typeface="Amatic SC" panose="00000500000000000000" pitchFamily="2" charset="-79"/>
              </a:rPr>
              <a:t>Vejledere</a:t>
            </a:r>
          </a:p>
          <a:p>
            <a:pPr marL="468000" lvl="1" indent="-108000">
              <a:buFontTx/>
              <a:buChar char="-"/>
            </a:pPr>
            <a:r>
              <a:rPr lang="da-DK" sz="1100">
                <a:latin typeface="Quicksand" panose="020B0604020202020204" charset="0"/>
                <a:cs typeface="Amatic SC" panose="00000500000000000000" pitchFamily="2" charset="-79"/>
              </a:rPr>
              <a:t>Skoleledelse</a:t>
            </a:r>
          </a:p>
        </p:txBody>
      </p:sp>
    </p:spTree>
    <p:extLst>
      <p:ext uri="{BB962C8B-B14F-4D97-AF65-F5344CB8AC3E}">
        <p14:creationId xmlns:p14="http://schemas.microsoft.com/office/powerpoint/2010/main" val="15466765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C62CC9-DAC0-7AE8-5F1B-AF176413630D}"/>
              </a:ext>
            </a:extLst>
          </p:cNvPr>
          <p:cNvSpPr>
            <a:spLocks noGrp="1"/>
          </p:cNvSpPr>
          <p:nvPr>
            <p:ph type="sldNum" sz="quarter" idx="17"/>
          </p:nvPr>
        </p:nvSpPr>
        <p:spPr/>
        <p:txBody>
          <a:bodyPr/>
          <a:lstStyle/>
          <a:p>
            <a:fld id="{23AA811B-2EBD-4900-905E-5BE206449611}" type="slidenum">
              <a:rPr lang="da-DK" smtClean="0"/>
              <a:pPr/>
              <a:t>6</a:t>
            </a:fld>
            <a:endParaRPr lang="da-DK"/>
          </a:p>
        </p:txBody>
      </p:sp>
      <p:sp>
        <p:nvSpPr>
          <p:cNvPr id="5" name="Google Shape;694;p13">
            <a:extLst>
              <a:ext uri="{FF2B5EF4-FFF2-40B4-BE49-F238E27FC236}">
                <a16:creationId xmlns:a16="http://schemas.microsoft.com/office/drawing/2014/main" id="{AD3D37A8-46DD-F98B-6B94-348909E4AB67}"/>
              </a:ext>
            </a:extLst>
          </p:cNvPr>
          <p:cNvSpPr txBox="1">
            <a:spLocks noGrp="1"/>
          </p:cNvSpPr>
          <p:nvPr>
            <p:ph type="ctrTitle"/>
          </p:nvPr>
        </p:nvSpPr>
        <p:spPr>
          <a:xfrm>
            <a:off x="2194560" y="2590197"/>
            <a:ext cx="7951304" cy="1984631"/>
          </a:xfrm>
          <a:prstGeom prst="rect">
            <a:avLst/>
          </a:prstGeom>
        </p:spPr>
        <p:txBody>
          <a:bodyPr spcFirstLastPara="1" wrap="square" lIns="0" tIns="0" rIns="0" bIns="0" anchor="ctr" anchorCtr="0">
            <a:noAutofit/>
          </a:bodyPr>
          <a:lstStyle/>
          <a:p>
            <a:pPr algn="ctr"/>
            <a:r>
              <a:rPr lang="da-DK" sz="4800" b="1">
                <a:latin typeface="Amatic SC" panose="00000500000000000000" pitchFamily="2" charset="-79"/>
                <a:cs typeface="Amatic SC" panose="00000500000000000000" pitchFamily="2" charset="-79"/>
              </a:rPr>
              <a:t>Sådan kan I arbejde med resultaterne </a:t>
            </a:r>
            <a:br>
              <a:rPr lang="da-DK" sz="4800" b="1">
                <a:latin typeface="Amatic SC" panose="00000500000000000000" pitchFamily="2" charset="-79"/>
                <a:cs typeface="Amatic SC" panose="00000500000000000000" pitchFamily="2" charset="-79"/>
              </a:rPr>
            </a:br>
            <a:r>
              <a:rPr lang="da-DK" sz="4800" b="1">
                <a:latin typeface="Amatic SC" panose="00000500000000000000" pitchFamily="2" charset="-79"/>
                <a:cs typeface="Amatic SC" panose="00000500000000000000" pitchFamily="2" charset="-79"/>
              </a:rPr>
              <a:t>på jeres skole</a:t>
            </a:r>
            <a:endParaRPr lang="da-DK" sz="8000">
              <a:latin typeface="Amatic SC" panose="00000500000000000000" pitchFamily="2" charset="-79"/>
              <a:cs typeface="Amatic SC" panose="00000500000000000000" pitchFamily="2" charset="-79"/>
            </a:endParaRPr>
          </a:p>
        </p:txBody>
      </p:sp>
    </p:spTree>
    <p:extLst>
      <p:ext uri="{BB962C8B-B14F-4D97-AF65-F5344CB8AC3E}">
        <p14:creationId xmlns:p14="http://schemas.microsoft.com/office/powerpoint/2010/main" val="18702734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7</a:t>
            </a:fld>
            <a:endParaRPr lang="da-DK"/>
          </a:p>
        </p:txBody>
      </p:sp>
      <p:sp>
        <p:nvSpPr>
          <p:cNvPr id="6" name="Slide Number Placeholder 3">
            <a:extLst>
              <a:ext uri="{FF2B5EF4-FFF2-40B4-BE49-F238E27FC236}">
                <a16:creationId xmlns:a16="http://schemas.microsoft.com/office/drawing/2014/main" id="{39CB2AEC-1378-C3A5-143E-AA8B5BA7C9F4}"/>
              </a:ext>
            </a:extLst>
          </p:cNvPr>
          <p:cNvSpPr txBox="1">
            <a:spLocks/>
          </p:cNvSpPr>
          <p:nvPr/>
        </p:nvSpPr>
        <p:spPr>
          <a:xfrm>
            <a:off x="11206800" y="6476400"/>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da-DK" smtClean="0"/>
              <a:pPr/>
              <a:t>7</a:t>
            </a:fld>
            <a:endParaRPr lang="da-DK"/>
          </a:p>
        </p:txBody>
      </p:sp>
      <p:pic>
        <p:nvPicPr>
          <p:cNvPr id="23" name="Graphic 22" descr="Thought bubble with solid fill">
            <a:hlinkClick r:id="rId6" action="ppaction://hlinksldjump"/>
            <a:extLst>
              <a:ext uri="{FF2B5EF4-FFF2-40B4-BE49-F238E27FC236}">
                <a16:creationId xmlns:a16="http://schemas.microsoft.com/office/drawing/2014/main" id="{D3100FAF-7176-12B3-73A0-06F30E72482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512590" y="1697293"/>
            <a:ext cx="1151721" cy="1151721"/>
          </a:xfrm>
          <a:prstGeom prst="rect">
            <a:avLst/>
          </a:prstGeom>
        </p:spPr>
      </p:pic>
      <p:pic>
        <p:nvPicPr>
          <p:cNvPr id="24" name="Graphic 23" descr="Child with balloon with solid fill">
            <a:hlinkClick r:id="rId9" action="ppaction://hlinksldjump"/>
            <a:extLst>
              <a:ext uri="{FF2B5EF4-FFF2-40B4-BE49-F238E27FC236}">
                <a16:creationId xmlns:a16="http://schemas.microsoft.com/office/drawing/2014/main" id="{432B1988-17AD-48E3-80DC-7CC47B01562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20139" y="1594424"/>
            <a:ext cx="1151721" cy="1151721"/>
          </a:xfrm>
          <a:prstGeom prst="rect">
            <a:avLst/>
          </a:prstGeom>
        </p:spPr>
      </p:pic>
      <p:pic>
        <p:nvPicPr>
          <p:cNvPr id="26" name="Graphic 25" descr="Compass with solid fill">
            <a:hlinkClick r:id="rId12" action="ppaction://hlinksldjump"/>
            <a:extLst>
              <a:ext uri="{FF2B5EF4-FFF2-40B4-BE49-F238E27FC236}">
                <a16:creationId xmlns:a16="http://schemas.microsoft.com/office/drawing/2014/main" id="{BF10E0B9-502F-1EF1-7428-C2E6171C62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791919" y="1649533"/>
            <a:ext cx="1096611" cy="1096611"/>
          </a:xfrm>
          <a:prstGeom prst="rect">
            <a:avLst/>
          </a:prstGeom>
        </p:spPr>
      </p:pic>
      <p:pic>
        <p:nvPicPr>
          <p:cNvPr id="28" name="Graphic 27" descr="Chat with solid fill">
            <a:hlinkClick r:id="rId15" action="ppaction://hlinksldjump"/>
            <a:extLst>
              <a:ext uri="{FF2B5EF4-FFF2-40B4-BE49-F238E27FC236}">
                <a16:creationId xmlns:a16="http://schemas.microsoft.com/office/drawing/2014/main" id="{5D8C751C-8B63-B3A7-B238-631B85C6450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079996" y="3752441"/>
            <a:ext cx="1246375" cy="1246375"/>
          </a:xfrm>
          <a:prstGeom prst="rect">
            <a:avLst/>
          </a:prstGeom>
        </p:spPr>
      </p:pic>
      <p:pic>
        <p:nvPicPr>
          <p:cNvPr id="30" name="Graphic 29" descr="Group brainstorm with solid fill">
            <a:hlinkClick r:id="rId18" action="ppaction://hlinksldjump"/>
            <a:extLst>
              <a:ext uri="{FF2B5EF4-FFF2-40B4-BE49-F238E27FC236}">
                <a16:creationId xmlns:a16="http://schemas.microsoft.com/office/drawing/2014/main" id="{804CE65E-10C5-0743-5C00-6B6462A0614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591424" y="3700352"/>
            <a:ext cx="1151721" cy="1151721"/>
          </a:xfrm>
          <a:prstGeom prst="rect">
            <a:avLst/>
          </a:prstGeom>
        </p:spPr>
      </p:pic>
      <p:sp>
        <p:nvSpPr>
          <p:cNvPr id="3" name="TextBox 2">
            <a:extLst>
              <a:ext uri="{FF2B5EF4-FFF2-40B4-BE49-F238E27FC236}">
                <a16:creationId xmlns:a16="http://schemas.microsoft.com/office/drawing/2014/main" id="{4B35FB4C-B695-AE26-424C-A3936D9D2A5C}"/>
              </a:ext>
            </a:extLst>
          </p:cNvPr>
          <p:cNvSpPr txBox="1"/>
          <p:nvPr/>
        </p:nvSpPr>
        <p:spPr>
          <a:xfrm>
            <a:off x="0" y="435435"/>
            <a:ext cx="12192000" cy="707886"/>
          </a:xfrm>
          <a:prstGeom prst="rect">
            <a:avLst/>
          </a:prstGeom>
          <a:noFill/>
        </p:spPr>
        <p:txBody>
          <a:bodyPr wrap="square">
            <a:spAutoFit/>
          </a:bodyPr>
          <a:lstStyle/>
          <a:p>
            <a:pPr marL="0" lvl="0" indent="0" algn="ctr">
              <a:spcBef>
                <a:spcPts val="0"/>
              </a:spcBef>
              <a:spcAft>
                <a:spcPts val="0"/>
              </a:spcAft>
              <a:buNone/>
            </a:pPr>
            <a:r>
              <a:rPr lang="da-DK" sz="4000" b="1">
                <a:latin typeface="Amatic SC"/>
                <a:ea typeface="Amatic SC"/>
                <a:cs typeface="Amatic SC"/>
                <a:sym typeface="Amatic SC"/>
              </a:rPr>
              <a:t>Fem forslag til, hvordan I kan arbejde med resultaterne på skolen</a:t>
            </a:r>
          </a:p>
        </p:txBody>
      </p:sp>
      <p:pic>
        <p:nvPicPr>
          <p:cNvPr id="8" name="Graphic 7">
            <a:extLst>
              <a:ext uri="{FF2B5EF4-FFF2-40B4-BE49-F238E27FC236}">
                <a16:creationId xmlns:a16="http://schemas.microsoft.com/office/drawing/2014/main" id="{DFBC8100-E5DD-D13F-0653-02DEED976E6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526182" y="2793904"/>
            <a:ext cx="2990850" cy="581025"/>
          </a:xfrm>
          <a:prstGeom prst="rect">
            <a:avLst/>
          </a:prstGeom>
        </p:spPr>
      </p:pic>
      <p:sp>
        <p:nvSpPr>
          <p:cNvPr id="9" name="TextBox 8">
            <a:extLst>
              <a:ext uri="{FF2B5EF4-FFF2-40B4-BE49-F238E27FC236}">
                <a16:creationId xmlns:a16="http://schemas.microsoft.com/office/drawing/2014/main" id="{DEC9A846-F9EE-A3F4-ECAA-41CB1B6BE37F}"/>
              </a:ext>
            </a:extLst>
          </p:cNvPr>
          <p:cNvSpPr txBox="1"/>
          <p:nvPr/>
        </p:nvSpPr>
        <p:spPr>
          <a:xfrm>
            <a:off x="4632498" y="2899750"/>
            <a:ext cx="2778218" cy="369332"/>
          </a:xfrm>
          <a:custGeom>
            <a:avLst/>
            <a:gdLst>
              <a:gd name="connsiteX0" fmla="*/ 0 w 2778218"/>
              <a:gd name="connsiteY0" fmla="*/ 0 h 369332"/>
              <a:gd name="connsiteX1" fmla="*/ 666772 w 2778218"/>
              <a:gd name="connsiteY1" fmla="*/ 0 h 369332"/>
              <a:gd name="connsiteX2" fmla="*/ 1277980 w 2778218"/>
              <a:gd name="connsiteY2" fmla="*/ 0 h 369332"/>
              <a:gd name="connsiteX3" fmla="*/ 2028099 w 2778218"/>
              <a:gd name="connsiteY3" fmla="*/ 0 h 369332"/>
              <a:gd name="connsiteX4" fmla="*/ 2778218 w 2778218"/>
              <a:gd name="connsiteY4" fmla="*/ 0 h 369332"/>
              <a:gd name="connsiteX5" fmla="*/ 2778218 w 2778218"/>
              <a:gd name="connsiteY5" fmla="*/ 369332 h 369332"/>
              <a:gd name="connsiteX6" fmla="*/ 2139228 w 2778218"/>
              <a:gd name="connsiteY6" fmla="*/ 369332 h 369332"/>
              <a:gd name="connsiteX7" fmla="*/ 1500238 w 2778218"/>
              <a:gd name="connsiteY7" fmla="*/ 369332 h 369332"/>
              <a:gd name="connsiteX8" fmla="*/ 750119 w 2778218"/>
              <a:gd name="connsiteY8" fmla="*/ 369332 h 369332"/>
              <a:gd name="connsiteX9" fmla="*/ 0 w 2778218"/>
              <a:gd name="connsiteY9" fmla="*/ 369332 h 369332"/>
              <a:gd name="connsiteX10" fmla="*/ 0 w 2778218"/>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8218" h="369332" extrusionOk="0">
                <a:moveTo>
                  <a:pt x="0" y="0"/>
                </a:moveTo>
                <a:cubicBezTo>
                  <a:pt x="278673" y="2230"/>
                  <a:pt x="415664" y="18877"/>
                  <a:pt x="666772" y="0"/>
                </a:cubicBezTo>
                <a:cubicBezTo>
                  <a:pt x="917880" y="-18877"/>
                  <a:pt x="1044409" y="-15068"/>
                  <a:pt x="1277980" y="0"/>
                </a:cubicBezTo>
                <a:cubicBezTo>
                  <a:pt x="1511551" y="15068"/>
                  <a:pt x="1668806" y="34345"/>
                  <a:pt x="2028099" y="0"/>
                </a:cubicBezTo>
                <a:cubicBezTo>
                  <a:pt x="2387392" y="-34345"/>
                  <a:pt x="2577050" y="617"/>
                  <a:pt x="2778218" y="0"/>
                </a:cubicBezTo>
                <a:cubicBezTo>
                  <a:pt x="2795324" y="91456"/>
                  <a:pt x="2796377" y="211595"/>
                  <a:pt x="2778218" y="369332"/>
                </a:cubicBezTo>
                <a:cubicBezTo>
                  <a:pt x="2550053" y="390950"/>
                  <a:pt x="2421986" y="373777"/>
                  <a:pt x="2139228" y="369332"/>
                </a:cubicBezTo>
                <a:cubicBezTo>
                  <a:pt x="1856470" y="364888"/>
                  <a:pt x="1730914" y="363159"/>
                  <a:pt x="1500238" y="369332"/>
                </a:cubicBezTo>
                <a:cubicBezTo>
                  <a:pt x="1269562" y="375506"/>
                  <a:pt x="991214" y="345799"/>
                  <a:pt x="750119" y="369332"/>
                </a:cubicBezTo>
                <a:cubicBezTo>
                  <a:pt x="509024" y="392865"/>
                  <a:pt x="365521" y="396878"/>
                  <a:pt x="0" y="369332"/>
                </a:cubicBezTo>
                <a:cubicBezTo>
                  <a:pt x="11387" y="231265"/>
                  <a:pt x="-12011" y="175783"/>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noAutofit/>
          </a:bodyPr>
          <a:lstStyle/>
          <a:p>
            <a:pPr algn="ctr"/>
            <a:r>
              <a:rPr lang="da-DK" sz="2400" b="1">
                <a:solidFill>
                  <a:schemeClr val="bg1"/>
                </a:solidFill>
                <a:latin typeface="Amatic SC" panose="00000500000000000000" pitchFamily="2" charset="-79"/>
                <a:cs typeface="Amatic SC" panose="00000500000000000000" pitchFamily="2" charset="-79"/>
                <a:hlinkClick r:id="rId9" action="ppaction://hlinksldjump">
                  <a:extLst>
                    <a:ext uri="{A12FA001-AC4F-418D-AE19-62706E023703}">
                      <ahyp:hlinkClr xmlns:ahyp="http://schemas.microsoft.com/office/drawing/2018/hyperlinkcolor" val="tx"/>
                    </a:ext>
                  </a:extLst>
                </a:hlinkClick>
              </a:rPr>
              <a:t>Elevperspektiver</a:t>
            </a:r>
            <a:endParaRPr lang="da-DK" sz="2400" b="1">
              <a:solidFill>
                <a:schemeClr val="bg1"/>
              </a:solidFill>
              <a:latin typeface="Amatic SC" panose="00000500000000000000" pitchFamily="2" charset="-79"/>
              <a:cs typeface="Amatic SC" panose="00000500000000000000" pitchFamily="2" charset="-79"/>
            </a:endParaRPr>
          </a:p>
        </p:txBody>
      </p:sp>
      <p:pic>
        <p:nvPicPr>
          <p:cNvPr id="10" name="Graphic 9">
            <a:extLst>
              <a:ext uri="{FF2B5EF4-FFF2-40B4-BE49-F238E27FC236}">
                <a16:creationId xmlns:a16="http://schemas.microsoft.com/office/drawing/2014/main" id="{3920E2A0-DB02-A690-9804-A2C5D07C0A3E}"/>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804275" y="2746145"/>
            <a:ext cx="2990850" cy="581025"/>
          </a:xfrm>
          <a:prstGeom prst="rect">
            <a:avLst/>
          </a:prstGeom>
        </p:spPr>
      </p:pic>
      <p:sp>
        <p:nvSpPr>
          <p:cNvPr id="37" name="TextBox 36">
            <a:extLst>
              <a:ext uri="{FF2B5EF4-FFF2-40B4-BE49-F238E27FC236}">
                <a16:creationId xmlns:a16="http://schemas.microsoft.com/office/drawing/2014/main" id="{9AEAC837-E003-6CF0-23CC-4F997E8E24F6}"/>
              </a:ext>
            </a:extLst>
          </p:cNvPr>
          <p:cNvSpPr txBox="1"/>
          <p:nvPr/>
        </p:nvSpPr>
        <p:spPr>
          <a:xfrm>
            <a:off x="8910591" y="2851991"/>
            <a:ext cx="2778218" cy="369332"/>
          </a:xfrm>
          <a:custGeom>
            <a:avLst/>
            <a:gdLst>
              <a:gd name="connsiteX0" fmla="*/ 0 w 2778218"/>
              <a:gd name="connsiteY0" fmla="*/ 0 h 369332"/>
              <a:gd name="connsiteX1" fmla="*/ 666772 w 2778218"/>
              <a:gd name="connsiteY1" fmla="*/ 0 h 369332"/>
              <a:gd name="connsiteX2" fmla="*/ 1277980 w 2778218"/>
              <a:gd name="connsiteY2" fmla="*/ 0 h 369332"/>
              <a:gd name="connsiteX3" fmla="*/ 2028099 w 2778218"/>
              <a:gd name="connsiteY3" fmla="*/ 0 h 369332"/>
              <a:gd name="connsiteX4" fmla="*/ 2778218 w 2778218"/>
              <a:gd name="connsiteY4" fmla="*/ 0 h 369332"/>
              <a:gd name="connsiteX5" fmla="*/ 2778218 w 2778218"/>
              <a:gd name="connsiteY5" fmla="*/ 369332 h 369332"/>
              <a:gd name="connsiteX6" fmla="*/ 2139228 w 2778218"/>
              <a:gd name="connsiteY6" fmla="*/ 369332 h 369332"/>
              <a:gd name="connsiteX7" fmla="*/ 1500238 w 2778218"/>
              <a:gd name="connsiteY7" fmla="*/ 369332 h 369332"/>
              <a:gd name="connsiteX8" fmla="*/ 750119 w 2778218"/>
              <a:gd name="connsiteY8" fmla="*/ 369332 h 369332"/>
              <a:gd name="connsiteX9" fmla="*/ 0 w 2778218"/>
              <a:gd name="connsiteY9" fmla="*/ 369332 h 369332"/>
              <a:gd name="connsiteX10" fmla="*/ 0 w 2778218"/>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8218" h="369332" extrusionOk="0">
                <a:moveTo>
                  <a:pt x="0" y="0"/>
                </a:moveTo>
                <a:cubicBezTo>
                  <a:pt x="278673" y="2230"/>
                  <a:pt x="415664" y="18877"/>
                  <a:pt x="666772" y="0"/>
                </a:cubicBezTo>
                <a:cubicBezTo>
                  <a:pt x="917880" y="-18877"/>
                  <a:pt x="1044409" y="-15068"/>
                  <a:pt x="1277980" y="0"/>
                </a:cubicBezTo>
                <a:cubicBezTo>
                  <a:pt x="1511551" y="15068"/>
                  <a:pt x="1668806" y="34345"/>
                  <a:pt x="2028099" y="0"/>
                </a:cubicBezTo>
                <a:cubicBezTo>
                  <a:pt x="2387392" y="-34345"/>
                  <a:pt x="2577050" y="617"/>
                  <a:pt x="2778218" y="0"/>
                </a:cubicBezTo>
                <a:cubicBezTo>
                  <a:pt x="2795324" y="91456"/>
                  <a:pt x="2796377" y="211595"/>
                  <a:pt x="2778218" y="369332"/>
                </a:cubicBezTo>
                <a:cubicBezTo>
                  <a:pt x="2550053" y="390950"/>
                  <a:pt x="2421986" y="373777"/>
                  <a:pt x="2139228" y="369332"/>
                </a:cubicBezTo>
                <a:cubicBezTo>
                  <a:pt x="1856470" y="364888"/>
                  <a:pt x="1730914" y="363159"/>
                  <a:pt x="1500238" y="369332"/>
                </a:cubicBezTo>
                <a:cubicBezTo>
                  <a:pt x="1269562" y="375506"/>
                  <a:pt x="991214" y="345799"/>
                  <a:pt x="750119" y="369332"/>
                </a:cubicBezTo>
                <a:cubicBezTo>
                  <a:pt x="509024" y="392865"/>
                  <a:pt x="365521" y="396878"/>
                  <a:pt x="0" y="369332"/>
                </a:cubicBezTo>
                <a:cubicBezTo>
                  <a:pt x="11387" y="231265"/>
                  <a:pt x="-12011" y="175783"/>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da-DK" sz="2400" b="1">
                <a:solidFill>
                  <a:schemeClr val="bg1"/>
                </a:solidFill>
                <a:latin typeface="Amatic SC" panose="00000500000000000000" pitchFamily="2" charset="-79"/>
                <a:cs typeface="Amatic SC" panose="00000500000000000000" pitchFamily="2" charset="-79"/>
                <a:hlinkClick r:id="rId12" action="ppaction://hlinksldjump">
                  <a:extLst>
                    <a:ext uri="{A12FA001-AC4F-418D-AE19-62706E023703}">
                      <ahyp:hlinkClr xmlns:ahyp="http://schemas.microsoft.com/office/drawing/2018/hyperlinkcolor" val="tx"/>
                    </a:ext>
                  </a:extLst>
                </a:hlinkClick>
              </a:rPr>
              <a:t>Børnesyn</a:t>
            </a:r>
            <a:endParaRPr lang="da-DK" sz="2400" b="1">
              <a:solidFill>
                <a:schemeClr val="bg1"/>
              </a:solidFill>
              <a:latin typeface="Amatic SC" panose="00000500000000000000" pitchFamily="2" charset="-79"/>
              <a:cs typeface="Amatic SC" panose="00000500000000000000" pitchFamily="2" charset="-79"/>
            </a:endParaRPr>
          </a:p>
        </p:txBody>
      </p:sp>
      <p:pic>
        <p:nvPicPr>
          <p:cNvPr id="11" name="Graphic 10">
            <a:extLst>
              <a:ext uri="{FF2B5EF4-FFF2-40B4-BE49-F238E27FC236}">
                <a16:creationId xmlns:a16="http://schemas.microsoft.com/office/drawing/2014/main" id="{B3F7FDD5-BD04-F10E-7B1C-E3AC61BF48D6}"/>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03191" y="2793904"/>
            <a:ext cx="2990850" cy="581025"/>
          </a:xfrm>
          <a:prstGeom prst="rect">
            <a:avLst/>
          </a:prstGeom>
        </p:spPr>
      </p:pic>
      <p:sp>
        <p:nvSpPr>
          <p:cNvPr id="35" name="TextBox 34">
            <a:extLst>
              <a:ext uri="{FF2B5EF4-FFF2-40B4-BE49-F238E27FC236}">
                <a16:creationId xmlns:a16="http://schemas.microsoft.com/office/drawing/2014/main" id="{BD80DA7B-C6EE-05D9-E0A1-401CF99F0282}"/>
              </a:ext>
            </a:extLst>
          </p:cNvPr>
          <p:cNvSpPr txBox="1"/>
          <p:nvPr/>
        </p:nvSpPr>
        <p:spPr>
          <a:xfrm>
            <a:off x="632598" y="2899750"/>
            <a:ext cx="2778218" cy="369332"/>
          </a:xfrm>
          <a:custGeom>
            <a:avLst/>
            <a:gdLst>
              <a:gd name="connsiteX0" fmla="*/ 0 w 2778218"/>
              <a:gd name="connsiteY0" fmla="*/ 0 h 369332"/>
              <a:gd name="connsiteX1" fmla="*/ 666772 w 2778218"/>
              <a:gd name="connsiteY1" fmla="*/ 0 h 369332"/>
              <a:gd name="connsiteX2" fmla="*/ 1277980 w 2778218"/>
              <a:gd name="connsiteY2" fmla="*/ 0 h 369332"/>
              <a:gd name="connsiteX3" fmla="*/ 2028099 w 2778218"/>
              <a:gd name="connsiteY3" fmla="*/ 0 h 369332"/>
              <a:gd name="connsiteX4" fmla="*/ 2778218 w 2778218"/>
              <a:gd name="connsiteY4" fmla="*/ 0 h 369332"/>
              <a:gd name="connsiteX5" fmla="*/ 2778218 w 2778218"/>
              <a:gd name="connsiteY5" fmla="*/ 369332 h 369332"/>
              <a:gd name="connsiteX6" fmla="*/ 2139228 w 2778218"/>
              <a:gd name="connsiteY6" fmla="*/ 369332 h 369332"/>
              <a:gd name="connsiteX7" fmla="*/ 1500238 w 2778218"/>
              <a:gd name="connsiteY7" fmla="*/ 369332 h 369332"/>
              <a:gd name="connsiteX8" fmla="*/ 750119 w 2778218"/>
              <a:gd name="connsiteY8" fmla="*/ 369332 h 369332"/>
              <a:gd name="connsiteX9" fmla="*/ 0 w 2778218"/>
              <a:gd name="connsiteY9" fmla="*/ 369332 h 369332"/>
              <a:gd name="connsiteX10" fmla="*/ 0 w 2778218"/>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8218" h="369332" extrusionOk="0">
                <a:moveTo>
                  <a:pt x="0" y="0"/>
                </a:moveTo>
                <a:cubicBezTo>
                  <a:pt x="278673" y="2230"/>
                  <a:pt x="415664" y="18877"/>
                  <a:pt x="666772" y="0"/>
                </a:cubicBezTo>
                <a:cubicBezTo>
                  <a:pt x="917880" y="-18877"/>
                  <a:pt x="1044409" y="-15068"/>
                  <a:pt x="1277980" y="0"/>
                </a:cubicBezTo>
                <a:cubicBezTo>
                  <a:pt x="1511551" y="15068"/>
                  <a:pt x="1668806" y="34345"/>
                  <a:pt x="2028099" y="0"/>
                </a:cubicBezTo>
                <a:cubicBezTo>
                  <a:pt x="2387392" y="-34345"/>
                  <a:pt x="2577050" y="617"/>
                  <a:pt x="2778218" y="0"/>
                </a:cubicBezTo>
                <a:cubicBezTo>
                  <a:pt x="2795324" y="91456"/>
                  <a:pt x="2796377" y="211595"/>
                  <a:pt x="2778218" y="369332"/>
                </a:cubicBezTo>
                <a:cubicBezTo>
                  <a:pt x="2550053" y="390950"/>
                  <a:pt x="2421986" y="373777"/>
                  <a:pt x="2139228" y="369332"/>
                </a:cubicBezTo>
                <a:cubicBezTo>
                  <a:pt x="1856470" y="364888"/>
                  <a:pt x="1730914" y="363159"/>
                  <a:pt x="1500238" y="369332"/>
                </a:cubicBezTo>
                <a:cubicBezTo>
                  <a:pt x="1269562" y="375506"/>
                  <a:pt x="991214" y="345799"/>
                  <a:pt x="750119" y="369332"/>
                </a:cubicBezTo>
                <a:cubicBezTo>
                  <a:pt x="509024" y="392865"/>
                  <a:pt x="365521" y="396878"/>
                  <a:pt x="0" y="369332"/>
                </a:cubicBezTo>
                <a:cubicBezTo>
                  <a:pt x="11387" y="231265"/>
                  <a:pt x="-12011" y="175783"/>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da-DK" sz="2400" b="1">
                <a:solidFill>
                  <a:schemeClr val="bg1"/>
                </a:solidFill>
                <a:latin typeface="Amatic SC" panose="00000500000000000000" pitchFamily="2" charset="-79"/>
                <a:cs typeface="Amatic SC" panose="00000500000000000000" pitchFamily="2" charset="-79"/>
                <a:hlinkClick r:id="rId6" action="ppaction://hlinksldjump">
                  <a:extLst>
                    <a:ext uri="{A12FA001-AC4F-418D-AE19-62706E023703}">
                      <ahyp:hlinkClr xmlns:ahyp="http://schemas.microsoft.com/office/drawing/2018/hyperlinkcolor" val="tx"/>
                    </a:ext>
                  </a:extLst>
                </a:hlinkClick>
              </a:rPr>
              <a:t>Refleksionsspørgsmål</a:t>
            </a:r>
            <a:endParaRPr lang="da-DK" sz="2400" b="1">
              <a:solidFill>
                <a:schemeClr val="bg1"/>
              </a:solidFill>
              <a:latin typeface="Amatic SC" panose="00000500000000000000" pitchFamily="2" charset="-79"/>
              <a:cs typeface="Amatic SC" panose="00000500000000000000" pitchFamily="2" charset="-79"/>
            </a:endParaRPr>
          </a:p>
        </p:txBody>
      </p:sp>
      <p:pic>
        <p:nvPicPr>
          <p:cNvPr id="12" name="Graphic 11">
            <a:extLst>
              <a:ext uri="{FF2B5EF4-FFF2-40B4-BE49-F238E27FC236}">
                <a16:creationId xmlns:a16="http://schemas.microsoft.com/office/drawing/2014/main" id="{C463E779-6F3D-1C79-37A4-92F29D3B224B}"/>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2207759" y="4852075"/>
            <a:ext cx="2990850" cy="581025"/>
          </a:xfrm>
          <a:prstGeom prst="rect">
            <a:avLst/>
          </a:prstGeom>
        </p:spPr>
      </p:pic>
      <p:sp>
        <p:nvSpPr>
          <p:cNvPr id="38" name="TextBox 37">
            <a:extLst>
              <a:ext uri="{FF2B5EF4-FFF2-40B4-BE49-F238E27FC236}">
                <a16:creationId xmlns:a16="http://schemas.microsoft.com/office/drawing/2014/main" id="{6AC7BF13-FDAE-9322-9B76-7F8282895BB7}"/>
              </a:ext>
            </a:extLst>
          </p:cNvPr>
          <p:cNvSpPr txBox="1"/>
          <p:nvPr/>
        </p:nvSpPr>
        <p:spPr>
          <a:xfrm>
            <a:off x="2318290" y="4963877"/>
            <a:ext cx="2778218" cy="369332"/>
          </a:xfrm>
          <a:custGeom>
            <a:avLst/>
            <a:gdLst>
              <a:gd name="connsiteX0" fmla="*/ 0 w 2778218"/>
              <a:gd name="connsiteY0" fmla="*/ 0 h 369332"/>
              <a:gd name="connsiteX1" fmla="*/ 666772 w 2778218"/>
              <a:gd name="connsiteY1" fmla="*/ 0 h 369332"/>
              <a:gd name="connsiteX2" fmla="*/ 1277980 w 2778218"/>
              <a:gd name="connsiteY2" fmla="*/ 0 h 369332"/>
              <a:gd name="connsiteX3" fmla="*/ 2028099 w 2778218"/>
              <a:gd name="connsiteY3" fmla="*/ 0 h 369332"/>
              <a:gd name="connsiteX4" fmla="*/ 2778218 w 2778218"/>
              <a:gd name="connsiteY4" fmla="*/ 0 h 369332"/>
              <a:gd name="connsiteX5" fmla="*/ 2778218 w 2778218"/>
              <a:gd name="connsiteY5" fmla="*/ 369332 h 369332"/>
              <a:gd name="connsiteX6" fmla="*/ 2139228 w 2778218"/>
              <a:gd name="connsiteY6" fmla="*/ 369332 h 369332"/>
              <a:gd name="connsiteX7" fmla="*/ 1500238 w 2778218"/>
              <a:gd name="connsiteY7" fmla="*/ 369332 h 369332"/>
              <a:gd name="connsiteX8" fmla="*/ 750119 w 2778218"/>
              <a:gd name="connsiteY8" fmla="*/ 369332 h 369332"/>
              <a:gd name="connsiteX9" fmla="*/ 0 w 2778218"/>
              <a:gd name="connsiteY9" fmla="*/ 369332 h 369332"/>
              <a:gd name="connsiteX10" fmla="*/ 0 w 2778218"/>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8218" h="369332" extrusionOk="0">
                <a:moveTo>
                  <a:pt x="0" y="0"/>
                </a:moveTo>
                <a:cubicBezTo>
                  <a:pt x="278673" y="2230"/>
                  <a:pt x="415664" y="18877"/>
                  <a:pt x="666772" y="0"/>
                </a:cubicBezTo>
                <a:cubicBezTo>
                  <a:pt x="917880" y="-18877"/>
                  <a:pt x="1044409" y="-15068"/>
                  <a:pt x="1277980" y="0"/>
                </a:cubicBezTo>
                <a:cubicBezTo>
                  <a:pt x="1511551" y="15068"/>
                  <a:pt x="1668806" y="34345"/>
                  <a:pt x="2028099" y="0"/>
                </a:cubicBezTo>
                <a:cubicBezTo>
                  <a:pt x="2387392" y="-34345"/>
                  <a:pt x="2577050" y="617"/>
                  <a:pt x="2778218" y="0"/>
                </a:cubicBezTo>
                <a:cubicBezTo>
                  <a:pt x="2795324" y="91456"/>
                  <a:pt x="2796377" y="211595"/>
                  <a:pt x="2778218" y="369332"/>
                </a:cubicBezTo>
                <a:cubicBezTo>
                  <a:pt x="2550053" y="390950"/>
                  <a:pt x="2421986" y="373777"/>
                  <a:pt x="2139228" y="369332"/>
                </a:cubicBezTo>
                <a:cubicBezTo>
                  <a:pt x="1856470" y="364888"/>
                  <a:pt x="1730914" y="363159"/>
                  <a:pt x="1500238" y="369332"/>
                </a:cubicBezTo>
                <a:cubicBezTo>
                  <a:pt x="1269562" y="375506"/>
                  <a:pt x="991214" y="345799"/>
                  <a:pt x="750119" y="369332"/>
                </a:cubicBezTo>
                <a:cubicBezTo>
                  <a:pt x="509024" y="392865"/>
                  <a:pt x="365521" y="396878"/>
                  <a:pt x="0" y="369332"/>
                </a:cubicBezTo>
                <a:cubicBezTo>
                  <a:pt x="11387" y="231265"/>
                  <a:pt x="-12011" y="175783"/>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da-DK" sz="2400" b="1">
                <a:solidFill>
                  <a:schemeClr val="bg1"/>
                </a:solidFill>
                <a:latin typeface="Amatic SC" panose="00000500000000000000" pitchFamily="2" charset="-79"/>
                <a:cs typeface="Amatic SC" panose="00000500000000000000" pitchFamily="2" charset="-79"/>
                <a:hlinkClick r:id="rId15" action="ppaction://hlinksldjump">
                  <a:extLst>
                    <a:ext uri="{A12FA001-AC4F-418D-AE19-62706E023703}">
                      <ahyp:hlinkClr xmlns:ahyp="http://schemas.microsoft.com/office/drawing/2018/hyperlinkcolor" val="tx"/>
                    </a:ext>
                  </a:extLst>
                </a:hlinkClick>
              </a:rPr>
              <a:t>Aktiv lytning og drøftelser</a:t>
            </a:r>
            <a:endParaRPr lang="da-DK" sz="2400" b="1">
              <a:solidFill>
                <a:schemeClr val="bg1"/>
              </a:solidFill>
              <a:latin typeface="Amatic SC" panose="00000500000000000000" pitchFamily="2" charset="-79"/>
              <a:cs typeface="Amatic SC" panose="00000500000000000000" pitchFamily="2" charset="-79"/>
            </a:endParaRPr>
          </a:p>
        </p:txBody>
      </p:sp>
      <p:pic>
        <p:nvPicPr>
          <p:cNvPr id="13" name="Graphic 12">
            <a:extLst>
              <a:ext uri="{FF2B5EF4-FFF2-40B4-BE49-F238E27FC236}">
                <a16:creationId xmlns:a16="http://schemas.microsoft.com/office/drawing/2014/main" id="{0442E48F-A9E7-3689-7C84-9A0275BABFAB}"/>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6671860" y="4852074"/>
            <a:ext cx="2990850" cy="581025"/>
          </a:xfrm>
          <a:prstGeom prst="rect">
            <a:avLst/>
          </a:prstGeom>
        </p:spPr>
      </p:pic>
      <p:sp>
        <p:nvSpPr>
          <p:cNvPr id="39" name="TextBox 38">
            <a:extLst>
              <a:ext uri="{FF2B5EF4-FFF2-40B4-BE49-F238E27FC236}">
                <a16:creationId xmlns:a16="http://schemas.microsoft.com/office/drawing/2014/main" id="{955F9B66-BD1A-D710-6D4F-CE71A4A8FB71}"/>
              </a:ext>
            </a:extLst>
          </p:cNvPr>
          <p:cNvSpPr txBox="1"/>
          <p:nvPr/>
        </p:nvSpPr>
        <p:spPr>
          <a:xfrm>
            <a:off x="6778176" y="4957920"/>
            <a:ext cx="2778218" cy="369332"/>
          </a:xfrm>
          <a:custGeom>
            <a:avLst/>
            <a:gdLst>
              <a:gd name="connsiteX0" fmla="*/ 0 w 2778218"/>
              <a:gd name="connsiteY0" fmla="*/ 0 h 369332"/>
              <a:gd name="connsiteX1" fmla="*/ 666772 w 2778218"/>
              <a:gd name="connsiteY1" fmla="*/ 0 h 369332"/>
              <a:gd name="connsiteX2" fmla="*/ 1277980 w 2778218"/>
              <a:gd name="connsiteY2" fmla="*/ 0 h 369332"/>
              <a:gd name="connsiteX3" fmla="*/ 2028099 w 2778218"/>
              <a:gd name="connsiteY3" fmla="*/ 0 h 369332"/>
              <a:gd name="connsiteX4" fmla="*/ 2778218 w 2778218"/>
              <a:gd name="connsiteY4" fmla="*/ 0 h 369332"/>
              <a:gd name="connsiteX5" fmla="*/ 2778218 w 2778218"/>
              <a:gd name="connsiteY5" fmla="*/ 369332 h 369332"/>
              <a:gd name="connsiteX6" fmla="*/ 2139228 w 2778218"/>
              <a:gd name="connsiteY6" fmla="*/ 369332 h 369332"/>
              <a:gd name="connsiteX7" fmla="*/ 1500238 w 2778218"/>
              <a:gd name="connsiteY7" fmla="*/ 369332 h 369332"/>
              <a:gd name="connsiteX8" fmla="*/ 750119 w 2778218"/>
              <a:gd name="connsiteY8" fmla="*/ 369332 h 369332"/>
              <a:gd name="connsiteX9" fmla="*/ 0 w 2778218"/>
              <a:gd name="connsiteY9" fmla="*/ 369332 h 369332"/>
              <a:gd name="connsiteX10" fmla="*/ 0 w 2778218"/>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8218" h="369332" extrusionOk="0">
                <a:moveTo>
                  <a:pt x="0" y="0"/>
                </a:moveTo>
                <a:cubicBezTo>
                  <a:pt x="278673" y="2230"/>
                  <a:pt x="415664" y="18877"/>
                  <a:pt x="666772" y="0"/>
                </a:cubicBezTo>
                <a:cubicBezTo>
                  <a:pt x="917880" y="-18877"/>
                  <a:pt x="1044409" y="-15068"/>
                  <a:pt x="1277980" y="0"/>
                </a:cubicBezTo>
                <a:cubicBezTo>
                  <a:pt x="1511551" y="15068"/>
                  <a:pt x="1668806" y="34345"/>
                  <a:pt x="2028099" y="0"/>
                </a:cubicBezTo>
                <a:cubicBezTo>
                  <a:pt x="2387392" y="-34345"/>
                  <a:pt x="2577050" y="617"/>
                  <a:pt x="2778218" y="0"/>
                </a:cubicBezTo>
                <a:cubicBezTo>
                  <a:pt x="2795324" y="91456"/>
                  <a:pt x="2796377" y="211595"/>
                  <a:pt x="2778218" y="369332"/>
                </a:cubicBezTo>
                <a:cubicBezTo>
                  <a:pt x="2550053" y="390950"/>
                  <a:pt x="2421986" y="373777"/>
                  <a:pt x="2139228" y="369332"/>
                </a:cubicBezTo>
                <a:cubicBezTo>
                  <a:pt x="1856470" y="364888"/>
                  <a:pt x="1730914" y="363159"/>
                  <a:pt x="1500238" y="369332"/>
                </a:cubicBezTo>
                <a:cubicBezTo>
                  <a:pt x="1269562" y="375506"/>
                  <a:pt x="991214" y="345799"/>
                  <a:pt x="750119" y="369332"/>
                </a:cubicBezTo>
                <a:cubicBezTo>
                  <a:pt x="509024" y="392865"/>
                  <a:pt x="365521" y="396878"/>
                  <a:pt x="0" y="369332"/>
                </a:cubicBezTo>
                <a:cubicBezTo>
                  <a:pt x="11387" y="231265"/>
                  <a:pt x="-12011" y="175783"/>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da-DK" sz="2400" b="1">
                <a:solidFill>
                  <a:schemeClr val="bg1"/>
                </a:solidFill>
                <a:latin typeface="Amatic SC" panose="00000500000000000000" pitchFamily="2" charset="-79"/>
                <a:cs typeface="Amatic SC" panose="00000500000000000000" pitchFamily="2" charset="-79"/>
                <a:hlinkClick r:id="rId18" action="ppaction://hlinksldjump">
                  <a:extLst>
                    <a:ext uri="{A12FA001-AC4F-418D-AE19-62706E023703}">
                      <ahyp:hlinkClr xmlns:ahyp="http://schemas.microsoft.com/office/drawing/2018/hyperlinkcolor" val="tx"/>
                    </a:ext>
                  </a:extLst>
                </a:hlinkClick>
              </a:rPr>
              <a:t>prøvehandlinger</a:t>
            </a:r>
            <a:endParaRPr lang="da-DK" sz="2400" b="1">
              <a:solidFill>
                <a:schemeClr val="bg1"/>
              </a:solidFill>
              <a:latin typeface="Amatic SC" panose="00000500000000000000" pitchFamily="2" charset="-79"/>
              <a:cs typeface="Amatic SC" panose="00000500000000000000" pitchFamily="2" charset="-79"/>
            </a:endParaRPr>
          </a:p>
        </p:txBody>
      </p:sp>
    </p:spTree>
    <p:extLst>
      <p:ext uri="{BB962C8B-B14F-4D97-AF65-F5344CB8AC3E}">
        <p14:creationId xmlns:p14="http://schemas.microsoft.com/office/powerpoint/2010/main" val="7988160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Graphic 30">
            <a:extLst>
              <a:ext uri="{FF2B5EF4-FFF2-40B4-BE49-F238E27FC236}">
                <a16:creationId xmlns:a16="http://schemas.microsoft.com/office/drawing/2014/main" id="{5425E73C-AF5D-EC62-44C0-5C4CD6C116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40824" y="1770370"/>
            <a:ext cx="3698360" cy="2607229"/>
          </a:xfrm>
          <a:prstGeom prst="rect">
            <a:avLst/>
          </a:prstGeom>
        </p:spPr>
      </p:pic>
      <p:sp>
        <p:nvSpPr>
          <p:cNvPr id="14" name="Rectangle 13">
            <a:extLst>
              <a:ext uri="{FF2B5EF4-FFF2-40B4-BE49-F238E27FC236}">
                <a16:creationId xmlns:a16="http://schemas.microsoft.com/office/drawing/2014/main" id="{4AF3D927-A3F0-9E3C-F192-91785C769B85}"/>
              </a:ext>
            </a:extLst>
          </p:cNvPr>
          <p:cNvSpPr/>
          <p:nvPr/>
        </p:nvSpPr>
        <p:spPr>
          <a:xfrm>
            <a:off x="8556647" y="2665406"/>
            <a:ext cx="2734109" cy="1137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a-DK" sz="1200" b="1">
                <a:solidFill>
                  <a:schemeClr val="bg1"/>
                </a:solidFill>
                <a:latin typeface="Quicksand" panose="020B0604020202020204"/>
              </a:rPr>
              <a:t>Tip:</a:t>
            </a:r>
            <a:br>
              <a:rPr lang="da-DK" sz="1200" b="1">
                <a:solidFill>
                  <a:schemeClr val="bg1"/>
                </a:solidFill>
                <a:latin typeface="Quicksand" panose="020B0604020202020204"/>
              </a:rPr>
            </a:br>
            <a:r>
              <a:rPr lang="da-DK" sz="1200">
                <a:solidFill>
                  <a:schemeClr val="bg1"/>
                </a:solidFill>
                <a:latin typeface="Quicksand" panose="020B0604020202020204"/>
              </a:rPr>
              <a:t>I arbejdet med refleksionsspørgsmålene kan I med fordel inddrage skolens lokale datarapport.</a:t>
            </a:r>
            <a:br>
              <a:rPr lang="da-DK" sz="1200">
                <a:solidFill>
                  <a:schemeClr val="bg1"/>
                </a:solidFill>
                <a:latin typeface="Quicksand" panose="020B0604020202020204"/>
              </a:rPr>
            </a:br>
            <a:r>
              <a:rPr lang="da-DK" sz="1200">
                <a:solidFill>
                  <a:schemeClr val="bg1"/>
                </a:solidFill>
                <a:latin typeface="Quicksand" panose="020B0604020202020204"/>
              </a:rPr>
              <a:t>Under refleksionsspørgsmålene fremgår det, hvilke data der er relevante at sammenholde med.</a:t>
            </a:r>
          </a:p>
        </p:txBody>
      </p:sp>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8" imgH="408" progId="TCLayout.ActiveDocument.1">
                  <p:embed/>
                </p:oleObj>
              </mc:Choice>
              <mc:Fallback>
                <p:oleObj name="think-cell Slide" r:id="rId6"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8</a:t>
            </a:fld>
            <a:endParaRPr lang="da-DK"/>
          </a:p>
        </p:txBody>
      </p:sp>
      <p:sp>
        <p:nvSpPr>
          <p:cNvPr id="19" name="Google Shape;843;p29">
            <a:extLst>
              <a:ext uri="{FF2B5EF4-FFF2-40B4-BE49-F238E27FC236}">
                <a16:creationId xmlns:a16="http://schemas.microsoft.com/office/drawing/2014/main" id="{63F687D6-3A0C-49E8-8309-51383D3FACDF}"/>
              </a:ext>
            </a:extLst>
          </p:cNvPr>
          <p:cNvSpPr/>
          <p:nvPr/>
        </p:nvSpPr>
        <p:spPr>
          <a:xfrm>
            <a:off x="0" y="347492"/>
            <a:ext cx="12191999" cy="856994"/>
          </a:xfrm>
          <a:prstGeom prst="rect">
            <a:avLst/>
          </a:prstGeom>
          <a:solidFill>
            <a:schemeClr val="accent2"/>
          </a:solidFill>
          <a:ln>
            <a:noFill/>
          </a:ln>
        </p:spPr>
        <p:txBody>
          <a:bodyPr spcFirstLastPara="1" wrap="square" lIns="91425" tIns="0" rIns="91425" bIns="0" anchor="ctr" anchorCtr="0">
            <a:noAutofit/>
          </a:bodyPr>
          <a:lstStyle/>
          <a:p>
            <a:pPr marL="0" lvl="0" indent="0" algn="ctr">
              <a:spcBef>
                <a:spcPts val="0"/>
              </a:spcBef>
              <a:spcAft>
                <a:spcPts val="0"/>
              </a:spcAft>
              <a:buNone/>
            </a:pPr>
            <a:r>
              <a:rPr lang="da-DK" sz="2400" b="1">
                <a:solidFill>
                  <a:schemeClr val="bg1"/>
                </a:solidFill>
                <a:latin typeface="Amatic SC"/>
                <a:ea typeface="Amatic SC"/>
                <a:cs typeface="Amatic SC"/>
                <a:sym typeface="Amatic SC"/>
              </a:rPr>
              <a:t>	</a:t>
            </a:r>
            <a:r>
              <a:rPr lang="da-DK" sz="4000" b="1">
                <a:solidFill>
                  <a:schemeClr val="bg1"/>
                </a:solidFill>
                <a:latin typeface="Amatic SC"/>
                <a:ea typeface="Amatic SC"/>
                <a:cs typeface="Amatic SC"/>
                <a:sym typeface="Amatic SC"/>
              </a:rPr>
              <a:t>Refleksionsspørgsmål</a:t>
            </a:r>
            <a:r>
              <a:rPr lang="da-DK" sz="3600" b="1">
                <a:solidFill>
                  <a:schemeClr val="bg1"/>
                </a:solidFill>
                <a:latin typeface="Amatic SC"/>
                <a:ea typeface="Amatic SC"/>
                <a:cs typeface="Amatic SC"/>
                <a:sym typeface="Amatic SC"/>
              </a:rPr>
              <a:t> </a:t>
            </a:r>
            <a:endParaRPr lang="da-DK" sz="2400" b="1">
              <a:solidFill>
                <a:schemeClr val="bg1"/>
              </a:solidFill>
              <a:latin typeface="Amatic SC"/>
              <a:ea typeface="Amatic SC"/>
              <a:cs typeface="Amatic SC"/>
              <a:sym typeface="Amatic SC"/>
            </a:endParaRPr>
          </a:p>
        </p:txBody>
      </p:sp>
      <p:pic>
        <p:nvPicPr>
          <p:cNvPr id="3" name="Graphic 2" descr="Thought bubble with solid fill">
            <a:extLst>
              <a:ext uri="{FF2B5EF4-FFF2-40B4-BE49-F238E27FC236}">
                <a16:creationId xmlns:a16="http://schemas.microsoft.com/office/drawing/2014/main" id="{64B5FDDB-400C-2B77-0E53-4B231CFF6B8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14652" y="286718"/>
            <a:ext cx="917768" cy="917768"/>
          </a:xfrm>
          <a:prstGeom prst="rect">
            <a:avLst/>
          </a:prstGeom>
        </p:spPr>
      </p:pic>
      <p:sp>
        <p:nvSpPr>
          <p:cNvPr id="10" name="Google Shape;847;p29">
            <a:extLst>
              <a:ext uri="{FF2B5EF4-FFF2-40B4-BE49-F238E27FC236}">
                <a16:creationId xmlns:a16="http://schemas.microsoft.com/office/drawing/2014/main" id="{CA6CEC05-D2DA-61EE-A665-32747A49023C}"/>
              </a:ext>
            </a:extLst>
          </p:cNvPr>
          <p:cNvSpPr txBox="1"/>
          <p:nvPr/>
        </p:nvSpPr>
        <p:spPr>
          <a:xfrm>
            <a:off x="901243" y="1682072"/>
            <a:ext cx="6827773" cy="3903662"/>
          </a:xfrm>
          <a:prstGeom prst="rect">
            <a:avLst/>
          </a:prstGeom>
          <a:noFill/>
          <a:ln>
            <a:noFill/>
          </a:ln>
        </p:spPr>
        <p:txBody>
          <a:bodyPr spcFirstLastPara="1" wrap="square" lIns="0" tIns="180000" rIns="0" bIns="0" anchor="t" anchorCtr="0">
            <a:noAutofit/>
          </a:bodyPr>
          <a:lstStyle/>
          <a:p>
            <a:r>
              <a:rPr lang="da-DK" sz="1500" b="1">
                <a:latin typeface="Quicksand" panose="020B0604020202020204" charset="0"/>
                <a:ea typeface="Quicksand"/>
                <a:cs typeface="Quicksand" panose="020B0604020202020204" charset="0"/>
                <a:sym typeface="Quicksand"/>
              </a:rPr>
              <a:t>Forslag til proces: </a:t>
            </a:r>
          </a:p>
          <a:p>
            <a:endParaRPr lang="da-DK" sz="1500">
              <a:latin typeface="Quicksand" panose="020B0604020202020204" charset="0"/>
              <a:ea typeface="Quicksand"/>
              <a:cs typeface="Quicksand" panose="020B0604020202020204" charset="0"/>
              <a:sym typeface="Quicksand"/>
            </a:endParaRPr>
          </a:p>
          <a:p>
            <a:pPr lvl="1"/>
            <a:r>
              <a:rPr lang="da-DK" sz="1500">
                <a:latin typeface="Quicksand" panose="020B0604020202020204" charset="0"/>
                <a:ea typeface="Quicksand"/>
                <a:cs typeface="Quicksand" panose="020B0604020202020204" charset="0"/>
                <a:sym typeface="Quicksand"/>
              </a:rPr>
              <a:t>Det pædagogiske personale sætter sig i det team, de primært arbejder i, og ledelsen præsenterer resultaterne for ét af de fire temaer. </a:t>
            </a:r>
          </a:p>
          <a:p>
            <a:pPr lvl="1"/>
            <a:endParaRPr lang="da-DK" sz="1500">
              <a:latin typeface="Quicksand" panose="020B0604020202020204" charset="0"/>
              <a:ea typeface="Quicksand"/>
              <a:cs typeface="Quicksand" panose="020B0604020202020204" charset="0"/>
              <a:sym typeface="Quicksand"/>
            </a:endParaRPr>
          </a:p>
          <a:p>
            <a:pPr lvl="1"/>
            <a:r>
              <a:rPr lang="da-DK" sz="1500">
                <a:latin typeface="Quicksand" panose="020B0604020202020204" charset="0"/>
                <a:ea typeface="Quicksand"/>
                <a:cs typeface="Quicksand" panose="020B0604020202020204" charset="0"/>
                <a:sym typeface="Quicksand"/>
              </a:rPr>
              <a:t>Efter præsentationen af et tema drøfter det pædagogiske personale refleksionsspørgsmålene til det givne tema i deres teams (refleksionsspørgsmål fremgår i forlængelse af hvert tema i præsentationen af evalueringens resultater). </a:t>
            </a:r>
          </a:p>
          <a:p>
            <a:pPr lvl="1"/>
            <a:endParaRPr lang="da-DK" sz="1500">
              <a:latin typeface="Quicksand" panose="020B0604020202020204" charset="0"/>
              <a:ea typeface="Quicksand"/>
              <a:cs typeface="Quicksand" panose="020B0604020202020204" charset="0"/>
              <a:sym typeface="Quicksand"/>
            </a:endParaRPr>
          </a:p>
          <a:p>
            <a:pPr lvl="1"/>
            <a:r>
              <a:rPr lang="da-DK" sz="1500">
                <a:latin typeface="Quicksand" panose="020B0604020202020204" charset="0"/>
                <a:ea typeface="Quicksand"/>
                <a:cs typeface="Quicksand" panose="020B0604020202020204" charset="0"/>
                <a:sym typeface="Quicksand"/>
              </a:rPr>
              <a:t>Efter drøftelserne præsenterer alle teams deres refleksioner i plenum på tværs af alt det pædagogiske personale. Find med afsæt i jeres drøftelser ud af, hvad jeres næste skridt i arbejdet med Den Mangfoldige Folkeskole skal være.</a:t>
            </a:r>
          </a:p>
          <a:p>
            <a:endParaRPr lang="da-DK" sz="1600">
              <a:latin typeface="Quicksand" panose="020B0604020202020204" charset="0"/>
              <a:ea typeface="Quicksand"/>
              <a:cs typeface="Quicksand" panose="020B0604020202020204" charset="0"/>
              <a:sym typeface="Quicksand"/>
            </a:endParaRPr>
          </a:p>
          <a:p>
            <a:pPr lvl="0" algn="l">
              <a:lnSpc>
                <a:spcPct val="150000"/>
              </a:lnSpc>
              <a:spcBef>
                <a:spcPts val="0"/>
              </a:spcBef>
              <a:spcAft>
                <a:spcPts val="0"/>
              </a:spcAft>
            </a:pPr>
            <a:endParaRPr lang="da-DK" sz="1600">
              <a:latin typeface="Quicksand"/>
              <a:ea typeface="Quicksand"/>
              <a:cs typeface="Quicksand"/>
              <a:sym typeface="Quicksand"/>
            </a:endParaRPr>
          </a:p>
          <a:p>
            <a:pPr lvl="0" algn="l">
              <a:lnSpc>
                <a:spcPct val="150000"/>
              </a:lnSpc>
              <a:spcBef>
                <a:spcPts val="0"/>
              </a:spcBef>
              <a:spcAft>
                <a:spcPts val="0"/>
              </a:spcAft>
            </a:pPr>
            <a:endParaRPr lang="da-DK">
              <a:latin typeface="Quicksand"/>
              <a:ea typeface="Quicksand"/>
              <a:cs typeface="Quicksand"/>
              <a:sym typeface="Quicksand"/>
            </a:endParaRPr>
          </a:p>
        </p:txBody>
      </p:sp>
      <p:sp>
        <p:nvSpPr>
          <p:cNvPr id="12" name="Oval 11">
            <a:extLst>
              <a:ext uri="{FF2B5EF4-FFF2-40B4-BE49-F238E27FC236}">
                <a16:creationId xmlns:a16="http://schemas.microsoft.com/office/drawing/2014/main" id="{323C242C-0FC5-9F5E-2C8D-1924D1D55E4B}"/>
              </a:ext>
            </a:extLst>
          </p:cNvPr>
          <p:cNvSpPr/>
          <p:nvPr/>
        </p:nvSpPr>
        <p:spPr>
          <a:xfrm>
            <a:off x="901242" y="2326640"/>
            <a:ext cx="345600" cy="345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latin typeface="Quicksand" panose="020B0604020202020204" charset="0"/>
                <a:cs typeface="Quicksand" panose="020B0604020202020204" charset="0"/>
              </a:rPr>
              <a:t>1</a:t>
            </a:r>
            <a:endParaRPr lang="da-DK" sz="2000" noProof="0">
              <a:latin typeface="Quicksand" panose="020B0604020202020204" charset="0"/>
              <a:cs typeface="Quicksand" panose="020B0604020202020204" charset="0"/>
            </a:endParaRPr>
          </a:p>
        </p:txBody>
      </p:sp>
      <p:sp>
        <p:nvSpPr>
          <p:cNvPr id="13" name="Oval 12">
            <a:extLst>
              <a:ext uri="{FF2B5EF4-FFF2-40B4-BE49-F238E27FC236}">
                <a16:creationId xmlns:a16="http://schemas.microsoft.com/office/drawing/2014/main" id="{145D81BE-66B4-DB6E-737C-192DBFE5CC49}"/>
              </a:ext>
            </a:extLst>
          </p:cNvPr>
          <p:cNvSpPr/>
          <p:nvPr/>
        </p:nvSpPr>
        <p:spPr>
          <a:xfrm>
            <a:off x="901242" y="3017086"/>
            <a:ext cx="345600" cy="345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a:latin typeface="Quicksand" panose="020B0604020202020204" charset="0"/>
                <a:cs typeface="Quicksand" panose="020B0604020202020204" charset="0"/>
              </a:rPr>
              <a:t>2</a:t>
            </a:r>
            <a:endParaRPr lang="da-DK" sz="2000" noProof="0">
              <a:latin typeface="Quicksand" panose="020B0604020202020204" charset="0"/>
              <a:cs typeface="Quicksand" panose="020B0604020202020204" charset="0"/>
            </a:endParaRPr>
          </a:p>
        </p:txBody>
      </p:sp>
      <p:sp>
        <p:nvSpPr>
          <p:cNvPr id="15" name="Oval 14">
            <a:extLst>
              <a:ext uri="{FF2B5EF4-FFF2-40B4-BE49-F238E27FC236}">
                <a16:creationId xmlns:a16="http://schemas.microsoft.com/office/drawing/2014/main" id="{D747DB3D-7328-5E6E-2FB1-4994E88E06CE}"/>
              </a:ext>
            </a:extLst>
          </p:cNvPr>
          <p:cNvSpPr/>
          <p:nvPr/>
        </p:nvSpPr>
        <p:spPr>
          <a:xfrm>
            <a:off x="901242" y="3888969"/>
            <a:ext cx="345600" cy="345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latin typeface="Quicksand" panose="020B0604020202020204" charset="0"/>
                <a:cs typeface="Quicksand" panose="020B0604020202020204" charset="0"/>
              </a:rPr>
              <a:t>3</a:t>
            </a:r>
            <a:endParaRPr lang="da-DK" sz="2000" noProof="0">
              <a:latin typeface="Quicksand" panose="020B0604020202020204" charset="0"/>
              <a:cs typeface="Quicksand" panose="020B0604020202020204" charset="0"/>
            </a:endParaRPr>
          </a:p>
        </p:txBody>
      </p:sp>
      <p:sp>
        <p:nvSpPr>
          <p:cNvPr id="30" name="Google Shape;1251;p48">
            <a:extLst>
              <a:ext uri="{FF2B5EF4-FFF2-40B4-BE49-F238E27FC236}">
                <a16:creationId xmlns:a16="http://schemas.microsoft.com/office/drawing/2014/main" id="{D0FEC8B4-1132-0DCA-DF25-AC0E5D5DFD1C}"/>
              </a:ext>
            </a:extLst>
          </p:cNvPr>
          <p:cNvSpPr/>
          <p:nvPr/>
        </p:nvSpPr>
        <p:spPr>
          <a:xfrm>
            <a:off x="9751539" y="2131897"/>
            <a:ext cx="345681" cy="414830"/>
          </a:xfrm>
          <a:custGeom>
            <a:avLst/>
            <a:gdLst/>
            <a:ahLst/>
            <a:cxnLst/>
            <a:rect l="l" t="t" r="r" b="b"/>
            <a:pathLst>
              <a:path w="15817" h="18981" extrusionOk="0">
                <a:moveTo>
                  <a:pt x="11364" y="1"/>
                </a:moveTo>
                <a:lnTo>
                  <a:pt x="11242" y="25"/>
                </a:lnTo>
                <a:lnTo>
                  <a:pt x="11169" y="74"/>
                </a:lnTo>
                <a:lnTo>
                  <a:pt x="11096" y="171"/>
                </a:lnTo>
                <a:lnTo>
                  <a:pt x="10780" y="731"/>
                </a:lnTo>
                <a:lnTo>
                  <a:pt x="10634" y="999"/>
                </a:lnTo>
                <a:lnTo>
                  <a:pt x="10537" y="1315"/>
                </a:lnTo>
                <a:lnTo>
                  <a:pt x="10512" y="1388"/>
                </a:lnTo>
                <a:lnTo>
                  <a:pt x="10537" y="1461"/>
                </a:lnTo>
                <a:lnTo>
                  <a:pt x="10585" y="1534"/>
                </a:lnTo>
                <a:lnTo>
                  <a:pt x="10634" y="1583"/>
                </a:lnTo>
                <a:lnTo>
                  <a:pt x="10707" y="1607"/>
                </a:lnTo>
                <a:lnTo>
                  <a:pt x="10804" y="1631"/>
                </a:lnTo>
                <a:lnTo>
                  <a:pt x="10877" y="1607"/>
                </a:lnTo>
                <a:lnTo>
                  <a:pt x="10950" y="1558"/>
                </a:lnTo>
                <a:lnTo>
                  <a:pt x="11145" y="1315"/>
                </a:lnTo>
                <a:lnTo>
                  <a:pt x="11291" y="1047"/>
                </a:lnTo>
                <a:lnTo>
                  <a:pt x="11510" y="731"/>
                </a:lnTo>
                <a:lnTo>
                  <a:pt x="11583" y="682"/>
                </a:lnTo>
                <a:lnTo>
                  <a:pt x="11656" y="609"/>
                </a:lnTo>
                <a:lnTo>
                  <a:pt x="11705" y="463"/>
                </a:lnTo>
                <a:lnTo>
                  <a:pt x="11729" y="342"/>
                </a:lnTo>
                <a:lnTo>
                  <a:pt x="11705" y="220"/>
                </a:lnTo>
                <a:lnTo>
                  <a:pt x="11656" y="123"/>
                </a:lnTo>
                <a:lnTo>
                  <a:pt x="11583" y="50"/>
                </a:lnTo>
                <a:lnTo>
                  <a:pt x="11486" y="25"/>
                </a:lnTo>
                <a:lnTo>
                  <a:pt x="11461" y="1"/>
                </a:lnTo>
                <a:close/>
                <a:moveTo>
                  <a:pt x="3821" y="171"/>
                </a:moveTo>
                <a:lnTo>
                  <a:pt x="3748" y="196"/>
                </a:lnTo>
                <a:lnTo>
                  <a:pt x="3699" y="244"/>
                </a:lnTo>
                <a:lnTo>
                  <a:pt x="3651" y="317"/>
                </a:lnTo>
                <a:lnTo>
                  <a:pt x="3651" y="390"/>
                </a:lnTo>
                <a:lnTo>
                  <a:pt x="3651" y="463"/>
                </a:lnTo>
                <a:lnTo>
                  <a:pt x="3699" y="634"/>
                </a:lnTo>
                <a:lnTo>
                  <a:pt x="3772" y="804"/>
                </a:lnTo>
                <a:lnTo>
                  <a:pt x="3943" y="1120"/>
                </a:lnTo>
                <a:lnTo>
                  <a:pt x="4113" y="1461"/>
                </a:lnTo>
                <a:lnTo>
                  <a:pt x="4259" y="1802"/>
                </a:lnTo>
                <a:lnTo>
                  <a:pt x="4332" y="1923"/>
                </a:lnTo>
                <a:lnTo>
                  <a:pt x="4429" y="1996"/>
                </a:lnTo>
                <a:lnTo>
                  <a:pt x="4527" y="2021"/>
                </a:lnTo>
                <a:lnTo>
                  <a:pt x="4624" y="1996"/>
                </a:lnTo>
                <a:lnTo>
                  <a:pt x="4721" y="1972"/>
                </a:lnTo>
                <a:lnTo>
                  <a:pt x="4794" y="1899"/>
                </a:lnTo>
                <a:lnTo>
                  <a:pt x="4843" y="1777"/>
                </a:lnTo>
                <a:lnTo>
                  <a:pt x="4843" y="1656"/>
                </a:lnTo>
                <a:lnTo>
                  <a:pt x="4794" y="1461"/>
                </a:lnTo>
                <a:lnTo>
                  <a:pt x="4697" y="1266"/>
                </a:lnTo>
                <a:lnTo>
                  <a:pt x="4502" y="901"/>
                </a:lnTo>
                <a:lnTo>
                  <a:pt x="4283" y="536"/>
                </a:lnTo>
                <a:lnTo>
                  <a:pt x="4162" y="390"/>
                </a:lnTo>
                <a:lnTo>
                  <a:pt x="4040" y="244"/>
                </a:lnTo>
                <a:lnTo>
                  <a:pt x="3967" y="196"/>
                </a:lnTo>
                <a:lnTo>
                  <a:pt x="3894" y="171"/>
                </a:lnTo>
                <a:close/>
                <a:moveTo>
                  <a:pt x="15452" y="4405"/>
                </a:moveTo>
                <a:lnTo>
                  <a:pt x="15379" y="4429"/>
                </a:lnTo>
                <a:lnTo>
                  <a:pt x="15306" y="4454"/>
                </a:lnTo>
                <a:lnTo>
                  <a:pt x="15135" y="4551"/>
                </a:lnTo>
                <a:lnTo>
                  <a:pt x="14941" y="4600"/>
                </a:lnTo>
                <a:lnTo>
                  <a:pt x="14551" y="4697"/>
                </a:lnTo>
                <a:lnTo>
                  <a:pt x="14357" y="4746"/>
                </a:lnTo>
                <a:lnTo>
                  <a:pt x="14162" y="4819"/>
                </a:lnTo>
                <a:lnTo>
                  <a:pt x="14016" y="4916"/>
                </a:lnTo>
                <a:lnTo>
                  <a:pt x="13870" y="5062"/>
                </a:lnTo>
                <a:lnTo>
                  <a:pt x="13822" y="5135"/>
                </a:lnTo>
                <a:lnTo>
                  <a:pt x="13822" y="5232"/>
                </a:lnTo>
                <a:lnTo>
                  <a:pt x="13846" y="5330"/>
                </a:lnTo>
                <a:lnTo>
                  <a:pt x="13895" y="5354"/>
                </a:lnTo>
                <a:lnTo>
                  <a:pt x="13943" y="5354"/>
                </a:lnTo>
                <a:lnTo>
                  <a:pt x="14138" y="5378"/>
                </a:lnTo>
                <a:lnTo>
                  <a:pt x="14357" y="5378"/>
                </a:lnTo>
                <a:lnTo>
                  <a:pt x="14600" y="5354"/>
                </a:lnTo>
                <a:lnTo>
                  <a:pt x="14819" y="5330"/>
                </a:lnTo>
                <a:lnTo>
                  <a:pt x="15038" y="5257"/>
                </a:lnTo>
                <a:lnTo>
                  <a:pt x="15257" y="5208"/>
                </a:lnTo>
                <a:lnTo>
                  <a:pt x="15452" y="5111"/>
                </a:lnTo>
                <a:lnTo>
                  <a:pt x="15646" y="5038"/>
                </a:lnTo>
                <a:lnTo>
                  <a:pt x="15719" y="4989"/>
                </a:lnTo>
                <a:lnTo>
                  <a:pt x="15768" y="4940"/>
                </a:lnTo>
                <a:lnTo>
                  <a:pt x="15817" y="4819"/>
                </a:lnTo>
                <a:lnTo>
                  <a:pt x="15792" y="4697"/>
                </a:lnTo>
                <a:lnTo>
                  <a:pt x="15768" y="4575"/>
                </a:lnTo>
                <a:lnTo>
                  <a:pt x="15671" y="4478"/>
                </a:lnTo>
                <a:lnTo>
                  <a:pt x="15573" y="4429"/>
                </a:lnTo>
                <a:lnTo>
                  <a:pt x="15452" y="4405"/>
                </a:lnTo>
                <a:close/>
                <a:moveTo>
                  <a:pt x="317" y="4697"/>
                </a:moveTo>
                <a:lnTo>
                  <a:pt x="220" y="4721"/>
                </a:lnTo>
                <a:lnTo>
                  <a:pt x="122" y="4746"/>
                </a:lnTo>
                <a:lnTo>
                  <a:pt x="25" y="4794"/>
                </a:lnTo>
                <a:lnTo>
                  <a:pt x="1" y="4867"/>
                </a:lnTo>
                <a:lnTo>
                  <a:pt x="1" y="4965"/>
                </a:lnTo>
                <a:lnTo>
                  <a:pt x="49" y="5038"/>
                </a:lnTo>
                <a:lnTo>
                  <a:pt x="195" y="5184"/>
                </a:lnTo>
                <a:lnTo>
                  <a:pt x="390" y="5305"/>
                </a:lnTo>
                <a:lnTo>
                  <a:pt x="779" y="5524"/>
                </a:lnTo>
                <a:lnTo>
                  <a:pt x="1169" y="5743"/>
                </a:lnTo>
                <a:lnTo>
                  <a:pt x="1388" y="5841"/>
                </a:lnTo>
                <a:lnTo>
                  <a:pt x="1582" y="5938"/>
                </a:lnTo>
                <a:lnTo>
                  <a:pt x="1655" y="5962"/>
                </a:lnTo>
                <a:lnTo>
                  <a:pt x="1801" y="5962"/>
                </a:lnTo>
                <a:lnTo>
                  <a:pt x="1850" y="5938"/>
                </a:lnTo>
                <a:lnTo>
                  <a:pt x="1923" y="5841"/>
                </a:lnTo>
                <a:lnTo>
                  <a:pt x="1972" y="5743"/>
                </a:lnTo>
                <a:lnTo>
                  <a:pt x="1996" y="5622"/>
                </a:lnTo>
                <a:lnTo>
                  <a:pt x="1972" y="5476"/>
                </a:lnTo>
                <a:lnTo>
                  <a:pt x="1899" y="5378"/>
                </a:lnTo>
                <a:lnTo>
                  <a:pt x="1826" y="5330"/>
                </a:lnTo>
                <a:lnTo>
                  <a:pt x="1777" y="5305"/>
                </a:lnTo>
                <a:lnTo>
                  <a:pt x="1582" y="5208"/>
                </a:lnTo>
                <a:lnTo>
                  <a:pt x="1388" y="5111"/>
                </a:lnTo>
                <a:lnTo>
                  <a:pt x="974" y="4892"/>
                </a:lnTo>
                <a:lnTo>
                  <a:pt x="755" y="4794"/>
                </a:lnTo>
                <a:lnTo>
                  <a:pt x="536" y="4721"/>
                </a:lnTo>
                <a:lnTo>
                  <a:pt x="317" y="4697"/>
                </a:lnTo>
                <a:close/>
                <a:moveTo>
                  <a:pt x="8809" y="6936"/>
                </a:moveTo>
                <a:lnTo>
                  <a:pt x="8736" y="6984"/>
                </a:lnTo>
                <a:lnTo>
                  <a:pt x="8663" y="7057"/>
                </a:lnTo>
                <a:lnTo>
                  <a:pt x="8566" y="7252"/>
                </a:lnTo>
                <a:lnTo>
                  <a:pt x="8468" y="7495"/>
                </a:lnTo>
                <a:lnTo>
                  <a:pt x="8420" y="7739"/>
                </a:lnTo>
                <a:lnTo>
                  <a:pt x="8395" y="7958"/>
                </a:lnTo>
                <a:lnTo>
                  <a:pt x="8395" y="8128"/>
                </a:lnTo>
                <a:lnTo>
                  <a:pt x="8322" y="8177"/>
                </a:lnTo>
                <a:lnTo>
                  <a:pt x="8201" y="8225"/>
                </a:lnTo>
                <a:lnTo>
                  <a:pt x="8079" y="8250"/>
                </a:lnTo>
                <a:lnTo>
                  <a:pt x="7982" y="8225"/>
                </a:lnTo>
                <a:lnTo>
                  <a:pt x="7909" y="8201"/>
                </a:lnTo>
                <a:lnTo>
                  <a:pt x="7982" y="8079"/>
                </a:lnTo>
                <a:lnTo>
                  <a:pt x="8055" y="7933"/>
                </a:lnTo>
                <a:lnTo>
                  <a:pt x="8103" y="7812"/>
                </a:lnTo>
                <a:lnTo>
                  <a:pt x="8103" y="7666"/>
                </a:lnTo>
                <a:lnTo>
                  <a:pt x="8103" y="7520"/>
                </a:lnTo>
                <a:lnTo>
                  <a:pt x="8055" y="7398"/>
                </a:lnTo>
                <a:lnTo>
                  <a:pt x="7957" y="7252"/>
                </a:lnTo>
                <a:lnTo>
                  <a:pt x="7836" y="7130"/>
                </a:lnTo>
                <a:lnTo>
                  <a:pt x="7763" y="7082"/>
                </a:lnTo>
                <a:lnTo>
                  <a:pt x="7617" y="7082"/>
                </a:lnTo>
                <a:lnTo>
                  <a:pt x="7544" y="7130"/>
                </a:lnTo>
                <a:lnTo>
                  <a:pt x="7446" y="7252"/>
                </a:lnTo>
                <a:lnTo>
                  <a:pt x="7373" y="7374"/>
                </a:lnTo>
                <a:lnTo>
                  <a:pt x="7325" y="7495"/>
                </a:lnTo>
                <a:lnTo>
                  <a:pt x="7300" y="7641"/>
                </a:lnTo>
                <a:lnTo>
                  <a:pt x="7300" y="7787"/>
                </a:lnTo>
                <a:lnTo>
                  <a:pt x="7300" y="7909"/>
                </a:lnTo>
                <a:lnTo>
                  <a:pt x="7325" y="8055"/>
                </a:lnTo>
                <a:lnTo>
                  <a:pt x="7373" y="8177"/>
                </a:lnTo>
                <a:lnTo>
                  <a:pt x="7179" y="8298"/>
                </a:lnTo>
                <a:lnTo>
                  <a:pt x="7081" y="8323"/>
                </a:lnTo>
                <a:lnTo>
                  <a:pt x="6984" y="8347"/>
                </a:lnTo>
                <a:lnTo>
                  <a:pt x="6911" y="8371"/>
                </a:lnTo>
                <a:lnTo>
                  <a:pt x="6814" y="8347"/>
                </a:lnTo>
                <a:lnTo>
                  <a:pt x="6692" y="8298"/>
                </a:lnTo>
                <a:lnTo>
                  <a:pt x="6570" y="8201"/>
                </a:lnTo>
                <a:lnTo>
                  <a:pt x="6497" y="8055"/>
                </a:lnTo>
                <a:lnTo>
                  <a:pt x="6449" y="7909"/>
                </a:lnTo>
                <a:lnTo>
                  <a:pt x="6449" y="7739"/>
                </a:lnTo>
                <a:lnTo>
                  <a:pt x="6497" y="7544"/>
                </a:lnTo>
                <a:lnTo>
                  <a:pt x="6497" y="7520"/>
                </a:lnTo>
                <a:lnTo>
                  <a:pt x="6473" y="7520"/>
                </a:lnTo>
                <a:lnTo>
                  <a:pt x="6449" y="7495"/>
                </a:lnTo>
                <a:lnTo>
                  <a:pt x="6424" y="7520"/>
                </a:lnTo>
                <a:lnTo>
                  <a:pt x="6327" y="7617"/>
                </a:lnTo>
                <a:lnTo>
                  <a:pt x="6254" y="7739"/>
                </a:lnTo>
                <a:lnTo>
                  <a:pt x="6230" y="7836"/>
                </a:lnTo>
                <a:lnTo>
                  <a:pt x="6206" y="7958"/>
                </a:lnTo>
                <a:lnTo>
                  <a:pt x="6206" y="8055"/>
                </a:lnTo>
                <a:lnTo>
                  <a:pt x="6206" y="8177"/>
                </a:lnTo>
                <a:lnTo>
                  <a:pt x="6254" y="8274"/>
                </a:lnTo>
                <a:lnTo>
                  <a:pt x="6303" y="8371"/>
                </a:lnTo>
                <a:lnTo>
                  <a:pt x="6376" y="8469"/>
                </a:lnTo>
                <a:lnTo>
                  <a:pt x="6449" y="8542"/>
                </a:lnTo>
                <a:lnTo>
                  <a:pt x="6546" y="8615"/>
                </a:lnTo>
                <a:lnTo>
                  <a:pt x="6643" y="8663"/>
                </a:lnTo>
                <a:lnTo>
                  <a:pt x="6765" y="8712"/>
                </a:lnTo>
                <a:lnTo>
                  <a:pt x="6862" y="8736"/>
                </a:lnTo>
                <a:lnTo>
                  <a:pt x="7008" y="8736"/>
                </a:lnTo>
                <a:lnTo>
                  <a:pt x="7130" y="8712"/>
                </a:lnTo>
                <a:lnTo>
                  <a:pt x="7349" y="8615"/>
                </a:lnTo>
                <a:lnTo>
                  <a:pt x="7592" y="8493"/>
                </a:lnTo>
                <a:lnTo>
                  <a:pt x="7690" y="8566"/>
                </a:lnTo>
                <a:lnTo>
                  <a:pt x="7836" y="8639"/>
                </a:lnTo>
                <a:lnTo>
                  <a:pt x="7982" y="8663"/>
                </a:lnTo>
                <a:lnTo>
                  <a:pt x="8128" y="8688"/>
                </a:lnTo>
                <a:lnTo>
                  <a:pt x="8225" y="8688"/>
                </a:lnTo>
                <a:lnTo>
                  <a:pt x="8347" y="8663"/>
                </a:lnTo>
                <a:lnTo>
                  <a:pt x="8566" y="8566"/>
                </a:lnTo>
                <a:lnTo>
                  <a:pt x="8639" y="8663"/>
                </a:lnTo>
                <a:lnTo>
                  <a:pt x="8736" y="8736"/>
                </a:lnTo>
                <a:lnTo>
                  <a:pt x="8833" y="8809"/>
                </a:lnTo>
                <a:lnTo>
                  <a:pt x="8931" y="8858"/>
                </a:lnTo>
                <a:lnTo>
                  <a:pt x="9174" y="8907"/>
                </a:lnTo>
                <a:lnTo>
                  <a:pt x="9417" y="8931"/>
                </a:lnTo>
                <a:lnTo>
                  <a:pt x="9661" y="8882"/>
                </a:lnTo>
                <a:lnTo>
                  <a:pt x="9880" y="8809"/>
                </a:lnTo>
                <a:lnTo>
                  <a:pt x="9977" y="8736"/>
                </a:lnTo>
                <a:lnTo>
                  <a:pt x="10074" y="8663"/>
                </a:lnTo>
                <a:lnTo>
                  <a:pt x="10172" y="8566"/>
                </a:lnTo>
                <a:lnTo>
                  <a:pt x="10269" y="8469"/>
                </a:lnTo>
                <a:lnTo>
                  <a:pt x="10293" y="8396"/>
                </a:lnTo>
                <a:lnTo>
                  <a:pt x="10293" y="8347"/>
                </a:lnTo>
                <a:lnTo>
                  <a:pt x="10269" y="8298"/>
                </a:lnTo>
                <a:lnTo>
                  <a:pt x="10245" y="8250"/>
                </a:lnTo>
                <a:lnTo>
                  <a:pt x="10172" y="8225"/>
                </a:lnTo>
                <a:lnTo>
                  <a:pt x="10123" y="8201"/>
                </a:lnTo>
                <a:lnTo>
                  <a:pt x="10001" y="8201"/>
                </a:lnTo>
                <a:lnTo>
                  <a:pt x="9782" y="8323"/>
                </a:lnTo>
                <a:lnTo>
                  <a:pt x="9563" y="8420"/>
                </a:lnTo>
                <a:lnTo>
                  <a:pt x="9442" y="8444"/>
                </a:lnTo>
                <a:lnTo>
                  <a:pt x="9344" y="8469"/>
                </a:lnTo>
                <a:lnTo>
                  <a:pt x="9223" y="8469"/>
                </a:lnTo>
                <a:lnTo>
                  <a:pt x="9101" y="8420"/>
                </a:lnTo>
                <a:lnTo>
                  <a:pt x="9004" y="8347"/>
                </a:lnTo>
                <a:lnTo>
                  <a:pt x="8931" y="8274"/>
                </a:lnTo>
                <a:lnTo>
                  <a:pt x="9052" y="8128"/>
                </a:lnTo>
                <a:lnTo>
                  <a:pt x="9150" y="7982"/>
                </a:lnTo>
                <a:lnTo>
                  <a:pt x="9247" y="7836"/>
                </a:lnTo>
                <a:lnTo>
                  <a:pt x="9296" y="7666"/>
                </a:lnTo>
                <a:lnTo>
                  <a:pt x="9320" y="7495"/>
                </a:lnTo>
                <a:lnTo>
                  <a:pt x="9296" y="7349"/>
                </a:lnTo>
                <a:lnTo>
                  <a:pt x="9247" y="7203"/>
                </a:lnTo>
                <a:lnTo>
                  <a:pt x="9150" y="7057"/>
                </a:lnTo>
                <a:lnTo>
                  <a:pt x="9052" y="6984"/>
                </a:lnTo>
                <a:lnTo>
                  <a:pt x="8955" y="6936"/>
                </a:lnTo>
                <a:close/>
                <a:moveTo>
                  <a:pt x="1947" y="9710"/>
                </a:moveTo>
                <a:lnTo>
                  <a:pt x="1801" y="9758"/>
                </a:lnTo>
                <a:lnTo>
                  <a:pt x="1582" y="9856"/>
                </a:lnTo>
                <a:lnTo>
                  <a:pt x="1363" y="10002"/>
                </a:lnTo>
                <a:lnTo>
                  <a:pt x="925" y="10294"/>
                </a:lnTo>
                <a:lnTo>
                  <a:pt x="706" y="10415"/>
                </a:lnTo>
                <a:lnTo>
                  <a:pt x="585" y="10513"/>
                </a:lnTo>
                <a:lnTo>
                  <a:pt x="463" y="10610"/>
                </a:lnTo>
                <a:lnTo>
                  <a:pt x="366" y="10707"/>
                </a:lnTo>
                <a:lnTo>
                  <a:pt x="317" y="10829"/>
                </a:lnTo>
                <a:lnTo>
                  <a:pt x="317" y="10878"/>
                </a:lnTo>
                <a:lnTo>
                  <a:pt x="341" y="10926"/>
                </a:lnTo>
                <a:lnTo>
                  <a:pt x="366" y="10999"/>
                </a:lnTo>
                <a:lnTo>
                  <a:pt x="439" y="11048"/>
                </a:lnTo>
                <a:lnTo>
                  <a:pt x="536" y="11097"/>
                </a:lnTo>
                <a:lnTo>
                  <a:pt x="633" y="11097"/>
                </a:lnTo>
                <a:lnTo>
                  <a:pt x="755" y="11072"/>
                </a:lnTo>
                <a:lnTo>
                  <a:pt x="877" y="11048"/>
                </a:lnTo>
                <a:lnTo>
                  <a:pt x="1120" y="10926"/>
                </a:lnTo>
                <a:lnTo>
                  <a:pt x="1315" y="10829"/>
                </a:lnTo>
                <a:lnTo>
                  <a:pt x="1728" y="10610"/>
                </a:lnTo>
                <a:lnTo>
                  <a:pt x="1947" y="10488"/>
                </a:lnTo>
                <a:lnTo>
                  <a:pt x="2142" y="10342"/>
                </a:lnTo>
                <a:lnTo>
                  <a:pt x="2264" y="10245"/>
                </a:lnTo>
                <a:lnTo>
                  <a:pt x="2312" y="10123"/>
                </a:lnTo>
                <a:lnTo>
                  <a:pt x="2312" y="10002"/>
                </a:lnTo>
                <a:lnTo>
                  <a:pt x="2264" y="9880"/>
                </a:lnTo>
                <a:lnTo>
                  <a:pt x="2191" y="9783"/>
                </a:lnTo>
                <a:lnTo>
                  <a:pt x="2069" y="9734"/>
                </a:lnTo>
                <a:lnTo>
                  <a:pt x="1947" y="9710"/>
                </a:lnTo>
                <a:close/>
                <a:moveTo>
                  <a:pt x="14065" y="10026"/>
                </a:moveTo>
                <a:lnTo>
                  <a:pt x="13895" y="10050"/>
                </a:lnTo>
                <a:lnTo>
                  <a:pt x="13846" y="10075"/>
                </a:lnTo>
                <a:lnTo>
                  <a:pt x="13797" y="10123"/>
                </a:lnTo>
                <a:lnTo>
                  <a:pt x="13773" y="10172"/>
                </a:lnTo>
                <a:lnTo>
                  <a:pt x="13749" y="10221"/>
                </a:lnTo>
                <a:lnTo>
                  <a:pt x="13773" y="10318"/>
                </a:lnTo>
                <a:lnTo>
                  <a:pt x="13797" y="10367"/>
                </a:lnTo>
                <a:lnTo>
                  <a:pt x="13846" y="10415"/>
                </a:lnTo>
                <a:lnTo>
                  <a:pt x="14138" y="10586"/>
                </a:lnTo>
                <a:lnTo>
                  <a:pt x="14454" y="10756"/>
                </a:lnTo>
                <a:lnTo>
                  <a:pt x="14624" y="10878"/>
                </a:lnTo>
                <a:lnTo>
                  <a:pt x="14819" y="10975"/>
                </a:lnTo>
                <a:lnTo>
                  <a:pt x="15014" y="11048"/>
                </a:lnTo>
                <a:lnTo>
                  <a:pt x="15208" y="11097"/>
                </a:lnTo>
                <a:lnTo>
                  <a:pt x="15379" y="11097"/>
                </a:lnTo>
                <a:lnTo>
                  <a:pt x="15427" y="11072"/>
                </a:lnTo>
                <a:lnTo>
                  <a:pt x="15500" y="11024"/>
                </a:lnTo>
                <a:lnTo>
                  <a:pt x="15573" y="10951"/>
                </a:lnTo>
                <a:lnTo>
                  <a:pt x="15598" y="10829"/>
                </a:lnTo>
                <a:lnTo>
                  <a:pt x="15598" y="10707"/>
                </a:lnTo>
                <a:lnTo>
                  <a:pt x="15549" y="10586"/>
                </a:lnTo>
                <a:lnTo>
                  <a:pt x="15500" y="10537"/>
                </a:lnTo>
                <a:lnTo>
                  <a:pt x="15452" y="10513"/>
                </a:lnTo>
                <a:lnTo>
                  <a:pt x="15379" y="10464"/>
                </a:lnTo>
                <a:lnTo>
                  <a:pt x="15306" y="10464"/>
                </a:lnTo>
                <a:lnTo>
                  <a:pt x="15135" y="10415"/>
                </a:lnTo>
                <a:lnTo>
                  <a:pt x="14965" y="10367"/>
                </a:lnTo>
                <a:lnTo>
                  <a:pt x="14600" y="10196"/>
                </a:lnTo>
                <a:lnTo>
                  <a:pt x="14430" y="10099"/>
                </a:lnTo>
                <a:lnTo>
                  <a:pt x="14260" y="10050"/>
                </a:lnTo>
                <a:lnTo>
                  <a:pt x="14065" y="10026"/>
                </a:lnTo>
                <a:close/>
                <a:moveTo>
                  <a:pt x="8468" y="2605"/>
                </a:moveTo>
                <a:lnTo>
                  <a:pt x="8760" y="2629"/>
                </a:lnTo>
                <a:lnTo>
                  <a:pt x="9052" y="2678"/>
                </a:lnTo>
                <a:lnTo>
                  <a:pt x="9344" y="2726"/>
                </a:lnTo>
                <a:lnTo>
                  <a:pt x="9125" y="2799"/>
                </a:lnTo>
                <a:lnTo>
                  <a:pt x="9101" y="2824"/>
                </a:lnTo>
                <a:lnTo>
                  <a:pt x="9101" y="2848"/>
                </a:lnTo>
                <a:lnTo>
                  <a:pt x="9101" y="2872"/>
                </a:lnTo>
                <a:lnTo>
                  <a:pt x="9125" y="2897"/>
                </a:lnTo>
                <a:lnTo>
                  <a:pt x="9223" y="2945"/>
                </a:lnTo>
                <a:lnTo>
                  <a:pt x="9320" y="2970"/>
                </a:lnTo>
                <a:lnTo>
                  <a:pt x="9442" y="2945"/>
                </a:lnTo>
                <a:lnTo>
                  <a:pt x="9563" y="2921"/>
                </a:lnTo>
                <a:lnTo>
                  <a:pt x="9855" y="2872"/>
                </a:lnTo>
                <a:lnTo>
                  <a:pt x="10269" y="3043"/>
                </a:lnTo>
                <a:lnTo>
                  <a:pt x="10074" y="3067"/>
                </a:lnTo>
                <a:lnTo>
                  <a:pt x="9855" y="3116"/>
                </a:lnTo>
                <a:lnTo>
                  <a:pt x="9685" y="3189"/>
                </a:lnTo>
                <a:lnTo>
                  <a:pt x="9515" y="3262"/>
                </a:lnTo>
                <a:lnTo>
                  <a:pt x="9515" y="3286"/>
                </a:lnTo>
                <a:lnTo>
                  <a:pt x="9490" y="3310"/>
                </a:lnTo>
                <a:lnTo>
                  <a:pt x="9515" y="3335"/>
                </a:lnTo>
                <a:lnTo>
                  <a:pt x="9539" y="3359"/>
                </a:lnTo>
                <a:lnTo>
                  <a:pt x="9953" y="3335"/>
                </a:lnTo>
                <a:lnTo>
                  <a:pt x="10342" y="3310"/>
                </a:lnTo>
                <a:lnTo>
                  <a:pt x="10780" y="3310"/>
                </a:lnTo>
                <a:lnTo>
                  <a:pt x="11048" y="3505"/>
                </a:lnTo>
                <a:lnTo>
                  <a:pt x="10756" y="3578"/>
                </a:lnTo>
                <a:lnTo>
                  <a:pt x="10464" y="3675"/>
                </a:lnTo>
                <a:lnTo>
                  <a:pt x="10245" y="3797"/>
                </a:lnTo>
                <a:lnTo>
                  <a:pt x="10099" y="3918"/>
                </a:lnTo>
                <a:lnTo>
                  <a:pt x="10074" y="3943"/>
                </a:lnTo>
                <a:lnTo>
                  <a:pt x="10099" y="3943"/>
                </a:lnTo>
                <a:lnTo>
                  <a:pt x="10391" y="3918"/>
                </a:lnTo>
                <a:lnTo>
                  <a:pt x="10683" y="3870"/>
                </a:lnTo>
                <a:lnTo>
                  <a:pt x="10975" y="3821"/>
                </a:lnTo>
                <a:lnTo>
                  <a:pt x="11291" y="3773"/>
                </a:lnTo>
                <a:lnTo>
                  <a:pt x="11364" y="3773"/>
                </a:lnTo>
                <a:lnTo>
                  <a:pt x="11583" y="3967"/>
                </a:lnTo>
                <a:lnTo>
                  <a:pt x="11778" y="4186"/>
                </a:lnTo>
                <a:lnTo>
                  <a:pt x="11388" y="4210"/>
                </a:lnTo>
                <a:lnTo>
                  <a:pt x="10829" y="4259"/>
                </a:lnTo>
                <a:lnTo>
                  <a:pt x="10561" y="4283"/>
                </a:lnTo>
                <a:lnTo>
                  <a:pt x="10318" y="4381"/>
                </a:lnTo>
                <a:lnTo>
                  <a:pt x="10293" y="4405"/>
                </a:lnTo>
                <a:lnTo>
                  <a:pt x="10293" y="4429"/>
                </a:lnTo>
                <a:lnTo>
                  <a:pt x="10318" y="4454"/>
                </a:lnTo>
                <a:lnTo>
                  <a:pt x="10585" y="4527"/>
                </a:lnTo>
                <a:lnTo>
                  <a:pt x="11705" y="4527"/>
                </a:lnTo>
                <a:lnTo>
                  <a:pt x="11997" y="4502"/>
                </a:lnTo>
                <a:lnTo>
                  <a:pt x="12216" y="4867"/>
                </a:lnTo>
                <a:lnTo>
                  <a:pt x="11851" y="4867"/>
                </a:lnTo>
                <a:lnTo>
                  <a:pt x="11267" y="4892"/>
                </a:lnTo>
                <a:lnTo>
                  <a:pt x="10658" y="4940"/>
                </a:lnTo>
                <a:lnTo>
                  <a:pt x="10634" y="4940"/>
                </a:lnTo>
                <a:lnTo>
                  <a:pt x="10634" y="4965"/>
                </a:lnTo>
                <a:lnTo>
                  <a:pt x="10634" y="4989"/>
                </a:lnTo>
                <a:lnTo>
                  <a:pt x="10658" y="5013"/>
                </a:lnTo>
                <a:lnTo>
                  <a:pt x="10902" y="5086"/>
                </a:lnTo>
                <a:lnTo>
                  <a:pt x="11169" y="5111"/>
                </a:lnTo>
                <a:lnTo>
                  <a:pt x="12021" y="5111"/>
                </a:lnTo>
                <a:lnTo>
                  <a:pt x="12362" y="5135"/>
                </a:lnTo>
                <a:lnTo>
                  <a:pt x="12556" y="5622"/>
                </a:lnTo>
                <a:lnTo>
                  <a:pt x="11461" y="5622"/>
                </a:lnTo>
                <a:lnTo>
                  <a:pt x="11291" y="5646"/>
                </a:lnTo>
                <a:lnTo>
                  <a:pt x="11145" y="5695"/>
                </a:lnTo>
                <a:lnTo>
                  <a:pt x="10999" y="5768"/>
                </a:lnTo>
                <a:lnTo>
                  <a:pt x="10975" y="5792"/>
                </a:lnTo>
                <a:lnTo>
                  <a:pt x="10999" y="5841"/>
                </a:lnTo>
                <a:lnTo>
                  <a:pt x="11267" y="5889"/>
                </a:lnTo>
                <a:lnTo>
                  <a:pt x="11534" y="5889"/>
                </a:lnTo>
                <a:lnTo>
                  <a:pt x="12070" y="5914"/>
                </a:lnTo>
                <a:lnTo>
                  <a:pt x="12654" y="5938"/>
                </a:lnTo>
                <a:lnTo>
                  <a:pt x="12702" y="6060"/>
                </a:lnTo>
                <a:lnTo>
                  <a:pt x="12727" y="6181"/>
                </a:lnTo>
                <a:lnTo>
                  <a:pt x="12386" y="6181"/>
                </a:lnTo>
                <a:lnTo>
                  <a:pt x="11729" y="6254"/>
                </a:lnTo>
                <a:lnTo>
                  <a:pt x="11413" y="6279"/>
                </a:lnTo>
                <a:lnTo>
                  <a:pt x="11121" y="6352"/>
                </a:lnTo>
                <a:lnTo>
                  <a:pt x="11096" y="6352"/>
                </a:lnTo>
                <a:lnTo>
                  <a:pt x="11096" y="6376"/>
                </a:lnTo>
                <a:lnTo>
                  <a:pt x="11096" y="6400"/>
                </a:lnTo>
                <a:lnTo>
                  <a:pt x="11121" y="6425"/>
                </a:lnTo>
                <a:lnTo>
                  <a:pt x="11388" y="6473"/>
                </a:lnTo>
                <a:lnTo>
                  <a:pt x="11656" y="6498"/>
                </a:lnTo>
                <a:lnTo>
                  <a:pt x="12508" y="6498"/>
                </a:lnTo>
                <a:lnTo>
                  <a:pt x="12824" y="6522"/>
                </a:lnTo>
                <a:lnTo>
                  <a:pt x="12873" y="6838"/>
                </a:lnTo>
                <a:lnTo>
                  <a:pt x="12556" y="6838"/>
                </a:lnTo>
                <a:lnTo>
                  <a:pt x="12240" y="6863"/>
                </a:lnTo>
                <a:lnTo>
                  <a:pt x="11753" y="6887"/>
                </a:lnTo>
                <a:lnTo>
                  <a:pt x="11510" y="6911"/>
                </a:lnTo>
                <a:lnTo>
                  <a:pt x="11267" y="6936"/>
                </a:lnTo>
                <a:lnTo>
                  <a:pt x="11242" y="6936"/>
                </a:lnTo>
                <a:lnTo>
                  <a:pt x="11242" y="6960"/>
                </a:lnTo>
                <a:lnTo>
                  <a:pt x="11242" y="7009"/>
                </a:lnTo>
                <a:lnTo>
                  <a:pt x="11267" y="7009"/>
                </a:lnTo>
                <a:lnTo>
                  <a:pt x="11461" y="7082"/>
                </a:lnTo>
                <a:lnTo>
                  <a:pt x="11680" y="7130"/>
                </a:lnTo>
                <a:lnTo>
                  <a:pt x="12727" y="7130"/>
                </a:lnTo>
                <a:lnTo>
                  <a:pt x="12921" y="7106"/>
                </a:lnTo>
                <a:lnTo>
                  <a:pt x="12994" y="7593"/>
                </a:lnTo>
                <a:lnTo>
                  <a:pt x="12994" y="7593"/>
                </a:lnTo>
                <a:lnTo>
                  <a:pt x="12848" y="7568"/>
                </a:lnTo>
                <a:lnTo>
                  <a:pt x="12702" y="7568"/>
                </a:lnTo>
                <a:lnTo>
                  <a:pt x="12435" y="7593"/>
                </a:lnTo>
                <a:lnTo>
                  <a:pt x="11997" y="7593"/>
                </a:lnTo>
                <a:lnTo>
                  <a:pt x="11778" y="7617"/>
                </a:lnTo>
                <a:lnTo>
                  <a:pt x="11559" y="7690"/>
                </a:lnTo>
                <a:lnTo>
                  <a:pt x="11534" y="7690"/>
                </a:lnTo>
                <a:lnTo>
                  <a:pt x="11534" y="7739"/>
                </a:lnTo>
                <a:lnTo>
                  <a:pt x="11534" y="7763"/>
                </a:lnTo>
                <a:lnTo>
                  <a:pt x="11559" y="7787"/>
                </a:lnTo>
                <a:lnTo>
                  <a:pt x="11778" y="7836"/>
                </a:lnTo>
                <a:lnTo>
                  <a:pt x="11997" y="7860"/>
                </a:lnTo>
                <a:lnTo>
                  <a:pt x="12435" y="7860"/>
                </a:lnTo>
                <a:lnTo>
                  <a:pt x="12702" y="7885"/>
                </a:lnTo>
                <a:lnTo>
                  <a:pt x="12848" y="7885"/>
                </a:lnTo>
                <a:lnTo>
                  <a:pt x="12994" y="7860"/>
                </a:lnTo>
                <a:lnTo>
                  <a:pt x="12994" y="7909"/>
                </a:lnTo>
                <a:lnTo>
                  <a:pt x="12994" y="8250"/>
                </a:lnTo>
                <a:lnTo>
                  <a:pt x="12873" y="8201"/>
                </a:lnTo>
                <a:lnTo>
                  <a:pt x="12775" y="8201"/>
                </a:lnTo>
                <a:lnTo>
                  <a:pt x="12532" y="8177"/>
                </a:lnTo>
                <a:lnTo>
                  <a:pt x="12094" y="8177"/>
                </a:lnTo>
                <a:lnTo>
                  <a:pt x="11875" y="8201"/>
                </a:lnTo>
                <a:lnTo>
                  <a:pt x="11656" y="8250"/>
                </a:lnTo>
                <a:lnTo>
                  <a:pt x="11656" y="8274"/>
                </a:lnTo>
                <a:lnTo>
                  <a:pt x="11632" y="8298"/>
                </a:lnTo>
                <a:lnTo>
                  <a:pt x="11656" y="8298"/>
                </a:lnTo>
                <a:lnTo>
                  <a:pt x="11656" y="8323"/>
                </a:lnTo>
                <a:lnTo>
                  <a:pt x="12045" y="8396"/>
                </a:lnTo>
                <a:lnTo>
                  <a:pt x="12410" y="8444"/>
                </a:lnTo>
                <a:lnTo>
                  <a:pt x="12702" y="8469"/>
                </a:lnTo>
                <a:lnTo>
                  <a:pt x="12824" y="8493"/>
                </a:lnTo>
                <a:lnTo>
                  <a:pt x="12970" y="8469"/>
                </a:lnTo>
                <a:lnTo>
                  <a:pt x="12873" y="8858"/>
                </a:lnTo>
                <a:lnTo>
                  <a:pt x="12654" y="8809"/>
                </a:lnTo>
                <a:lnTo>
                  <a:pt x="12483" y="8785"/>
                </a:lnTo>
                <a:lnTo>
                  <a:pt x="12264" y="8736"/>
                </a:lnTo>
                <a:lnTo>
                  <a:pt x="11826" y="8736"/>
                </a:lnTo>
                <a:lnTo>
                  <a:pt x="11607" y="8809"/>
                </a:lnTo>
                <a:lnTo>
                  <a:pt x="11583" y="8834"/>
                </a:lnTo>
                <a:lnTo>
                  <a:pt x="11583" y="8858"/>
                </a:lnTo>
                <a:lnTo>
                  <a:pt x="11583" y="8882"/>
                </a:lnTo>
                <a:lnTo>
                  <a:pt x="11851" y="8882"/>
                </a:lnTo>
                <a:lnTo>
                  <a:pt x="12094" y="8931"/>
                </a:lnTo>
                <a:lnTo>
                  <a:pt x="12556" y="9053"/>
                </a:lnTo>
                <a:lnTo>
                  <a:pt x="12775" y="9126"/>
                </a:lnTo>
                <a:lnTo>
                  <a:pt x="12654" y="9345"/>
                </a:lnTo>
                <a:lnTo>
                  <a:pt x="12508" y="9296"/>
                </a:lnTo>
                <a:lnTo>
                  <a:pt x="12313" y="9272"/>
                </a:lnTo>
                <a:lnTo>
                  <a:pt x="12143" y="9223"/>
                </a:lnTo>
                <a:lnTo>
                  <a:pt x="11972" y="9199"/>
                </a:lnTo>
                <a:lnTo>
                  <a:pt x="11607" y="9199"/>
                </a:lnTo>
                <a:lnTo>
                  <a:pt x="11583" y="9223"/>
                </a:lnTo>
                <a:lnTo>
                  <a:pt x="11583" y="9247"/>
                </a:lnTo>
                <a:lnTo>
                  <a:pt x="11583" y="9272"/>
                </a:lnTo>
                <a:lnTo>
                  <a:pt x="11924" y="9418"/>
                </a:lnTo>
                <a:lnTo>
                  <a:pt x="12240" y="9564"/>
                </a:lnTo>
                <a:lnTo>
                  <a:pt x="12532" y="9637"/>
                </a:lnTo>
                <a:lnTo>
                  <a:pt x="12337" y="9929"/>
                </a:lnTo>
                <a:lnTo>
                  <a:pt x="12337" y="9977"/>
                </a:lnTo>
                <a:lnTo>
                  <a:pt x="12167" y="9904"/>
                </a:lnTo>
                <a:lnTo>
                  <a:pt x="11997" y="9880"/>
                </a:lnTo>
                <a:lnTo>
                  <a:pt x="11802" y="9831"/>
                </a:lnTo>
                <a:lnTo>
                  <a:pt x="11242" y="9831"/>
                </a:lnTo>
                <a:lnTo>
                  <a:pt x="11218" y="9856"/>
                </a:lnTo>
                <a:lnTo>
                  <a:pt x="11218" y="9880"/>
                </a:lnTo>
                <a:lnTo>
                  <a:pt x="11242" y="9880"/>
                </a:lnTo>
                <a:lnTo>
                  <a:pt x="11534" y="10002"/>
                </a:lnTo>
                <a:lnTo>
                  <a:pt x="11851" y="10123"/>
                </a:lnTo>
                <a:lnTo>
                  <a:pt x="12167" y="10245"/>
                </a:lnTo>
                <a:lnTo>
                  <a:pt x="11972" y="10513"/>
                </a:lnTo>
                <a:lnTo>
                  <a:pt x="11826" y="10488"/>
                </a:lnTo>
                <a:lnTo>
                  <a:pt x="11413" y="10391"/>
                </a:lnTo>
                <a:lnTo>
                  <a:pt x="11023" y="10342"/>
                </a:lnTo>
                <a:lnTo>
                  <a:pt x="10975" y="10342"/>
                </a:lnTo>
                <a:lnTo>
                  <a:pt x="10975" y="10367"/>
                </a:lnTo>
                <a:lnTo>
                  <a:pt x="10975" y="10391"/>
                </a:lnTo>
                <a:lnTo>
                  <a:pt x="10999" y="10440"/>
                </a:lnTo>
                <a:lnTo>
                  <a:pt x="11145" y="10537"/>
                </a:lnTo>
                <a:lnTo>
                  <a:pt x="11315" y="10610"/>
                </a:lnTo>
                <a:lnTo>
                  <a:pt x="11632" y="10732"/>
                </a:lnTo>
                <a:lnTo>
                  <a:pt x="11802" y="10780"/>
                </a:lnTo>
                <a:lnTo>
                  <a:pt x="11656" y="10999"/>
                </a:lnTo>
                <a:lnTo>
                  <a:pt x="11510" y="10951"/>
                </a:lnTo>
                <a:lnTo>
                  <a:pt x="11364" y="10926"/>
                </a:lnTo>
                <a:lnTo>
                  <a:pt x="11072" y="10853"/>
                </a:lnTo>
                <a:lnTo>
                  <a:pt x="10950" y="10853"/>
                </a:lnTo>
                <a:lnTo>
                  <a:pt x="10804" y="10902"/>
                </a:lnTo>
                <a:lnTo>
                  <a:pt x="10780" y="10926"/>
                </a:lnTo>
                <a:lnTo>
                  <a:pt x="10756" y="10951"/>
                </a:lnTo>
                <a:lnTo>
                  <a:pt x="10756" y="10999"/>
                </a:lnTo>
                <a:lnTo>
                  <a:pt x="10780" y="11048"/>
                </a:lnTo>
                <a:lnTo>
                  <a:pt x="10902" y="11121"/>
                </a:lnTo>
                <a:lnTo>
                  <a:pt x="11023" y="11170"/>
                </a:lnTo>
                <a:lnTo>
                  <a:pt x="11267" y="11243"/>
                </a:lnTo>
                <a:lnTo>
                  <a:pt x="11461" y="11291"/>
                </a:lnTo>
                <a:lnTo>
                  <a:pt x="11242" y="11583"/>
                </a:lnTo>
                <a:lnTo>
                  <a:pt x="11072" y="11535"/>
                </a:lnTo>
                <a:lnTo>
                  <a:pt x="10877" y="11535"/>
                </a:lnTo>
                <a:lnTo>
                  <a:pt x="10683" y="11583"/>
                </a:lnTo>
                <a:lnTo>
                  <a:pt x="10658" y="11608"/>
                </a:lnTo>
                <a:lnTo>
                  <a:pt x="10683" y="11632"/>
                </a:lnTo>
                <a:lnTo>
                  <a:pt x="10829" y="11681"/>
                </a:lnTo>
                <a:lnTo>
                  <a:pt x="10975" y="11729"/>
                </a:lnTo>
                <a:lnTo>
                  <a:pt x="11096" y="11778"/>
                </a:lnTo>
                <a:lnTo>
                  <a:pt x="10877" y="12143"/>
                </a:lnTo>
                <a:lnTo>
                  <a:pt x="10829" y="12118"/>
                </a:lnTo>
                <a:lnTo>
                  <a:pt x="10658" y="12045"/>
                </a:lnTo>
                <a:lnTo>
                  <a:pt x="10561" y="11997"/>
                </a:lnTo>
                <a:lnTo>
                  <a:pt x="10464" y="11972"/>
                </a:lnTo>
                <a:lnTo>
                  <a:pt x="10439" y="11997"/>
                </a:lnTo>
                <a:lnTo>
                  <a:pt x="10439" y="12045"/>
                </a:lnTo>
                <a:lnTo>
                  <a:pt x="10488" y="12118"/>
                </a:lnTo>
                <a:lnTo>
                  <a:pt x="10585" y="12191"/>
                </a:lnTo>
                <a:lnTo>
                  <a:pt x="10756" y="12313"/>
                </a:lnTo>
                <a:lnTo>
                  <a:pt x="10561" y="12654"/>
                </a:lnTo>
                <a:lnTo>
                  <a:pt x="10415" y="12629"/>
                </a:lnTo>
                <a:lnTo>
                  <a:pt x="10172" y="12629"/>
                </a:lnTo>
                <a:lnTo>
                  <a:pt x="10026" y="12654"/>
                </a:lnTo>
                <a:lnTo>
                  <a:pt x="10026" y="12678"/>
                </a:lnTo>
                <a:lnTo>
                  <a:pt x="10026" y="12702"/>
                </a:lnTo>
                <a:lnTo>
                  <a:pt x="10245" y="12800"/>
                </a:lnTo>
                <a:lnTo>
                  <a:pt x="10439" y="12897"/>
                </a:lnTo>
                <a:lnTo>
                  <a:pt x="10196" y="13384"/>
                </a:lnTo>
                <a:lnTo>
                  <a:pt x="9880" y="13384"/>
                </a:lnTo>
                <a:lnTo>
                  <a:pt x="9904" y="13432"/>
                </a:lnTo>
                <a:lnTo>
                  <a:pt x="10147" y="13505"/>
                </a:lnTo>
                <a:lnTo>
                  <a:pt x="10074" y="13700"/>
                </a:lnTo>
                <a:lnTo>
                  <a:pt x="10026" y="13895"/>
                </a:lnTo>
                <a:lnTo>
                  <a:pt x="9953" y="14284"/>
                </a:lnTo>
                <a:lnTo>
                  <a:pt x="9880" y="14673"/>
                </a:lnTo>
                <a:lnTo>
                  <a:pt x="9807" y="15087"/>
                </a:lnTo>
                <a:lnTo>
                  <a:pt x="9101" y="15111"/>
                </a:lnTo>
                <a:lnTo>
                  <a:pt x="9247" y="14673"/>
                </a:lnTo>
                <a:lnTo>
                  <a:pt x="9344" y="14235"/>
                </a:lnTo>
                <a:lnTo>
                  <a:pt x="9539" y="13359"/>
                </a:lnTo>
                <a:lnTo>
                  <a:pt x="9734" y="12459"/>
                </a:lnTo>
                <a:lnTo>
                  <a:pt x="9855" y="12021"/>
                </a:lnTo>
                <a:lnTo>
                  <a:pt x="9977" y="11583"/>
                </a:lnTo>
                <a:lnTo>
                  <a:pt x="10269" y="10659"/>
                </a:lnTo>
                <a:lnTo>
                  <a:pt x="10537" y="9734"/>
                </a:lnTo>
                <a:lnTo>
                  <a:pt x="10658" y="9320"/>
                </a:lnTo>
                <a:lnTo>
                  <a:pt x="10756" y="8858"/>
                </a:lnTo>
                <a:lnTo>
                  <a:pt x="10780" y="8639"/>
                </a:lnTo>
                <a:lnTo>
                  <a:pt x="10780" y="8396"/>
                </a:lnTo>
                <a:lnTo>
                  <a:pt x="10756" y="8177"/>
                </a:lnTo>
                <a:lnTo>
                  <a:pt x="10707" y="7958"/>
                </a:lnTo>
                <a:lnTo>
                  <a:pt x="10683" y="7933"/>
                </a:lnTo>
                <a:lnTo>
                  <a:pt x="10634" y="7933"/>
                </a:lnTo>
                <a:lnTo>
                  <a:pt x="10610" y="7958"/>
                </a:lnTo>
                <a:lnTo>
                  <a:pt x="10537" y="8177"/>
                </a:lnTo>
                <a:lnTo>
                  <a:pt x="10464" y="8420"/>
                </a:lnTo>
                <a:lnTo>
                  <a:pt x="10366" y="8882"/>
                </a:lnTo>
                <a:lnTo>
                  <a:pt x="10293" y="9369"/>
                </a:lnTo>
                <a:lnTo>
                  <a:pt x="10172" y="9831"/>
                </a:lnTo>
                <a:lnTo>
                  <a:pt x="9904" y="10756"/>
                </a:lnTo>
                <a:lnTo>
                  <a:pt x="9588" y="11656"/>
                </a:lnTo>
                <a:lnTo>
                  <a:pt x="9466" y="12094"/>
                </a:lnTo>
                <a:lnTo>
                  <a:pt x="9369" y="12532"/>
                </a:lnTo>
                <a:lnTo>
                  <a:pt x="9174" y="13384"/>
                </a:lnTo>
                <a:lnTo>
                  <a:pt x="8979" y="14260"/>
                </a:lnTo>
                <a:lnTo>
                  <a:pt x="8858" y="14698"/>
                </a:lnTo>
                <a:lnTo>
                  <a:pt x="8736" y="15111"/>
                </a:lnTo>
                <a:lnTo>
                  <a:pt x="8128" y="15136"/>
                </a:lnTo>
                <a:lnTo>
                  <a:pt x="7519" y="15087"/>
                </a:lnTo>
                <a:lnTo>
                  <a:pt x="7179" y="15063"/>
                </a:lnTo>
                <a:lnTo>
                  <a:pt x="7154" y="15038"/>
                </a:lnTo>
                <a:lnTo>
                  <a:pt x="7081" y="14698"/>
                </a:lnTo>
                <a:lnTo>
                  <a:pt x="7033" y="14357"/>
                </a:lnTo>
                <a:lnTo>
                  <a:pt x="6935" y="13651"/>
                </a:lnTo>
                <a:lnTo>
                  <a:pt x="6765" y="12605"/>
                </a:lnTo>
                <a:lnTo>
                  <a:pt x="6570" y="11583"/>
                </a:lnTo>
                <a:lnTo>
                  <a:pt x="6230" y="9880"/>
                </a:lnTo>
                <a:lnTo>
                  <a:pt x="6060" y="9028"/>
                </a:lnTo>
                <a:lnTo>
                  <a:pt x="5841" y="8177"/>
                </a:lnTo>
                <a:lnTo>
                  <a:pt x="5816" y="8152"/>
                </a:lnTo>
                <a:lnTo>
                  <a:pt x="5768" y="8128"/>
                </a:lnTo>
                <a:lnTo>
                  <a:pt x="5743" y="8128"/>
                </a:lnTo>
                <a:lnTo>
                  <a:pt x="5695" y="8152"/>
                </a:lnTo>
                <a:lnTo>
                  <a:pt x="5646" y="8298"/>
                </a:lnTo>
                <a:lnTo>
                  <a:pt x="5646" y="8420"/>
                </a:lnTo>
                <a:lnTo>
                  <a:pt x="5646" y="8542"/>
                </a:lnTo>
                <a:lnTo>
                  <a:pt x="5646" y="8663"/>
                </a:lnTo>
                <a:lnTo>
                  <a:pt x="5719" y="8931"/>
                </a:lnTo>
                <a:lnTo>
                  <a:pt x="5768" y="9199"/>
                </a:lnTo>
                <a:lnTo>
                  <a:pt x="5865" y="9734"/>
                </a:lnTo>
                <a:lnTo>
                  <a:pt x="5962" y="10245"/>
                </a:lnTo>
                <a:lnTo>
                  <a:pt x="6035" y="10780"/>
                </a:lnTo>
                <a:lnTo>
                  <a:pt x="6133" y="11316"/>
                </a:lnTo>
                <a:lnTo>
                  <a:pt x="6327" y="12337"/>
                </a:lnTo>
                <a:lnTo>
                  <a:pt x="6522" y="13384"/>
                </a:lnTo>
                <a:lnTo>
                  <a:pt x="6570" y="13773"/>
                </a:lnTo>
                <a:lnTo>
                  <a:pt x="6619" y="14211"/>
                </a:lnTo>
                <a:lnTo>
                  <a:pt x="6668" y="14625"/>
                </a:lnTo>
                <a:lnTo>
                  <a:pt x="6716" y="14819"/>
                </a:lnTo>
                <a:lnTo>
                  <a:pt x="6765" y="15014"/>
                </a:lnTo>
                <a:lnTo>
                  <a:pt x="6497" y="15038"/>
                </a:lnTo>
                <a:lnTo>
                  <a:pt x="6473" y="14625"/>
                </a:lnTo>
                <a:lnTo>
                  <a:pt x="6400" y="14235"/>
                </a:lnTo>
                <a:lnTo>
                  <a:pt x="6279" y="13846"/>
                </a:lnTo>
                <a:lnTo>
                  <a:pt x="6133" y="13481"/>
                </a:lnTo>
                <a:lnTo>
                  <a:pt x="5938" y="13116"/>
                </a:lnTo>
                <a:lnTo>
                  <a:pt x="5743" y="12775"/>
                </a:lnTo>
                <a:lnTo>
                  <a:pt x="5281" y="12070"/>
                </a:lnTo>
                <a:lnTo>
                  <a:pt x="4746" y="11267"/>
                </a:lnTo>
                <a:lnTo>
                  <a:pt x="4210" y="10415"/>
                </a:lnTo>
                <a:lnTo>
                  <a:pt x="3967" y="9977"/>
                </a:lnTo>
                <a:lnTo>
                  <a:pt x="3724" y="9539"/>
                </a:lnTo>
                <a:lnTo>
                  <a:pt x="3529" y="9077"/>
                </a:lnTo>
                <a:lnTo>
                  <a:pt x="3359" y="8615"/>
                </a:lnTo>
                <a:lnTo>
                  <a:pt x="3286" y="8396"/>
                </a:lnTo>
                <a:lnTo>
                  <a:pt x="3261" y="8152"/>
                </a:lnTo>
                <a:lnTo>
                  <a:pt x="3237" y="7909"/>
                </a:lnTo>
                <a:lnTo>
                  <a:pt x="3237" y="7666"/>
                </a:lnTo>
                <a:lnTo>
                  <a:pt x="3261" y="7155"/>
                </a:lnTo>
                <a:lnTo>
                  <a:pt x="3310" y="6668"/>
                </a:lnTo>
                <a:lnTo>
                  <a:pt x="3334" y="6376"/>
                </a:lnTo>
                <a:lnTo>
                  <a:pt x="3407" y="6108"/>
                </a:lnTo>
                <a:lnTo>
                  <a:pt x="3480" y="5841"/>
                </a:lnTo>
                <a:lnTo>
                  <a:pt x="3578" y="5597"/>
                </a:lnTo>
                <a:lnTo>
                  <a:pt x="3699" y="5354"/>
                </a:lnTo>
                <a:lnTo>
                  <a:pt x="3845" y="5111"/>
                </a:lnTo>
                <a:lnTo>
                  <a:pt x="4016" y="4892"/>
                </a:lnTo>
                <a:lnTo>
                  <a:pt x="4186" y="4673"/>
                </a:lnTo>
                <a:lnTo>
                  <a:pt x="4648" y="4162"/>
                </a:lnTo>
                <a:lnTo>
                  <a:pt x="5062" y="3748"/>
                </a:lnTo>
                <a:lnTo>
                  <a:pt x="5403" y="3432"/>
                </a:lnTo>
                <a:lnTo>
                  <a:pt x="5743" y="3189"/>
                </a:lnTo>
                <a:lnTo>
                  <a:pt x="6060" y="3018"/>
                </a:lnTo>
                <a:lnTo>
                  <a:pt x="6352" y="2872"/>
                </a:lnTo>
                <a:lnTo>
                  <a:pt x="6668" y="2775"/>
                </a:lnTo>
                <a:lnTo>
                  <a:pt x="6984" y="2702"/>
                </a:lnTo>
                <a:lnTo>
                  <a:pt x="7276" y="2653"/>
                </a:lnTo>
                <a:lnTo>
                  <a:pt x="7568" y="2629"/>
                </a:lnTo>
                <a:lnTo>
                  <a:pt x="7860" y="2605"/>
                </a:lnTo>
                <a:close/>
                <a:moveTo>
                  <a:pt x="6716" y="15525"/>
                </a:moveTo>
                <a:lnTo>
                  <a:pt x="6619" y="15720"/>
                </a:lnTo>
                <a:lnTo>
                  <a:pt x="6352" y="16158"/>
                </a:lnTo>
                <a:lnTo>
                  <a:pt x="6279" y="16109"/>
                </a:lnTo>
                <a:lnTo>
                  <a:pt x="6230" y="16060"/>
                </a:lnTo>
                <a:lnTo>
                  <a:pt x="6206" y="15963"/>
                </a:lnTo>
                <a:lnTo>
                  <a:pt x="6206" y="15866"/>
                </a:lnTo>
                <a:lnTo>
                  <a:pt x="6206" y="15768"/>
                </a:lnTo>
                <a:lnTo>
                  <a:pt x="6230" y="15695"/>
                </a:lnTo>
                <a:lnTo>
                  <a:pt x="6279" y="15598"/>
                </a:lnTo>
                <a:lnTo>
                  <a:pt x="6327" y="15549"/>
                </a:lnTo>
                <a:lnTo>
                  <a:pt x="6595" y="15525"/>
                </a:lnTo>
                <a:close/>
                <a:moveTo>
                  <a:pt x="6887" y="15525"/>
                </a:moveTo>
                <a:lnTo>
                  <a:pt x="7276" y="15549"/>
                </a:lnTo>
                <a:lnTo>
                  <a:pt x="7641" y="15598"/>
                </a:lnTo>
                <a:lnTo>
                  <a:pt x="8225" y="15647"/>
                </a:lnTo>
                <a:lnTo>
                  <a:pt x="8809" y="15671"/>
                </a:lnTo>
                <a:lnTo>
                  <a:pt x="8541" y="15963"/>
                </a:lnTo>
                <a:lnTo>
                  <a:pt x="8298" y="16255"/>
                </a:lnTo>
                <a:lnTo>
                  <a:pt x="7909" y="16231"/>
                </a:lnTo>
                <a:lnTo>
                  <a:pt x="8249" y="15744"/>
                </a:lnTo>
                <a:lnTo>
                  <a:pt x="8249" y="15720"/>
                </a:lnTo>
                <a:lnTo>
                  <a:pt x="8225" y="15695"/>
                </a:lnTo>
                <a:lnTo>
                  <a:pt x="8201" y="15671"/>
                </a:lnTo>
                <a:lnTo>
                  <a:pt x="8176" y="15695"/>
                </a:lnTo>
                <a:lnTo>
                  <a:pt x="7690" y="16231"/>
                </a:lnTo>
                <a:lnTo>
                  <a:pt x="7179" y="16182"/>
                </a:lnTo>
                <a:lnTo>
                  <a:pt x="7325" y="15939"/>
                </a:lnTo>
                <a:lnTo>
                  <a:pt x="7471" y="15671"/>
                </a:lnTo>
                <a:lnTo>
                  <a:pt x="7471" y="15647"/>
                </a:lnTo>
                <a:lnTo>
                  <a:pt x="7446" y="15622"/>
                </a:lnTo>
                <a:lnTo>
                  <a:pt x="7422" y="15647"/>
                </a:lnTo>
                <a:lnTo>
                  <a:pt x="7203" y="15890"/>
                </a:lnTo>
                <a:lnTo>
                  <a:pt x="6935" y="16182"/>
                </a:lnTo>
                <a:lnTo>
                  <a:pt x="6741" y="16206"/>
                </a:lnTo>
                <a:lnTo>
                  <a:pt x="6570" y="16255"/>
                </a:lnTo>
                <a:lnTo>
                  <a:pt x="6668" y="16060"/>
                </a:lnTo>
                <a:lnTo>
                  <a:pt x="6814" y="15817"/>
                </a:lnTo>
                <a:lnTo>
                  <a:pt x="6862" y="15671"/>
                </a:lnTo>
                <a:lnTo>
                  <a:pt x="6887" y="15525"/>
                </a:lnTo>
                <a:close/>
                <a:moveTo>
                  <a:pt x="9661" y="15622"/>
                </a:moveTo>
                <a:lnTo>
                  <a:pt x="9734" y="15671"/>
                </a:lnTo>
                <a:lnTo>
                  <a:pt x="9807" y="15695"/>
                </a:lnTo>
                <a:lnTo>
                  <a:pt x="9953" y="15695"/>
                </a:lnTo>
                <a:lnTo>
                  <a:pt x="9782" y="15793"/>
                </a:lnTo>
                <a:lnTo>
                  <a:pt x="9661" y="15939"/>
                </a:lnTo>
                <a:lnTo>
                  <a:pt x="9539" y="16085"/>
                </a:lnTo>
                <a:lnTo>
                  <a:pt x="9417" y="16279"/>
                </a:lnTo>
                <a:lnTo>
                  <a:pt x="9271" y="16279"/>
                </a:lnTo>
                <a:lnTo>
                  <a:pt x="9612" y="15817"/>
                </a:lnTo>
                <a:lnTo>
                  <a:pt x="9612" y="15793"/>
                </a:lnTo>
                <a:lnTo>
                  <a:pt x="9612" y="15768"/>
                </a:lnTo>
                <a:lnTo>
                  <a:pt x="9563" y="15768"/>
                </a:lnTo>
                <a:lnTo>
                  <a:pt x="9320" y="16012"/>
                </a:lnTo>
                <a:lnTo>
                  <a:pt x="9077" y="16255"/>
                </a:lnTo>
                <a:lnTo>
                  <a:pt x="8517" y="16255"/>
                </a:lnTo>
                <a:lnTo>
                  <a:pt x="8882" y="15720"/>
                </a:lnTo>
                <a:lnTo>
                  <a:pt x="8906" y="15695"/>
                </a:lnTo>
                <a:lnTo>
                  <a:pt x="8882" y="15671"/>
                </a:lnTo>
                <a:lnTo>
                  <a:pt x="9271" y="15671"/>
                </a:lnTo>
                <a:lnTo>
                  <a:pt x="9661" y="15622"/>
                </a:lnTo>
                <a:close/>
                <a:moveTo>
                  <a:pt x="10074" y="15768"/>
                </a:moveTo>
                <a:lnTo>
                  <a:pt x="10074" y="15841"/>
                </a:lnTo>
                <a:lnTo>
                  <a:pt x="10099" y="15939"/>
                </a:lnTo>
                <a:lnTo>
                  <a:pt x="10074" y="16060"/>
                </a:lnTo>
                <a:lnTo>
                  <a:pt x="10050" y="16182"/>
                </a:lnTo>
                <a:lnTo>
                  <a:pt x="9977" y="16304"/>
                </a:lnTo>
                <a:lnTo>
                  <a:pt x="9758" y="16279"/>
                </a:lnTo>
                <a:lnTo>
                  <a:pt x="9880" y="16012"/>
                </a:lnTo>
                <a:lnTo>
                  <a:pt x="9977" y="15890"/>
                </a:lnTo>
                <a:lnTo>
                  <a:pt x="10074" y="15768"/>
                </a:lnTo>
                <a:close/>
                <a:moveTo>
                  <a:pt x="6522" y="16571"/>
                </a:moveTo>
                <a:lnTo>
                  <a:pt x="6595" y="16620"/>
                </a:lnTo>
                <a:lnTo>
                  <a:pt x="6424" y="16888"/>
                </a:lnTo>
                <a:lnTo>
                  <a:pt x="6376" y="17034"/>
                </a:lnTo>
                <a:lnTo>
                  <a:pt x="6327" y="17180"/>
                </a:lnTo>
                <a:lnTo>
                  <a:pt x="6254" y="17082"/>
                </a:lnTo>
                <a:lnTo>
                  <a:pt x="6230" y="16985"/>
                </a:lnTo>
                <a:lnTo>
                  <a:pt x="6206" y="16912"/>
                </a:lnTo>
                <a:lnTo>
                  <a:pt x="6230" y="16815"/>
                </a:lnTo>
                <a:lnTo>
                  <a:pt x="6254" y="16839"/>
                </a:lnTo>
                <a:lnTo>
                  <a:pt x="6303" y="16839"/>
                </a:lnTo>
                <a:lnTo>
                  <a:pt x="6352" y="16815"/>
                </a:lnTo>
                <a:lnTo>
                  <a:pt x="6376" y="16766"/>
                </a:lnTo>
                <a:lnTo>
                  <a:pt x="6424" y="16596"/>
                </a:lnTo>
                <a:lnTo>
                  <a:pt x="6449" y="16596"/>
                </a:lnTo>
                <a:lnTo>
                  <a:pt x="6522" y="16571"/>
                </a:lnTo>
                <a:close/>
                <a:moveTo>
                  <a:pt x="7884" y="16693"/>
                </a:moveTo>
                <a:lnTo>
                  <a:pt x="7957" y="16717"/>
                </a:lnTo>
                <a:lnTo>
                  <a:pt x="7787" y="16985"/>
                </a:lnTo>
                <a:lnTo>
                  <a:pt x="7617" y="17253"/>
                </a:lnTo>
                <a:lnTo>
                  <a:pt x="7592" y="17326"/>
                </a:lnTo>
                <a:lnTo>
                  <a:pt x="7300" y="17326"/>
                </a:lnTo>
                <a:lnTo>
                  <a:pt x="7398" y="17107"/>
                </a:lnTo>
                <a:lnTo>
                  <a:pt x="7519" y="16888"/>
                </a:lnTo>
                <a:lnTo>
                  <a:pt x="7617" y="16717"/>
                </a:lnTo>
                <a:lnTo>
                  <a:pt x="7884" y="16693"/>
                </a:lnTo>
                <a:close/>
                <a:moveTo>
                  <a:pt x="8225" y="16717"/>
                </a:moveTo>
                <a:lnTo>
                  <a:pt x="8736" y="16742"/>
                </a:lnTo>
                <a:lnTo>
                  <a:pt x="8541" y="17034"/>
                </a:lnTo>
                <a:lnTo>
                  <a:pt x="8371" y="17326"/>
                </a:lnTo>
                <a:lnTo>
                  <a:pt x="7909" y="17326"/>
                </a:lnTo>
                <a:lnTo>
                  <a:pt x="7933" y="17277"/>
                </a:lnTo>
                <a:lnTo>
                  <a:pt x="8225" y="16717"/>
                </a:lnTo>
                <a:close/>
                <a:moveTo>
                  <a:pt x="9223" y="16742"/>
                </a:moveTo>
                <a:lnTo>
                  <a:pt x="8979" y="17350"/>
                </a:lnTo>
                <a:lnTo>
                  <a:pt x="8663" y="17350"/>
                </a:lnTo>
                <a:lnTo>
                  <a:pt x="8979" y="16742"/>
                </a:lnTo>
                <a:close/>
                <a:moveTo>
                  <a:pt x="9928" y="16742"/>
                </a:moveTo>
                <a:lnTo>
                  <a:pt x="9661" y="17253"/>
                </a:lnTo>
                <a:lnTo>
                  <a:pt x="9612" y="17350"/>
                </a:lnTo>
                <a:lnTo>
                  <a:pt x="9320" y="17350"/>
                </a:lnTo>
                <a:lnTo>
                  <a:pt x="9563" y="16742"/>
                </a:lnTo>
                <a:close/>
                <a:moveTo>
                  <a:pt x="10147" y="16839"/>
                </a:moveTo>
                <a:lnTo>
                  <a:pt x="10220" y="16961"/>
                </a:lnTo>
                <a:lnTo>
                  <a:pt x="10245" y="17107"/>
                </a:lnTo>
                <a:lnTo>
                  <a:pt x="10220" y="17228"/>
                </a:lnTo>
                <a:lnTo>
                  <a:pt x="10147" y="17350"/>
                </a:lnTo>
                <a:lnTo>
                  <a:pt x="9928" y="17350"/>
                </a:lnTo>
                <a:lnTo>
                  <a:pt x="9953" y="17277"/>
                </a:lnTo>
                <a:lnTo>
                  <a:pt x="10050" y="17082"/>
                </a:lnTo>
                <a:lnTo>
                  <a:pt x="10147" y="16839"/>
                </a:lnTo>
                <a:close/>
                <a:moveTo>
                  <a:pt x="6862" y="16693"/>
                </a:moveTo>
                <a:lnTo>
                  <a:pt x="7081" y="16717"/>
                </a:lnTo>
                <a:lnTo>
                  <a:pt x="7300" y="16717"/>
                </a:lnTo>
                <a:lnTo>
                  <a:pt x="7106" y="17009"/>
                </a:lnTo>
                <a:lnTo>
                  <a:pt x="6935" y="17326"/>
                </a:lnTo>
                <a:lnTo>
                  <a:pt x="6741" y="17350"/>
                </a:lnTo>
                <a:lnTo>
                  <a:pt x="6570" y="17399"/>
                </a:lnTo>
                <a:lnTo>
                  <a:pt x="6619" y="17204"/>
                </a:lnTo>
                <a:lnTo>
                  <a:pt x="6692" y="17034"/>
                </a:lnTo>
                <a:lnTo>
                  <a:pt x="6862" y="16693"/>
                </a:lnTo>
                <a:close/>
                <a:moveTo>
                  <a:pt x="6473" y="17618"/>
                </a:moveTo>
                <a:lnTo>
                  <a:pt x="6643" y="17691"/>
                </a:lnTo>
                <a:lnTo>
                  <a:pt x="6814" y="17715"/>
                </a:lnTo>
                <a:lnTo>
                  <a:pt x="6789" y="17910"/>
                </a:lnTo>
                <a:lnTo>
                  <a:pt x="6765" y="18080"/>
                </a:lnTo>
                <a:lnTo>
                  <a:pt x="6643" y="17983"/>
                </a:lnTo>
                <a:lnTo>
                  <a:pt x="6546" y="17861"/>
                </a:lnTo>
                <a:lnTo>
                  <a:pt x="6352" y="17642"/>
                </a:lnTo>
                <a:lnTo>
                  <a:pt x="6376" y="17618"/>
                </a:lnTo>
                <a:lnTo>
                  <a:pt x="6424" y="17642"/>
                </a:lnTo>
                <a:lnTo>
                  <a:pt x="6473" y="17618"/>
                </a:lnTo>
                <a:close/>
                <a:moveTo>
                  <a:pt x="7398" y="17739"/>
                </a:moveTo>
                <a:lnTo>
                  <a:pt x="7300" y="18031"/>
                </a:lnTo>
                <a:lnTo>
                  <a:pt x="7252" y="18177"/>
                </a:lnTo>
                <a:lnTo>
                  <a:pt x="7252" y="18299"/>
                </a:lnTo>
                <a:lnTo>
                  <a:pt x="7008" y="18202"/>
                </a:lnTo>
                <a:lnTo>
                  <a:pt x="7154" y="17739"/>
                </a:lnTo>
                <a:close/>
                <a:moveTo>
                  <a:pt x="8833" y="17715"/>
                </a:moveTo>
                <a:lnTo>
                  <a:pt x="8785" y="17837"/>
                </a:lnTo>
                <a:lnTo>
                  <a:pt x="8736" y="17983"/>
                </a:lnTo>
                <a:lnTo>
                  <a:pt x="8712" y="18104"/>
                </a:lnTo>
                <a:lnTo>
                  <a:pt x="8736" y="18153"/>
                </a:lnTo>
                <a:lnTo>
                  <a:pt x="8736" y="18202"/>
                </a:lnTo>
                <a:lnTo>
                  <a:pt x="8809" y="18250"/>
                </a:lnTo>
                <a:lnTo>
                  <a:pt x="8882" y="18250"/>
                </a:lnTo>
                <a:lnTo>
                  <a:pt x="8931" y="18226"/>
                </a:lnTo>
                <a:lnTo>
                  <a:pt x="9004" y="18153"/>
                </a:lnTo>
                <a:lnTo>
                  <a:pt x="9125" y="17958"/>
                </a:lnTo>
                <a:lnTo>
                  <a:pt x="9198" y="17739"/>
                </a:lnTo>
                <a:lnTo>
                  <a:pt x="9393" y="17739"/>
                </a:lnTo>
                <a:lnTo>
                  <a:pt x="9369" y="17861"/>
                </a:lnTo>
                <a:lnTo>
                  <a:pt x="9369" y="18007"/>
                </a:lnTo>
                <a:lnTo>
                  <a:pt x="9125" y="18153"/>
                </a:lnTo>
                <a:lnTo>
                  <a:pt x="8833" y="18275"/>
                </a:lnTo>
                <a:lnTo>
                  <a:pt x="8566" y="18372"/>
                </a:lnTo>
                <a:lnTo>
                  <a:pt x="8249" y="18421"/>
                </a:lnTo>
                <a:lnTo>
                  <a:pt x="8274" y="18275"/>
                </a:lnTo>
                <a:lnTo>
                  <a:pt x="8371" y="17983"/>
                </a:lnTo>
                <a:lnTo>
                  <a:pt x="8468" y="17715"/>
                </a:lnTo>
                <a:close/>
                <a:moveTo>
                  <a:pt x="8176" y="17715"/>
                </a:moveTo>
                <a:lnTo>
                  <a:pt x="8030" y="18056"/>
                </a:lnTo>
                <a:lnTo>
                  <a:pt x="7957" y="18250"/>
                </a:lnTo>
                <a:lnTo>
                  <a:pt x="7933" y="18445"/>
                </a:lnTo>
                <a:lnTo>
                  <a:pt x="7738" y="18421"/>
                </a:lnTo>
                <a:lnTo>
                  <a:pt x="7568" y="18396"/>
                </a:lnTo>
                <a:lnTo>
                  <a:pt x="7568" y="18226"/>
                </a:lnTo>
                <a:lnTo>
                  <a:pt x="7641" y="17983"/>
                </a:lnTo>
                <a:lnTo>
                  <a:pt x="7738" y="17715"/>
                </a:lnTo>
                <a:close/>
                <a:moveTo>
                  <a:pt x="8128" y="2094"/>
                </a:moveTo>
                <a:lnTo>
                  <a:pt x="7714" y="2142"/>
                </a:lnTo>
                <a:lnTo>
                  <a:pt x="7325" y="2191"/>
                </a:lnTo>
                <a:lnTo>
                  <a:pt x="6935" y="2264"/>
                </a:lnTo>
                <a:lnTo>
                  <a:pt x="6546" y="2386"/>
                </a:lnTo>
                <a:lnTo>
                  <a:pt x="6181" y="2507"/>
                </a:lnTo>
                <a:lnTo>
                  <a:pt x="5841" y="2653"/>
                </a:lnTo>
                <a:lnTo>
                  <a:pt x="5500" y="2824"/>
                </a:lnTo>
                <a:lnTo>
                  <a:pt x="5184" y="3018"/>
                </a:lnTo>
                <a:lnTo>
                  <a:pt x="4892" y="3237"/>
                </a:lnTo>
                <a:lnTo>
                  <a:pt x="4551" y="3554"/>
                </a:lnTo>
                <a:lnTo>
                  <a:pt x="4210" y="3918"/>
                </a:lnTo>
                <a:lnTo>
                  <a:pt x="3918" y="4332"/>
                </a:lnTo>
                <a:lnTo>
                  <a:pt x="3626" y="4746"/>
                </a:lnTo>
                <a:lnTo>
                  <a:pt x="3383" y="5159"/>
                </a:lnTo>
                <a:lnTo>
                  <a:pt x="3164" y="5549"/>
                </a:lnTo>
                <a:lnTo>
                  <a:pt x="3018" y="5889"/>
                </a:lnTo>
                <a:lnTo>
                  <a:pt x="2921" y="6157"/>
                </a:lnTo>
                <a:lnTo>
                  <a:pt x="2823" y="6595"/>
                </a:lnTo>
                <a:lnTo>
                  <a:pt x="2775" y="7057"/>
                </a:lnTo>
                <a:lnTo>
                  <a:pt x="2750" y="7495"/>
                </a:lnTo>
                <a:lnTo>
                  <a:pt x="2775" y="7958"/>
                </a:lnTo>
                <a:lnTo>
                  <a:pt x="2823" y="8396"/>
                </a:lnTo>
                <a:lnTo>
                  <a:pt x="2921" y="8834"/>
                </a:lnTo>
                <a:lnTo>
                  <a:pt x="3067" y="9272"/>
                </a:lnTo>
                <a:lnTo>
                  <a:pt x="3237" y="9685"/>
                </a:lnTo>
                <a:lnTo>
                  <a:pt x="3602" y="10367"/>
                </a:lnTo>
                <a:lnTo>
                  <a:pt x="3991" y="11024"/>
                </a:lnTo>
                <a:lnTo>
                  <a:pt x="4843" y="12337"/>
                </a:lnTo>
                <a:lnTo>
                  <a:pt x="5281" y="13019"/>
                </a:lnTo>
                <a:lnTo>
                  <a:pt x="5476" y="13384"/>
                </a:lnTo>
                <a:lnTo>
                  <a:pt x="5646" y="13724"/>
                </a:lnTo>
                <a:lnTo>
                  <a:pt x="5792" y="14089"/>
                </a:lnTo>
                <a:lnTo>
                  <a:pt x="5914" y="14454"/>
                </a:lnTo>
                <a:lnTo>
                  <a:pt x="5987" y="14844"/>
                </a:lnTo>
                <a:lnTo>
                  <a:pt x="5987" y="15282"/>
                </a:lnTo>
                <a:lnTo>
                  <a:pt x="5962" y="15379"/>
                </a:lnTo>
                <a:lnTo>
                  <a:pt x="5962" y="15428"/>
                </a:lnTo>
                <a:lnTo>
                  <a:pt x="5889" y="15525"/>
                </a:lnTo>
                <a:lnTo>
                  <a:pt x="5841" y="15647"/>
                </a:lnTo>
                <a:lnTo>
                  <a:pt x="5816" y="15768"/>
                </a:lnTo>
                <a:lnTo>
                  <a:pt x="5792" y="15914"/>
                </a:lnTo>
                <a:lnTo>
                  <a:pt x="5816" y="16036"/>
                </a:lnTo>
                <a:lnTo>
                  <a:pt x="5841" y="16158"/>
                </a:lnTo>
                <a:lnTo>
                  <a:pt x="5889" y="16279"/>
                </a:lnTo>
                <a:lnTo>
                  <a:pt x="5962" y="16377"/>
                </a:lnTo>
                <a:lnTo>
                  <a:pt x="5865" y="16474"/>
                </a:lnTo>
                <a:lnTo>
                  <a:pt x="5792" y="16620"/>
                </a:lnTo>
                <a:lnTo>
                  <a:pt x="5768" y="16766"/>
                </a:lnTo>
                <a:lnTo>
                  <a:pt x="5768" y="16912"/>
                </a:lnTo>
                <a:lnTo>
                  <a:pt x="5768" y="17058"/>
                </a:lnTo>
                <a:lnTo>
                  <a:pt x="5816" y="17204"/>
                </a:lnTo>
                <a:lnTo>
                  <a:pt x="5889" y="17350"/>
                </a:lnTo>
                <a:lnTo>
                  <a:pt x="5987" y="17472"/>
                </a:lnTo>
                <a:lnTo>
                  <a:pt x="5962" y="17496"/>
                </a:lnTo>
                <a:lnTo>
                  <a:pt x="5914" y="17618"/>
                </a:lnTo>
                <a:lnTo>
                  <a:pt x="5914" y="17715"/>
                </a:lnTo>
                <a:lnTo>
                  <a:pt x="5938" y="17837"/>
                </a:lnTo>
                <a:lnTo>
                  <a:pt x="5987" y="17934"/>
                </a:lnTo>
                <a:lnTo>
                  <a:pt x="6133" y="18129"/>
                </a:lnTo>
                <a:lnTo>
                  <a:pt x="6303" y="18299"/>
                </a:lnTo>
                <a:lnTo>
                  <a:pt x="6424" y="18421"/>
                </a:lnTo>
                <a:lnTo>
                  <a:pt x="6570" y="18518"/>
                </a:lnTo>
                <a:lnTo>
                  <a:pt x="6862" y="18688"/>
                </a:lnTo>
                <a:lnTo>
                  <a:pt x="7179" y="18810"/>
                </a:lnTo>
                <a:lnTo>
                  <a:pt x="7495" y="18859"/>
                </a:lnTo>
                <a:lnTo>
                  <a:pt x="7738" y="18883"/>
                </a:lnTo>
                <a:lnTo>
                  <a:pt x="7982" y="18883"/>
                </a:lnTo>
                <a:lnTo>
                  <a:pt x="8030" y="18956"/>
                </a:lnTo>
                <a:lnTo>
                  <a:pt x="8079" y="18980"/>
                </a:lnTo>
                <a:lnTo>
                  <a:pt x="8128" y="18980"/>
                </a:lnTo>
                <a:lnTo>
                  <a:pt x="8176" y="18956"/>
                </a:lnTo>
                <a:lnTo>
                  <a:pt x="8201" y="18907"/>
                </a:lnTo>
                <a:lnTo>
                  <a:pt x="8201" y="18883"/>
                </a:lnTo>
                <a:lnTo>
                  <a:pt x="8493" y="18834"/>
                </a:lnTo>
                <a:lnTo>
                  <a:pt x="8785" y="18761"/>
                </a:lnTo>
                <a:lnTo>
                  <a:pt x="9052" y="18664"/>
                </a:lnTo>
                <a:lnTo>
                  <a:pt x="9320" y="18542"/>
                </a:lnTo>
                <a:lnTo>
                  <a:pt x="9563" y="18396"/>
                </a:lnTo>
                <a:lnTo>
                  <a:pt x="9807" y="18226"/>
                </a:lnTo>
                <a:lnTo>
                  <a:pt x="10050" y="18056"/>
                </a:lnTo>
                <a:lnTo>
                  <a:pt x="10269" y="17837"/>
                </a:lnTo>
                <a:lnTo>
                  <a:pt x="10318" y="17764"/>
                </a:lnTo>
                <a:lnTo>
                  <a:pt x="10342" y="17691"/>
                </a:lnTo>
                <a:lnTo>
                  <a:pt x="10464" y="17593"/>
                </a:lnTo>
                <a:lnTo>
                  <a:pt x="10537" y="17447"/>
                </a:lnTo>
                <a:lnTo>
                  <a:pt x="10585" y="17301"/>
                </a:lnTo>
                <a:lnTo>
                  <a:pt x="10634" y="17107"/>
                </a:lnTo>
                <a:lnTo>
                  <a:pt x="10634" y="16936"/>
                </a:lnTo>
                <a:lnTo>
                  <a:pt x="10585" y="16742"/>
                </a:lnTo>
                <a:lnTo>
                  <a:pt x="10512" y="16596"/>
                </a:lnTo>
                <a:lnTo>
                  <a:pt x="10391" y="16474"/>
                </a:lnTo>
                <a:lnTo>
                  <a:pt x="10488" y="16255"/>
                </a:lnTo>
                <a:lnTo>
                  <a:pt x="10537" y="16036"/>
                </a:lnTo>
                <a:lnTo>
                  <a:pt x="10537" y="15817"/>
                </a:lnTo>
                <a:lnTo>
                  <a:pt x="10488" y="15574"/>
                </a:lnTo>
                <a:lnTo>
                  <a:pt x="10415" y="15476"/>
                </a:lnTo>
                <a:lnTo>
                  <a:pt x="10342" y="15379"/>
                </a:lnTo>
                <a:lnTo>
                  <a:pt x="10342" y="15306"/>
                </a:lnTo>
                <a:lnTo>
                  <a:pt x="10415" y="14965"/>
                </a:lnTo>
                <a:lnTo>
                  <a:pt x="10464" y="14625"/>
                </a:lnTo>
                <a:lnTo>
                  <a:pt x="10512" y="14284"/>
                </a:lnTo>
                <a:lnTo>
                  <a:pt x="10585" y="13943"/>
                </a:lnTo>
                <a:lnTo>
                  <a:pt x="10658" y="13700"/>
                </a:lnTo>
                <a:lnTo>
                  <a:pt x="10756" y="13457"/>
                </a:lnTo>
                <a:lnTo>
                  <a:pt x="10999" y="12994"/>
                </a:lnTo>
                <a:lnTo>
                  <a:pt x="11023" y="12970"/>
                </a:lnTo>
                <a:lnTo>
                  <a:pt x="11023" y="12946"/>
                </a:lnTo>
                <a:lnTo>
                  <a:pt x="11340" y="12459"/>
                </a:lnTo>
                <a:lnTo>
                  <a:pt x="11632" y="11972"/>
                </a:lnTo>
                <a:lnTo>
                  <a:pt x="12191" y="11194"/>
                </a:lnTo>
                <a:lnTo>
                  <a:pt x="12483" y="10780"/>
                </a:lnTo>
                <a:lnTo>
                  <a:pt x="12751" y="10367"/>
                </a:lnTo>
                <a:lnTo>
                  <a:pt x="12994" y="9953"/>
                </a:lnTo>
                <a:lnTo>
                  <a:pt x="13213" y="9515"/>
                </a:lnTo>
                <a:lnTo>
                  <a:pt x="13384" y="9053"/>
                </a:lnTo>
                <a:lnTo>
                  <a:pt x="13457" y="8809"/>
                </a:lnTo>
                <a:lnTo>
                  <a:pt x="13505" y="8590"/>
                </a:lnTo>
                <a:lnTo>
                  <a:pt x="13554" y="8152"/>
                </a:lnTo>
                <a:lnTo>
                  <a:pt x="13554" y="7714"/>
                </a:lnTo>
                <a:lnTo>
                  <a:pt x="13505" y="7276"/>
                </a:lnTo>
                <a:lnTo>
                  <a:pt x="13432" y="6838"/>
                </a:lnTo>
                <a:lnTo>
                  <a:pt x="13335" y="6400"/>
                </a:lnTo>
                <a:lnTo>
                  <a:pt x="13213" y="5962"/>
                </a:lnTo>
                <a:lnTo>
                  <a:pt x="12946" y="5135"/>
                </a:lnTo>
                <a:lnTo>
                  <a:pt x="12800" y="4770"/>
                </a:lnTo>
                <a:lnTo>
                  <a:pt x="12605" y="4429"/>
                </a:lnTo>
                <a:lnTo>
                  <a:pt x="12386" y="4113"/>
                </a:lnTo>
                <a:lnTo>
                  <a:pt x="12143" y="3797"/>
                </a:lnTo>
                <a:lnTo>
                  <a:pt x="12143" y="3773"/>
                </a:lnTo>
                <a:lnTo>
                  <a:pt x="12094" y="3675"/>
                </a:lnTo>
                <a:lnTo>
                  <a:pt x="12021" y="3602"/>
                </a:lnTo>
                <a:lnTo>
                  <a:pt x="11948" y="3554"/>
                </a:lnTo>
                <a:lnTo>
                  <a:pt x="11851" y="3505"/>
                </a:lnTo>
                <a:lnTo>
                  <a:pt x="11607" y="3286"/>
                </a:lnTo>
                <a:lnTo>
                  <a:pt x="11340" y="3091"/>
                </a:lnTo>
                <a:lnTo>
                  <a:pt x="11072" y="2897"/>
                </a:lnTo>
                <a:lnTo>
                  <a:pt x="10804" y="2726"/>
                </a:lnTo>
                <a:lnTo>
                  <a:pt x="10464" y="2556"/>
                </a:lnTo>
                <a:lnTo>
                  <a:pt x="10099" y="2386"/>
                </a:lnTo>
                <a:lnTo>
                  <a:pt x="9709" y="2264"/>
                </a:lnTo>
                <a:lnTo>
                  <a:pt x="9320" y="2191"/>
                </a:lnTo>
                <a:lnTo>
                  <a:pt x="8931" y="2142"/>
                </a:lnTo>
                <a:lnTo>
                  <a:pt x="8517" y="2094"/>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920057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D630714-419F-9884-E428-AE54AF1E44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40824" y="1770370"/>
            <a:ext cx="3698360" cy="2607229"/>
          </a:xfrm>
          <a:prstGeom prst="rect">
            <a:avLst/>
          </a:prstGeom>
        </p:spPr>
      </p:pic>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8" imgH="408" progId="TCLayout.ActiveDocument.1">
                  <p:embed/>
                </p:oleObj>
              </mc:Choice>
              <mc:Fallback>
                <p:oleObj name="think-cell Slide" r:id="rId6"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9</a:t>
            </a:fld>
            <a:endParaRPr lang="da-DK"/>
          </a:p>
        </p:txBody>
      </p:sp>
      <p:sp>
        <p:nvSpPr>
          <p:cNvPr id="12" name="Google Shape;843;p29">
            <a:extLst>
              <a:ext uri="{FF2B5EF4-FFF2-40B4-BE49-F238E27FC236}">
                <a16:creationId xmlns:a16="http://schemas.microsoft.com/office/drawing/2014/main" id="{7863966F-5A3D-4358-A359-6A15BA528247}"/>
              </a:ext>
            </a:extLst>
          </p:cNvPr>
          <p:cNvSpPr/>
          <p:nvPr/>
        </p:nvSpPr>
        <p:spPr>
          <a:xfrm>
            <a:off x="0" y="347676"/>
            <a:ext cx="12192000" cy="856809"/>
          </a:xfrm>
          <a:prstGeom prst="rect">
            <a:avLst/>
          </a:prstGeom>
          <a:solidFill>
            <a:schemeClr val="accent6"/>
          </a:solidFill>
          <a:ln>
            <a:noFill/>
          </a:ln>
        </p:spPr>
        <p:txBody>
          <a:bodyPr spcFirstLastPara="1" wrap="square" lIns="91425" tIns="0" rIns="91425" bIns="0" anchor="ctr" anchorCtr="0">
            <a:noAutofit/>
          </a:bodyPr>
          <a:lstStyle/>
          <a:p>
            <a:pPr marL="0" lvl="0" indent="0" algn="ctr">
              <a:spcBef>
                <a:spcPts val="0"/>
              </a:spcBef>
              <a:spcAft>
                <a:spcPts val="0"/>
              </a:spcAft>
              <a:buNone/>
            </a:pPr>
            <a:r>
              <a:rPr lang="da-DK" sz="4000" b="1">
                <a:solidFill>
                  <a:schemeClr val="bg1"/>
                </a:solidFill>
                <a:latin typeface="Amatic SC"/>
                <a:ea typeface="Amatic SC"/>
                <a:cs typeface="Amatic SC"/>
                <a:sym typeface="Amatic SC"/>
              </a:rPr>
              <a:t>aktiv lytning og drøftelser</a:t>
            </a:r>
          </a:p>
        </p:txBody>
      </p:sp>
      <p:pic>
        <p:nvPicPr>
          <p:cNvPr id="2" name="Graphic 1" descr="Chat with solid fill">
            <a:extLst>
              <a:ext uri="{FF2B5EF4-FFF2-40B4-BE49-F238E27FC236}">
                <a16:creationId xmlns:a16="http://schemas.microsoft.com/office/drawing/2014/main" id="{466161B9-A8C6-DC3E-A1AC-2420880FBA3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83477" y="223276"/>
            <a:ext cx="1105607" cy="1105607"/>
          </a:xfrm>
          <a:prstGeom prst="rect">
            <a:avLst/>
          </a:prstGeom>
        </p:spPr>
      </p:pic>
      <p:sp>
        <p:nvSpPr>
          <p:cNvPr id="9" name="Google Shape;847;p29">
            <a:extLst>
              <a:ext uri="{FF2B5EF4-FFF2-40B4-BE49-F238E27FC236}">
                <a16:creationId xmlns:a16="http://schemas.microsoft.com/office/drawing/2014/main" id="{AD97E0C9-8541-1776-E88F-745C1AF9B06D}"/>
              </a:ext>
            </a:extLst>
          </p:cNvPr>
          <p:cNvSpPr txBox="1"/>
          <p:nvPr/>
        </p:nvSpPr>
        <p:spPr>
          <a:xfrm>
            <a:off x="901243" y="1682258"/>
            <a:ext cx="7072877" cy="4828066"/>
          </a:xfrm>
          <a:prstGeom prst="rect">
            <a:avLst/>
          </a:prstGeom>
          <a:noFill/>
          <a:ln>
            <a:noFill/>
          </a:ln>
        </p:spPr>
        <p:txBody>
          <a:bodyPr spcFirstLastPara="1" wrap="square" lIns="0" tIns="180000" rIns="0" bIns="0" anchor="t" anchorCtr="0">
            <a:noAutofit/>
          </a:bodyPr>
          <a:lstStyle/>
          <a:p>
            <a:r>
              <a:rPr lang="da-DK" sz="1500" b="1">
                <a:latin typeface="Quicksand" panose="020B0604020202020204" charset="0"/>
                <a:ea typeface="Quicksand"/>
                <a:cs typeface="Quicksand" panose="020B0604020202020204" charset="0"/>
                <a:sym typeface="Quicksand"/>
              </a:rPr>
              <a:t>Forslag til proces: </a:t>
            </a:r>
          </a:p>
          <a:p>
            <a:endParaRPr lang="da-DK" sz="1600">
              <a:latin typeface="Quicksand" panose="020B0604020202020204" charset="0"/>
              <a:ea typeface="Quicksand"/>
              <a:cs typeface="Quicksand" panose="020B0604020202020204" charset="0"/>
              <a:sym typeface="Quicksand"/>
            </a:endParaRPr>
          </a:p>
          <a:p>
            <a:pPr marL="457200"/>
            <a:r>
              <a:rPr lang="da-DK" sz="1500">
                <a:latin typeface="Quicksand" panose="020B0604020202020204" charset="0"/>
                <a:ea typeface="Quicksand"/>
                <a:cs typeface="Quicksand" panose="020B0604020202020204" charset="0"/>
                <a:sym typeface="Quicksand"/>
              </a:rPr>
              <a:t>Alle får udleveret et lytteark med fire spørgsmål. Find eksempel på lytteark </a:t>
            </a:r>
            <a:r>
              <a:rPr lang="da-DK" sz="1500" b="1">
                <a:latin typeface="Quicksand" panose="020B0604020202020204" charset="0"/>
                <a:ea typeface="Quicksand"/>
                <a:cs typeface="Quicksand" panose="020B0604020202020204" charset="0"/>
                <a:sym typeface="Quicksand"/>
                <a:hlinkClick r:id="rId10" action="ppaction://hlinksldjump">
                  <a:extLst>
                    <a:ext uri="{A12FA001-AC4F-418D-AE19-62706E023703}">
                      <ahyp:hlinkClr xmlns:ahyp="http://schemas.microsoft.com/office/drawing/2018/hyperlinkcolor" val="tx"/>
                    </a:ext>
                  </a:extLst>
                </a:hlinkClick>
              </a:rPr>
              <a:t>her</a:t>
            </a:r>
            <a:r>
              <a:rPr lang="da-DK" sz="1500">
                <a:latin typeface="Quicksand" panose="020B0604020202020204" charset="0"/>
                <a:ea typeface="Quicksand"/>
                <a:cs typeface="Quicksand" panose="020B0604020202020204" charset="0"/>
                <a:sym typeface="Quicksand"/>
              </a:rPr>
              <a:t>.</a:t>
            </a:r>
            <a:r>
              <a:rPr lang="da-DK" sz="1500" b="1">
                <a:latin typeface="Quicksand" panose="020B0604020202020204" charset="0"/>
                <a:ea typeface="Quicksand"/>
                <a:cs typeface="Quicksand" panose="020B0604020202020204" charset="0"/>
                <a:sym typeface="Quicksand"/>
              </a:rPr>
              <a:t> </a:t>
            </a:r>
            <a:r>
              <a:rPr lang="da-DK" sz="1500">
                <a:latin typeface="Quicksand" panose="020B0604020202020204" charset="0"/>
                <a:ea typeface="Quicksand"/>
                <a:cs typeface="Quicksand" panose="020B0604020202020204" charset="0"/>
                <a:sym typeface="Quicksand"/>
              </a:rPr>
              <a:t>Skoleledelsen præsenterer evalueringens resultater, og undervejs noterer det pædagogiske personale i lyttearket. </a:t>
            </a:r>
          </a:p>
          <a:p>
            <a:pPr marL="457200"/>
            <a:endParaRPr lang="da-DK" sz="1500">
              <a:latin typeface="Quicksand" panose="020B0604020202020204" charset="0"/>
              <a:ea typeface="Quicksand"/>
              <a:cs typeface="Quicksand" panose="020B0604020202020204" charset="0"/>
              <a:sym typeface="Quicksand"/>
            </a:endParaRPr>
          </a:p>
          <a:p>
            <a:pPr marL="457200"/>
            <a:r>
              <a:rPr lang="da-DK" sz="1500">
                <a:latin typeface="Quicksand" panose="020B0604020202020204" charset="0"/>
                <a:ea typeface="Quicksand"/>
                <a:cs typeface="Quicksand" panose="020B0604020202020204" charset="0"/>
                <a:sym typeface="Quicksand"/>
              </a:rPr>
              <a:t>Efter præsentationen drøfter det pædagogiske personale resultaterne med afsæt i refleksionerne på arket. Drøftelserne foregår i to steps:</a:t>
            </a:r>
          </a:p>
          <a:p>
            <a:pPr marL="576000" lvl="1" indent="-144000">
              <a:buFont typeface="Arial" panose="020B0604020202020204" pitchFamily="34" charset="0"/>
              <a:buChar char="•"/>
            </a:pPr>
            <a:r>
              <a:rPr lang="da-DK" sz="1500" b="1">
                <a:latin typeface="Quicksand" panose="020B0604020202020204" charset="0"/>
                <a:ea typeface="Quicksand"/>
                <a:cs typeface="Quicksand" panose="020B0604020202020204" charset="0"/>
                <a:sym typeface="Quicksand"/>
              </a:rPr>
              <a:t>Udforsk: </a:t>
            </a:r>
            <a:r>
              <a:rPr lang="da-DK" sz="1500">
                <a:latin typeface="Quicksand" panose="020B0604020202020204" charset="0"/>
                <a:ea typeface="Quicksand"/>
                <a:cs typeface="Quicksand" panose="020B0604020202020204" charset="0"/>
                <a:sym typeface="Quicksand"/>
              </a:rPr>
              <a:t>Gå sammen på opdagelse i jeres refleksioner. Stil spørgsmål, vær nysgerrige, del perspektiver og udvælg temaer fra jeres noter.</a:t>
            </a:r>
          </a:p>
          <a:p>
            <a:pPr marL="576000" lvl="1" indent="-144000">
              <a:buFont typeface="Arial" panose="020B0604020202020204" pitchFamily="34" charset="0"/>
              <a:buChar char="•"/>
            </a:pPr>
            <a:r>
              <a:rPr lang="da-DK" sz="1500" b="1">
                <a:latin typeface="Quicksand" panose="020B0604020202020204" charset="0"/>
                <a:ea typeface="Quicksand"/>
                <a:cs typeface="Quicksand" panose="020B0604020202020204" charset="0"/>
                <a:sym typeface="Quicksand"/>
              </a:rPr>
              <a:t>Prioritér: </a:t>
            </a:r>
            <a:r>
              <a:rPr lang="da-DK" sz="1500">
                <a:latin typeface="Quicksand" panose="020B0604020202020204" charset="0"/>
                <a:ea typeface="Quicksand"/>
                <a:cs typeface="Quicksand" panose="020B0604020202020204" charset="0"/>
                <a:sym typeface="Quicksand"/>
              </a:rPr>
              <a:t>Se på tværs af jeres refleksioner og beslut, hvilket tema der er mest relevant at arbejde videre med som team fremadrettet, og hvilke handlinger jeres drøftelser giver anledning til.  </a:t>
            </a:r>
          </a:p>
          <a:p>
            <a:pPr marL="114300"/>
            <a:endParaRPr lang="da-DK" sz="1500">
              <a:latin typeface="Quicksand" panose="020B0604020202020204" charset="0"/>
              <a:ea typeface="Quicksand"/>
              <a:cs typeface="Quicksand" panose="020B0604020202020204" charset="0"/>
              <a:sym typeface="Quicksand"/>
            </a:endParaRPr>
          </a:p>
          <a:p>
            <a:pPr marL="457200"/>
            <a:r>
              <a:rPr lang="da-DK" sz="1500">
                <a:latin typeface="Quicksand" panose="020B0604020202020204" charset="0"/>
                <a:ea typeface="Quicksand"/>
                <a:cs typeface="Quicksand" panose="020B0604020202020204" charset="0"/>
                <a:sym typeface="Quicksand"/>
              </a:rPr>
              <a:t>Efter drøftelserne præsenterer hvert team i plenum, hvad der optog dem mest, hvorfor og hvilke handlinger de vil igangsætte i arbejdet med Den Mangfoldige Folkeskole. </a:t>
            </a:r>
          </a:p>
          <a:p>
            <a:endParaRPr lang="da-DK" sz="1600">
              <a:latin typeface="Quicksand" panose="020B0604020202020204" charset="0"/>
              <a:ea typeface="Quicksand"/>
              <a:cs typeface="Quicksand" panose="020B0604020202020204" charset="0"/>
              <a:sym typeface="Quicksand"/>
            </a:endParaRPr>
          </a:p>
          <a:p>
            <a:endParaRPr lang="da-DK" sz="1600">
              <a:latin typeface="Quicksand" panose="020B0604020202020204" charset="0"/>
              <a:ea typeface="Quicksand"/>
              <a:cs typeface="Quicksand" panose="020B0604020202020204" charset="0"/>
              <a:sym typeface="Quicksand"/>
            </a:endParaRPr>
          </a:p>
        </p:txBody>
      </p:sp>
      <p:sp>
        <p:nvSpPr>
          <p:cNvPr id="10" name="Oval 9">
            <a:extLst>
              <a:ext uri="{FF2B5EF4-FFF2-40B4-BE49-F238E27FC236}">
                <a16:creationId xmlns:a16="http://schemas.microsoft.com/office/drawing/2014/main" id="{C756B267-4C06-3D32-5E38-58912CFB00D4}"/>
              </a:ext>
            </a:extLst>
          </p:cNvPr>
          <p:cNvSpPr/>
          <p:nvPr/>
        </p:nvSpPr>
        <p:spPr>
          <a:xfrm>
            <a:off x="901242" y="2326640"/>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latin typeface="Quicksand" panose="020B0604020202020204" charset="0"/>
                <a:cs typeface="Quicksand" panose="020B0604020202020204" charset="0"/>
              </a:rPr>
              <a:t>1</a:t>
            </a:r>
            <a:endParaRPr lang="da-DK" sz="2000" noProof="0">
              <a:latin typeface="Quicksand" panose="020B0604020202020204" charset="0"/>
              <a:cs typeface="Quicksand" panose="020B0604020202020204" charset="0"/>
            </a:endParaRPr>
          </a:p>
        </p:txBody>
      </p:sp>
      <p:sp>
        <p:nvSpPr>
          <p:cNvPr id="13" name="Oval 12">
            <a:extLst>
              <a:ext uri="{FF2B5EF4-FFF2-40B4-BE49-F238E27FC236}">
                <a16:creationId xmlns:a16="http://schemas.microsoft.com/office/drawing/2014/main" id="{5B0A1109-CBD8-B579-CF2E-AC4F74CB5042}"/>
              </a:ext>
            </a:extLst>
          </p:cNvPr>
          <p:cNvSpPr/>
          <p:nvPr/>
        </p:nvSpPr>
        <p:spPr>
          <a:xfrm>
            <a:off x="901242" y="3233814"/>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latin typeface="Quicksand" panose="020B0604020202020204" charset="0"/>
                <a:cs typeface="Quicksand" panose="020B0604020202020204" charset="0"/>
              </a:rPr>
              <a:t>2</a:t>
            </a:r>
            <a:endParaRPr lang="da-DK" sz="2000" noProof="0">
              <a:latin typeface="Quicksand" panose="020B0604020202020204" charset="0"/>
              <a:cs typeface="Quicksand" panose="020B0604020202020204" charset="0"/>
            </a:endParaRPr>
          </a:p>
        </p:txBody>
      </p:sp>
      <p:sp>
        <p:nvSpPr>
          <p:cNvPr id="14" name="Oval 13">
            <a:extLst>
              <a:ext uri="{FF2B5EF4-FFF2-40B4-BE49-F238E27FC236}">
                <a16:creationId xmlns:a16="http://schemas.microsoft.com/office/drawing/2014/main" id="{DAAD8A69-4ACD-5176-9834-2D5A02559256}"/>
              </a:ext>
            </a:extLst>
          </p:cNvPr>
          <p:cNvSpPr/>
          <p:nvPr/>
        </p:nvSpPr>
        <p:spPr>
          <a:xfrm>
            <a:off x="901242" y="5073547"/>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a:latin typeface="Quicksand" panose="020B0604020202020204" charset="0"/>
                <a:cs typeface="Quicksand" panose="020B0604020202020204" charset="0"/>
              </a:rPr>
              <a:t>3</a:t>
            </a:r>
            <a:endParaRPr lang="da-DK" sz="2000" noProof="0">
              <a:latin typeface="Quicksand" panose="020B0604020202020204" charset="0"/>
              <a:cs typeface="Quicksand" panose="020B0604020202020204" charset="0"/>
            </a:endParaRPr>
          </a:p>
        </p:txBody>
      </p:sp>
      <p:sp>
        <p:nvSpPr>
          <p:cNvPr id="3" name="Rectangle 2">
            <a:extLst>
              <a:ext uri="{FF2B5EF4-FFF2-40B4-BE49-F238E27FC236}">
                <a16:creationId xmlns:a16="http://schemas.microsoft.com/office/drawing/2014/main" id="{0747AAA1-B671-2ED8-7544-4AE170D2A696}"/>
              </a:ext>
            </a:extLst>
          </p:cNvPr>
          <p:cNvSpPr/>
          <p:nvPr/>
        </p:nvSpPr>
        <p:spPr>
          <a:xfrm>
            <a:off x="8609883" y="2536875"/>
            <a:ext cx="2650313" cy="11347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200" b="1">
                <a:solidFill>
                  <a:schemeClr val="bg1"/>
                </a:solidFill>
                <a:latin typeface="Quicksand" panose="020B0604020202020204"/>
              </a:rPr>
              <a:t>Tip:</a:t>
            </a:r>
            <a:br>
              <a:rPr lang="da-DK" sz="1200" b="1">
                <a:solidFill>
                  <a:schemeClr val="bg1"/>
                </a:solidFill>
                <a:latin typeface="Quicksand" panose="020B0604020202020204"/>
              </a:rPr>
            </a:br>
            <a:r>
              <a:rPr lang="da-DK" sz="1200">
                <a:solidFill>
                  <a:schemeClr val="bg1"/>
                </a:solidFill>
                <a:latin typeface="Quicksand" panose="020B0604020202020204" charset="0"/>
                <a:ea typeface="Quicksand"/>
                <a:cs typeface="Quicksand" panose="020B0604020202020204" charset="0"/>
                <a:sym typeface="Quicksand"/>
              </a:rPr>
              <a:t>I kan med fordel inddrage skolens lokale datarapport til at sammenligne skolens resultater med evalueringens overordnede resultater.</a:t>
            </a:r>
          </a:p>
        </p:txBody>
      </p:sp>
      <p:sp>
        <p:nvSpPr>
          <p:cNvPr id="21" name="Google Shape;1251;p48">
            <a:extLst>
              <a:ext uri="{FF2B5EF4-FFF2-40B4-BE49-F238E27FC236}">
                <a16:creationId xmlns:a16="http://schemas.microsoft.com/office/drawing/2014/main" id="{FD367EF4-8625-BEC0-7124-74CAA1EC9A66}"/>
              </a:ext>
            </a:extLst>
          </p:cNvPr>
          <p:cNvSpPr/>
          <p:nvPr/>
        </p:nvSpPr>
        <p:spPr>
          <a:xfrm>
            <a:off x="9751539" y="2131897"/>
            <a:ext cx="345681" cy="414830"/>
          </a:xfrm>
          <a:custGeom>
            <a:avLst/>
            <a:gdLst/>
            <a:ahLst/>
            <a:cxnLst/>
            <a:rect l="l" t="t" r="r" b="b"/>
            <a:pathLst>
              <a:path w="15817" h="18981" extrusionOk="0">
                <a:moveTo>
                  <a:pt x="11364" y="1"/>
                </a:moveTo>
                <a:lnTo>
                  <a:pt x="11242" y="25"/>
                </a:lnTo>
                <a:lnTo>
                  <a:pt x="11169" y="74"/>
                </a:lnTo>
                <a:lnTo>
                  <a:pt x="11096" y="171"/>
                </a:lnTo>
                <a:lnTo>
                  <a:pt x="10780" y="731"/>
                </a:lnTo>
                <a:lnTo>
                  <a:pt x="10634" y="999"/>
                </a:lnTo>
                <a:lnTo>
                  <a:pt x="10537" y="1315"/>
                </a:lnTo>
                <a:lnTo>
                  <a:pt x="10512" y="1388"/>
                </a:lnTo>
                <a:lnTo>
                  <a:pt x="10537" y="1461"/>
                </a:lnTo>
                <a:lnTo>
                  <a:pt x="10585" y="1534"/>
                </a:lnTo>
                <a:lnTo>
                  <a:pt x="10634" y="1583"/>
                </a:lnTo>
                <a:lnTo>
                  <a:pt x="10707" y="1607"/>
                </a:lnTo>
                <a:lnTo>
                  <a:pt x="10804" y="1631"/>
                </a:lnTo>
                <a:lnTo>
                  <a:pt x="10877" y="1607"/>
                </a:lnTo>
                <a:lnTo>
                  <a:pt x="10950" y="1558"/>
                </a:lnTo>
                <a:lnTo>
                  <a:pt x="11145" y="1315"/>
                </a:lnTo>
                <a:lnTo>
                  <a:pt x="11291" y="1047"/>
                </a:lnTo>
                <a:lnTo>
                  <a:pt x="11510" y="731"/>
                </a:lnTo>
                <a:lnTo>
                  <a:pt x="11583" y="682"/>
                </a:lnTo>
                <a:lnTo>
                  <a:pt x="11656" y="609"/>
                </a:lnTo>
                <a:lnTo>
                  <a:pt x="11705" y="463"/>
                </a:lnTo>
                <a:lnTo>
                  <a:pt x="11729" y="342"/>
                </a:lnTo>
                <a:lnTo>
                  <a:pt x="11705" y="220"/>
                </a:lnTo>
                <a:lnTo>
                  <a:pt x="11656" y="123"/>
                </a:lnTo>
                <a:lnTo>
                  <a:pt x="11583" y="50"/>
                </a:lnTo>
                <a:lnTo>
                  <a:pt x="11486" y="25"/>
                </a:lnTo>
                <a:lnTo>
                  <a:pt x="11461" y="1"/>
                </a:lnTo>
                <a:close/>
                <a:moveTo>
                  <a:pt x="3821" y="171"/>
                </a:moveTo>
                <a:lnTo>
                  <a:pt x="3748" y="196"/>
                </a:lnTo>
                <a:lnTo>
                  <a:pt x="3699" y="244"/>
                </a:lnTo>
                <a:lnTo>
                  <a:pt x="3651" y="317"/>
                </a:lnTo>
                <a:lnTo>
                  <a:pt x="3651" y="390"/>
                </a:lnTo>
                <a:lnTo>
                  <a:pt x="3651" y="463"/>
                </a:lnTo>
                <a:lnTo>
                  <a:pt x="3699" y="634"/>
                </a:lnTo>
                <a:lnTo>
                  <a:pt x="3772" y="804"/>
                </a:lnTo>
                <a:lnTo>
                  <a:pt x="3943" y="1120"/>
                </a:lnTo>
                <a:lnTo>
                  <a:pt x="4113" y="1461"/>
                </a:lnTo>
                <a:lnTo>
                  <a:pt x="4259" y="1802"/>
                </a:lnTo>
                <a:lnTo>
                  <a:pt x="4332" y="1923"/>
                </a:lnTo>
                <a:lnTo>
                  <a:pt x="4429" y="1996"/>
                </a:lnTo>
                <a:lnTo>
                  <a:pt x="4527" y="2021"/>
                </a:lnTo>
                <a:lnTo>
                  <a:pt x="4624" y="1996"/>
                </a:lnTo>
                <a:lnTo>
                  <a:pt x="4721" y="1972"/>
                </a:lnTo>
                <a:lnTo>
                  <a:pt x="4794" y="1899"/>
                </a:lnTo>
                <a:lnTo>
                  <a:pt x="4843" y="1777"/>
                </a:lnTo>
                <a:lnTo>
                  <a:pt x="4843" y="1656"/>
                </a:lnTo>
                <a:lnTo>
                  <a:pt x="4794" y="1461"/>
                </a:lnTo>
                <a:lnTo>
                  <a:pt x="4697" y="1266"/>
                </a:lnTo>
                <a:lnTo>
                  <a:pt x="4502" y="901"/>
                </a:lnTo>
                <a:lnTo>
                  <a:pt x="4283" y="536"/>
                </a:lnTo>
                <a:lnTo>
                  <a:pt x="4162" y="390"/>
                </a:lnTo>
                <a:lnTo>
                  <a:pt x="4040" y="244"/>
                </a:lnTo>
                <a:lnTo>
                  <a:pt x="3967" y="196"/>
                </a:lnTo>
                <a:lnTo>
                  <a:pt x="3894" y="171"/>
                </a:lnTo>
                <a:close/>
                <a:moveTo>
                  <a:pt x="15452" y="4405"/>
                </a:moveTo>
                <a:lnTo>
                  <a:pt x="15379" y="4429"/>
                </a:lnTo>
                <a:lnTo>
                  <a:pt x="15306" y="4454"/>
                </a:lnTo>
                <a:lnTo>
                  <a:pt x="15135" y="4551"/>
                </a:lnTo>
                <a:lnTo>
                  <a:pt x="14941" y="4600"/>
                </a:lnTo>
                <a:lnTo>
                  <a:pt x="14551" y="4697"/>
                </a:lnTo>
                <a:lnTo>
                  <a:pt x="14357" y="4746"/>
                </a:lnTo>
                <a:lnTo>
                  <a:pt x="14162" y="4819"/>
                </a:lnTo>
                <a:lnTo>
                  <a:pt x="14016" y="4916"/>
                </a:lnTo>
                <a:lnTo>
                  <a:pt x="13870" y="5062"/>
                </a:lnTo>
                <a:lnTo>
                  <a:pt x="13822" y="5135"/>
                </a:lnTo>
                <a:lnTo>
                  <a:pt x="13822" y="5232"/>
                </a:lnTo>
                <a:lnTo>
                  <a:pt x="13846" y="5330"/>
                </a:lnTo>
                <a:lnTo>
                  <a:pt x="13895" y="5354"/>
                </a:lnTo>
                <a:lnTo>
                  <a:pt x="13943" y="5354"/>
                </a:lnTo>
                <a:lnTo>
                  <a:pt x="14138" y="5378"/>
                </a:lnTo>
                <a:lnTo>
                  <a:pt x="14357" y="5378"/>
                </a:lnTo>
                <a:lnTo>
                  <a:pt x="14600" y="5354"/>
                </a:lnTo>
                <a:lnTo>
                  <a:pt x="14819" y="5330"/>
                </a:lnTo>
                <a:lnTo>
                  <a:pt x="15038" y="5257"/>
                </a:lnTo>
                <a:lnTo>
                  <a:pt x="15257" y="5208"/>
                </a:lnTo>
                <a:lnTo>
                  <a:pt x="15452" y="5111"/>
                </a:lnTo>
                <a:lnTo>
                  <a:pt x="15646" y="5038"/>
                </a:lnTo>
                <a:lnTo>
                  <a:pt x="15719" y="4989"/>
                </a:lnTo>
                <a:lnTo>
                  <a:pt x="15768" y="4940"/>
                </a:lnTo>
                <a:lnTo>
                  <a:pt x="15817" y="4819"/>
                </a:lnTo>
                <a:lnTo>
                  <a:pt x="15792" y="4697"/>
                </a:lnTo>
                <a:lnTo>
                  <a:pt x="15768" y="4575"/>
                </a:lnTo>
                <a:lnTo>
                  <a:pt x="15671" y="4478"/>
                </a:lnTo>
                <a:lnTo>
                  <a:pt x="15573" y="4429"/>
                </a:lnTo>
                <a:lnTo>
                  <a:pt x="15452" y="4405"/>
                </a:lnTo>
                <a:close/>
                <a:moveTo>
                  <a:pt x="317" y="4697"/>
                </a:moveTo>
                <a:lnTo>
                  <a:pt x="220" y="4721"/>
                </a:lnTo>
                <a:lnTo>
                  <a:pt x="122" y="4746"/>
                </a:lnTo>
                <a:lnTo>
                  <a:pt x="25" y="4794"/>
                </a:lnTo>
                <a:lnTo>
                  <a:pt x="1" y="4867"/>
                </a:lnTo>
                <a:lnTo>
                  <a:pt x="1" y="4965"/>
                </a:lnTo>
                <a:lnTo>
                  <a:pt x="49" y="5038"/>
                </a:lnTo>
                <a:lnTo>
                  <a:pt x="195" y="5184"/>
                </a:lnTo>
                <a:lnTo>
                  <a:pt x="390" y="5305"/>
                </a:lnTo>
                <a:lnTo>
                  <a:pt x="779" y="5524"/>
                </a:lnTo>
                <a:lnTo>
                  <a:pt x="1169" y="5743"/>
                </a:lnTo>
                <a:lnTo>
                  <a:pt x="1388" y="5841"/>
                </a:lnTo>
                <a:lnTo>
                  <a:pt x="1582" y="5938"/>
                </a:lnTo>
                <a:lnTo>
                  <a:pt x="1655" y="5962"/>
                </a:lnTo>
                <a:lnTo>
                  <a:pt x="1801" y="5962"/>
                </a:lnTo>
                <a:lnTo>
                  <a:pt x="1850" y="5938"/>
                </a:lnTo>
                <a:lnTo>
                  <a:pt x="1923" y="5841"/>
                </a:lnTo>
                <a:lnTo>
                  <a:pt x="1972" y="5743"/>
                </a:lnTo>
                <a:lnTo>
                  <a:pt x="1996" y="5622"/>
                </a:lnTo>
                <a:lnTo>
                  <a:pt x="1972" y="5476"/>
                </a:lnTo>
                <a:lnTo>
                  <a:pt x="1899" y="5378"/>
                </a:lnTo>
                <a:lnTo>
                  <a:pt x="1826" y="5330"/>
                </a:lnTo>
                <a:lnTo>
                  <a:pt x="1777" y="5305"/>
                </a:lnTo>
                <a:lnTo>
                  <a:pt x="1582" y="5208"/>
                </a:lnTo>
                <a:lnTo>
                  <a:pt x="1388" y="5111"/>
                </a:lnTo>
                <a:lnTo>
                  <a:pt x="974" y="4892"/>
                </a:lnTo>
                <a:lnTo>
                  <a:pt x="755" y="4794"/>
                </a:lnTo>
                <a:lnTo>
                  <a:pt x="536" y="4721"/>
                </a:lnTo>
                <a:lnTo>
                  <a:pt x="317" y="4697"/>
                </a:lnTo>
                <a:close/>
                <a:moveTo>
                  <a:pt x="8809" y="6936"/>
                </a:moveTo>
                <a:lnTo>
                  <a:pt x="8736" y="6984"/>
                </a:lnTo>
                <a:lnTo>
                  <a:pt x="8663" y="7057"/>
                </a:lnTo>
                <a:lnTo>
                  <a:pt x="8566" y="7252"/>
                </a:lnTo>
                <a:lnTo>
                  <a:pt x="8468" y="7495"/>
                </a:lnTo>
                <a:lnTo>
                  <a:pt x="8420" y="7739"/>
                </a:lnTo>
                <a:lnTo>
                  <a:pt x="8395" y="7958"/>
                </a:lnTo>
                <a:lnTo>
                  <a:pt x="8395" y="8128"/>
                </a:lnTo>
                <a:lnTo>
                  <a:pt x="8322" y="8177"/>
                </a:lnTo>
                <a:lnTo>
                  <a:pt x="8201" y="8225"/>
                </a:lnTo>
                <a:lnTo>
                  <a:pt x="8079" y="8250"/>
                </a:lnTo>
                <a:lnTo>
                  <a:pt x="7982" y="8225"/>
                </a:lnTo>
                <a:lnTo>
                  <a:pt x="7909" y="8201"/>
                </a:lnTo>
                <a:lnTo>
                  <a:pt x="7982" y="8079"/>
                </a:lnTo>
                <a:lnTo>
                  <a:pt x="8055" y="7933"/>
                </a:lnTo>
                <a:lnTo>
                  <a:pt x="8103" y="7812"/>
                </a:lnTo>
                <a:lnTo>
                  <a:pt x="8103" y="7666"/>
                </a:lnTo>
                <a:lnTo>
                  <a:pt x="8103" y="7520"/>
                </a:lnTo>
                <a:lnTo>
                  <a:pt x="8055" y="7398"/>
                </a:lnTo>
                <a:lnTo>
                  <a:pt x="7957" y="7252"/>
                </a:lnTo>
                <a:lnTo>
                  <a:pt x="7836" y="7130"/>
                </a:lnTo>
                <a:lnTo>
                  <a:pt x="7763" y="7082"/>
                </a:lnTo>
                <a:lnTo>
                  <a:pt x="7617" y="7082"/>
                </a:lnTo>
                <a:lnTo>
                  <a:pt x="7544" y="7130"/>
                </a:lnTo>
                <a:lnTo>
                  <a:pt x="7446" y="7252"/>
                </a:lnTo>
                <a:lnTo>
                  <a:pt x="7373" y="7374"/>
                </a:lnTo>
                <a:lnTo>
                  <a:pt x="7325" y="7495"/>
                </a:lnTo>
                <a:lnTo>
                  <a:pt x="7300" y="7641"/>
                </a:lnTo>
                <a:lnTo>
                  <a:pt x="7300" y="7787"/>
                </a:lnTo>
                <a:lnTo>
                  <a:pt x="7300" y="7909"/>
                </a:lnTo>
                <a:lnTo>
                  <a:pt x="7325" y="8055"/>
                </a:lnTo>
                <a:lnTo>
                  <a:pt x="7373" y="8177"/>
                </a:lnTo>
                <a:lnTo>
                  <a:pt x="7179" y="8298"/>
                </a:lnTo>
                <a:lnTo>
                  <a:pt x="7081" y="8323"/>
                </a:lnTo>
                <a:lnTo>
                  <a:pt x="6984" y="8347"/>
                </a:lnTo>
                <a:lnTo>
                  <a:pt x="6911" y="8371"/>
                </a:lnTo>
                <a:lnTo>
                  <a:pt x="6814" y="8347"/>
                </a:lnTo>
                <a:lnTo>
                  <a:pt x="6692" y="8298"/>
                </a:lnTo>
                <a:lnTo>
                  <a:pt x="6570" y="8201"/>
                </a:lnTo>
                <a:lnTo>
                  <a:pt x="6497" y="8055"/>
                </a:lnTo>
                <a:lnTo>
                  <a:pt x="6449" y="7909"/>
                </a:lnTo>
                <a:lnTo>
                  <a:pt x="6449" y="7739"/>
                </a:lnTo>
                <a:lnTo>
                  <a:pt x="6497" y="7544"/>
                </a:lnTo>
                <a:lnTo>
                  <a:pt x="6497" y="7520"/>
                </a:lnTo>
                <a:lnTo>
                  <a:pt x="6473" y="7520"/>
                </a:lnTo>
                <a:lnTo>
                  <a:pt x="6449" y="7495"/>
                </a:lnTo>
                <a:lnTo>
                  <a:pt x="6424" y="7520"/>
                </a:lnTo>
                <a:lnTo>
                  <a:pt x="6327" y="7617"/>
                </a:lnTo>
                <a:lnTo>
                  <a:pt x="6254" y="7739"/>
                </a:lnTo>
                <a:lnTo>
                  <a:pt x="6230" y="7836"/>
                </a:lnTo>
                <a:lnTo>
                  <a:pt x="6206" y="7958"/>
                </a:lnTo>
                <a:lnTo>
                  <a:pt x="6206" y="8055"/>
                </a:lnTo>
                <a:lnTo>
                  <a:pt x="6206" y="8177"/>
                </a:lnTo>
                <a:lnTo>
                  <a:pt x="6254" y="8274"/>
                </a:lnTo>
                <a:lnTo>
                  <a:pt x="6303" y="8371"/>
                </a:lnTo>
                <a:lnTo>
                  <a:pt x="6376" y="8469"/>
                </a:lnTo>
                <a:lnTo>
                  <a:pt x="6449" y="8542"/>
                </a:lnTo>
                <a:lnTo>
                  <a:pt x="6546" y="8615"/>
                </a:lnTo>
                <a:lnTo>
                  <a:pt x="6643" y="8663"/>
                </a:lnTo>
                <a:lnTo>
                  <a:pt x="6765" y="8712"/>
                </a:lnTo>
                <a:lnTo>
                  <a:pt x="6862" y="8736"/>
                </a:lnTo>
                <a:lnTo>
                  <a:pt x="7008" y="8736"/>
                </a:lnTo>
                <a:lnTo>
                  <a:pt x="7130" y="8712"/>
                </a:lnTo>
                <a:lnTo>
                  <a:pt x="7349" y="8615"/>
                </a:lnTo>
                <a:lnTo>
                  <a:pt x="7592" y="8493"/>
                </a:lnTo>
                <a:lnTo>
                  <a:pt x="7690" y="8566"/>
                </a:lnTo>
                <a:lnTo>
                  <a:pt x="7836" y="8639"/>
                </a:lnTo>
                <a:lnTo>
                  <a:pt x="7982" y="8663"/>
                </a:lnTo>
                <a:lnTo>
                  <a:pt x="8128" y="8688"/>
                </a:lnTo>
                <a:lnTo>
                  <a:pt x="8225" y="8688"/>
                </a:lnTo>
                <a:lnTo>
                  <a:pt x="8347" y="8663"/>
                </a:lnTo>
                <a:lnTo>
                  <a:pt x="8566" y="8566"/>
                </a:lnTo>
                <a:lnTo>
                  <a:pt x="8639" y="8663"/>
                </a:lnTo>
                <a:lnTo>
                  <a:pt x="8736" y="8736"/>
                </a:lnTo>
                <a:lnTo>
                  <a:pt x="8833" y="8809"/>
                </a:lnTo>
                <a:lnTo>
                  <a:pt x="8931" y="8858"/>
                </a:lnTo>
                <a:lnTo>
                  <a:pt x="9174" y="8907"/>
                </a:lnTo>
                <a:lnTo>
                  <a:pt x="9417" y="8931"/>
                </a:lnTo>
                <a:lnTo>
                  <a:pt x="9661" y="8882"/>
                </a:lnTo>
                <a:lnTo>
                  <a:pt x="9880" y="8809"/>
                </a:lnTo>
                <a:lnTo>
                  <a:pt x="9977" y="8736"/>
                </a:lnTo>
                <a:lnTo>
                  <a:pt x="10074" y="8663"/>
                </a:lnTo>
                <a:lnTo>
                  <a:pt x="10172" y="8566"/>
                </a:lnTo>
                <a:lnTo>
                  <a:pt x="10269" y="8469"/>
                </a:lnTo>
                <a:lnTo>
                  <a:pt x="10293" y="8396"/>
                </a:lnTo>
                <a:lnTo>
                  <a:pt x="10293" y="8347"/>
                </a:lnTo>
                <a:lnTo>
                  <a:pt x="10269" y="8298"/>
                </a:lnTo>
                <a:lnTo>
                  <a:pt x="10245" y="8250"/>
                </a:lnTo>
                <a:lnTo>
                  <a:pt x="10172" y="8225"/>
                </a:lnTo>
                <a:lnTo>
                  <a:pt x="10123" y="8201"/>
                </a:lnTo>
                <a:lnTo>
                  <a:pt x="10001" y="8201"/>
                </a:lnTo>
                <a:lnTo>
                  <a:pt x="9782" y="8323"/>
                </a:lnTo>
                <a:lnTo>
                  <a:pt x="9563" y="8420"/>
                </a:lnTo>
                <a:lnTo>
                  <a:pt x="9442" y="8444"/>
                </a:lnTo>
                <a:lnTo>
                  <a:pt x="9344" y="8469"/>
                </a:lnTo>
                <a:lnTo>
                  <a:pt x="9223" y="8469"/>
                </a:lnTo>
                <a:lnTo>
                  <a:pt x="9101" y="8420"/>
                </a:lnTo>
                <a:lnTo>
                  <a:pt x="9004" y="8347"/>
                </a:lnTo>
                <a:lnTo>
                  <a:pt x="8931" y="8274"/>
                </a:lnTo>
                <a:lnTo>
                  <a:pt x="9052" y="8128"/>
                </a:lnTo>
                <a:lnTo>
                  <a:pt x="9150" y="7982"/>
                </a:lnTo>
                <a:lnTo>
                  <a:pt x="9247" y="7836"/>
                </a:lnTo>
                <a:lnTo>
                  <a:pt x="9296" y="7666"/>
                </a:lnTo>
                <a:lnTo>
                  <a:pt x="9320" y="7495"/>
                </a:lnTo>
                <a:lnTo>
                  <a:pt x="9296" y="7349"/>
                </a:lnTo>
                <a:lnTo>
                  <a:pt x="9247" y="7203"/>
                </a:lnTo>
                <a:lnTo>
                  <a:pt x="9150" y="7057"/>
                </a:lnTo>
                <a:lnTo>
                  <a:pt x="9052" y="6984"/>
                </a:lnTo>
                <a:lnTo>
                  <a:pt x="8955" y="6936"/>
                </a:lnTo>
                <a:close/>
                <a:moveTo>
                  <a:pt x="1947" y="9710"/>
                </a:moveTo>
                <a:lnTo>
                  <a:pt x="1801" y="9758"/>
                </a:lnTo>
                <a:lnTo>
                  <a:pt x="1582" y="9856"/>
                </a:lnTo>
                <a:lnTo>
                  <a:pt x="1363" y="10002"/>
                </a:lnTo>
                <a:lnTo>
                  <a:pt x="925" y="10294"/>
                </a:lnTo>
                <a:lnTo>
                  <a:pt x="706" y="10415"/>
                </a:lnTo>
                <a:lnTo>
                  <a:pt x="585" y="10513"/>
                </a:lnTo>
                <a:lnTo>
                  <a:pt x="463" y="10610"/>
                </a:lnTo>
                <a:lnTo>
                  <a:pt x="366" y="10707"/>
                </a:lnTo>
                <a:lnTo>
                  <a:pt x="317" y="10829"/>
                </a:lnTo>
                <a:lnTo>
                  <a:pt x="317" y="10878"/>
                </a:lnTo>
                <a:lnTo>
                  <a:pt x="341" y="10926"/>
                </a:lnTo>
                <a:lnTo>
                  <a:pt x="366" y="10999"/>
                </a:lnTo>
                <a:lnTo>
                  <a:pt x="439" y="11048"/>
                </a:lnTo>
                <a:lnTo>
                  <a:pt x="536" y="11097"/>
                </a:lnTo>
                <a:lnTo>
                  <a:pt x="633" y="11097"/>
                </a:lnTo>
                <a:lnTo>
                  <a:pt x="755" y="11072"/>
                </a:lnTo>
                <a:lnTo>
                  <a:pt x="877" y="11048"/>
                </a:lnTo>
                <a:lnTo>
                  <a:pt x="1120" y="10926"/>
                </a:lnTo>
                <a:lnTo>
                  <a:pt x="1315" y="10829"/>
                </a:lnTo>
                <a:lnTo>
                  <a:pt x="1728" y="10610"/>
                </a:lnTo>
                <a:lnTo>
                  <a:pt x="1947" y="10488"/>
                </a:lnTo>
                <a:lnTo>
                  <a:pt x="2142" y="10342"/>
                </a:lnTo>
                <a:lnTo>
                  <a:pt x="2264" y="10245"/>
                </a:lnTo>
                <a:lnTo>
                  <a:pt x="2312" y="10123"/>
                </a:lnTo>
                <a:lnTo>
                  <a:pt x="2312" y="10002"/>
                </a:lnTo>
                <a:lnTo>
                  <a:pt x="2264" y="9880"/>
                </a:lnTo>
                <a:lnTo>
                  <a:pt x="2191" y="9783"/>
                </a:lnTo>
                <a:lnTo>
                  <a:pt x="2069" y="9734"/>
                </a:lnTo>
                <a:lnTo>
                  <a:pt x="1947" y="9710"/>
                </a:lnTo>
                <a:close/>
                <a:moveTo>
                  <a:pt x="14065" y="10026"/>
                </a:moveTo>
                <a:lnTo>
                  <a:pt x="13895" y="10050"/>
                </a:lnTo>
                <a:lnTo>
                  <a:pt x="13846" y="10075"/>
                </a:lnTo>
                <a:lnTo>
                  <a:pt x="13797" y="10123"/>
                </a:lnTo>
                <a:lnTo>
                  <a:pt x="13773" y="10172"/>
                </a:lnTo>
                <a:lnTo>
                  <a:pt x="13749" y="10221"/>
                </a:lnTo>
                <a:lnTo>
                  <a:pt x="13773" y="10318"/>
                </a:lnTo>
                <a:lnTo>
                  <a:pt x="13797" y="10367"/>
                </a:lnTo>
                <a:lnTo>
                  <a:pt x="13846" y="10415"/>
                </a:lnTo>
                <a:lnTo>
                  <a:pt x="14138" y="10586"/>
                </a:lnTo>
                <a:lnTo>
                  <a:pt x="14454" y="10756"/>
                </a:lnTo>
                <a:lnTo>
                  <a:pt x="14624" y="10878"/>
                </a:lnTo>
                <a:lnTo>
                  <a:pt x="14819" y="10975"/>
                </a:lnTo>
                <a:lnTo>
                  <a:pt x="15014" y="11048"/>
                </a:lnTo>
                <a:lnTo>
                  <a:pt x="15208" y="11097"/>
                </a:lnTo>
                <a:lnTo>
                  <a:pt x="15379" y="11097"/>
                </a:lnTo>
                <a:lnTo>
                  <a:pt x="15427" y="11072"/>
                </a:lnTo>
                <a:lnTo>
                  <a:pt x="15500" y="11024"/>
                </a:lnTo>
                <a:lnTo>
                  <a:pt x="15573" y="10951"/>
                </a:lnTo>
                <a:lnTo>
                  <a:pt x="15598" y="10829"/>
                </a:lnTo>
                <a:lnTo>
                  <a:pt x="15598" y="10707"/>
                </a:lnTo>
                <a:lnTo>
                  <a:pt x="15549" y="10586"/>
                </a:lnTo>
                <a:lnTo>
                  <a:pt x="15500" y="10537"/>
                </a:lnTo>
                <a:lnTo>
                  <a:pt x="15452" y="10513"/>
                </a:lnTo>
                <a:lnTo>
                  <a:pt x="15379" y="10464"/>
                </a:lnTo>
                <a:lnTo>
                  <a:pt x="15306" y="10464"/>
                </a:lnTo>
                <a:lnTo>
                  <a:pt x="15135" y="10415"/>
                </a:lnTo>
                <a:lnTo>
                  <a:pt x="14965" y="10367"/>
                </a:lnTo>
                <a:lnTo>
                  <a:pt x="14600" y="10196"/>
                </a:lnTo>
                <a:lnTo>
                  <a:pt x="14430" y="10099"/>
                </a:lnTo>
                <a:lnTo>
                  <a:pt x="14260" y="10050"/>
                </a:lnTo>
                <a:lnTo>
                  <a:pt x="14065" y="10026"/>
                </a:lnTo>
                <a:close/>
                <a:moveTo>
                  <a:pt x="8468" y="2605"/>
                </a:moveTo>
                <a:lnTo>
                  <a:pt x="8760" y="2629"/>
                </a:lnTo>
                <a:lnTo>
                  <a:pt x="9052" y="2678"/>
                </a:lnTo>
                <a:lnTo>
                  <a:pt x="9344" y="2726"/>
                </a:lnTo>
                <a:lnTo>
                  <a:pt x="9125" y="2799"/>
                </a:lnTo>
                <a:lnTo>
                  <a:pt x="9101" y="2824"/>
                </a:lnTo>
                <a:lnTo>
                  <a:pt x="9101" y="2848"/>
                </a:lnTo>
                <a:lnTo>
                  <a:pt x="9101" y="2872"/>
                </a:lnTo>
                <a:lnTo>
                  <a:pt x="9125" y="2897"/>
                </a:lnTo>
                <a:lnTo>
                  <a:pt x="9223" y="2945"/>
                </a:lnTo>
                <a:lnTo>
                  <a:pt x="9320" y="2970"/>
                </a:lnTo>
                <a:lnTo>
                  <a:pt x="9442" y="2945"/>
                </a:lnTo>
                <a:lnTo>
                  <a:pt x="9563" y="2921"/>
                </a:lnTo>
                <a:lnTo>
                  <a:pt x="9855" y="2872"/>
                </a:lnTo>
                <a:lnTo>
                  <a:pt x="10269" y="3043"/>
                </a:lnTo>
                <a:lnTo>
                  <a:pt x="10074" y="3067"/>
                </a:lnTo>
                <a:lnTo>
                  <a:pt x="9855" y="3116"/>
                </a:lnTo>
                <a:lnTo>
                  <a:pt x="9685" y="3189"/>
                </a:lnTo>
                <a:lnTo>
                  <a:pt x="9515" y="3262"/>
                </a:lnTo>
                <a:lnTo>
                  <a:pt x="9515" y="3286"/>
                </a:lnTo>
                <a:lnTo>
                  <a:pt x="9490" y="3310"/>
                </a:lnTo>
                <a:lnTo>
                  <a:pt x="9515" y="3335"/>
                </a:lnTo>
                <a:lnTo>
                  <a:pt x="9539" y="3359"/>
                </a:lnTo>
                <a:lnTo>
                  <a:pt x="9953" y="3335"/>
                </a:lnTo>
                <a:lnTo>
                  <a:pt x="10342" y="3310"/>
                </a:lnTo>
                <a:lnTo>
                  <a:pt x="10780" y="3310"/>
                </a:lnTo>
                <a:lnTo>
                  <a:pt x="11048" y="3505"/>
                </a:lnTo>
                <a:lnTo>
                  <a:pt x="10756" y="3578"/>
                </a:lnTo>
                <a:lnTo>
                  <a:pt x="10464" y="3675"/>
                </a:lnTo>
                <a:lnTo>
                  <a:pt x="10245" y="3797"/>
                </a:lnTo>
                <a:lnTo>
                  <a:pt x="10099" y="3918"/>
                </a:lnTo>
                <a:lnTo>
                  <a:pt x="10074" y="3943"/>
                </a:lnTo>
                <a:lnTo>
                  <a:pt x="10099" y="3943"/>
                </a:lnTo>
                <a:lnTo>
                  <a:pt x="10391" y="3918"/>
                </a:lnTo>
                <a:lnTo>
                  <a:pt x="10683" y="3870"/>
                </a:lnTo>
                <a:lnTo>
                  <a:pt x="10975" y="3821"/>
                </a:lnTo>
                <a:lnTo>
                  <a:pt x="11291" y="3773"/>
                </a:lnTo>
                <a:lnTo>
                  <a:pt x="11364" y="3773"/>
                </a:lnTo>
                <a:lnTo>
                  <a:pt x="11583" y="3967"/>
                </a:lnTo>
                <a:lnTo>
                  <a:pt x="11778" y="4186"/>
                </a:lnTo>
                <a:lnTo>
                  <a:pt x="11388" y="4210"/>
                </a:lnTo>
                <a:lnTo>
                  <a:pt x="10829" y="4259"/>
                </a:lnTo>
                <a:lnTo>
                  <a:pt x="10561" y="4283"/>
                </a:lnTo>
                <a:lnTo>
                  <a:pt x="10318" y="4381"/>
                </a:lnTo>
                <a:lnTo>
                  <a:pt x="10293" y="4405"/>
                </a:lnTo>
                <a:lnTo>
                  <a:pt x="10293" y="4429"/>
                </a:lnTo>
                <a:lnTo>
                  <a:pt x="10318" y="4454"/>
                </a:lnTo>
                <a:lnTo>
                  <a:pt x="10585" y="4527"/>
                </a:lnTo>
                <a:lnTo>
                  <a:pt x="11705" y="4527"/>
                </a:lnTo>
                <a:lnTo>
                  <a:pt x="11997" y="4502"/>
                </a:lnTo>
                <a:lnTo>
                  <a:pt x="12216" y="4867"/>
                </a:lnTo>
                <a:lnTo>
                  <a:pt x="11851" y="4867"/>
                </a:lnTo>
                <a:lnTo>
                  <a:pt x="11267" y="4892"/>
                </a:lnTo>
                <a:lnTo>
                  <a:pt x="10658" y="4940"/>
                </a:lnTo>
                <a:lnTo>
                  <a:pt x="10634" y="4940"/>
                </a:lnTo>
                <a:lnTo>
                  <a:pt x="10634" y="4965"/>
                </a:lnTo>
                <a:lnTo>
                  <a:pt x="10634" y="4989"/>
                </a:lnTo>
                <a:lnTo>
                  <a:pt x="10658" y="5013"/>
                </a:lnTo>
                <a:lnTo>
                  <a:pt x="10902" y="5086"/>
                </a:lnTo>
                <a:lnTo>
                  <a:pt x="11169" y="5111"/>
                </a:lnTo>
                <a:lnTo>
                  <a:pt x="12021" y="5111"/>
                </a:lnTo>
                <a:lnTo>
                  <a:pt x="12362" y="5135"/>
                </a:lnTo>
                <a:lnTo>
                  <a:pt x="12556" y="5622"/>
                </a:lnTo>
                <a:lnTo>
                  <a:pt x="11461" y="5622"/>
                </a:lnTo>
                <a:lnTo>
                  <a:pt x="11291" y="5646"/>
                </a:lnTo>
                <a:lnTo>
                  <a:pt x="11145" y="5695"/>
                </a:lnTo>
                <a:lnTo>
                  <a:pt x="10999" y="5768"/>
                </a:lnTo>
                <a:lnTo>
                  <a:pt x="10975" y="5792"/>
                </a:lnTo>
                <a:lnTo>
                  <a:pt x="10999" y="5841"/>
                </a:lnTo>
                <a:lnTo>
                  <a:pt x="11267" y="5889"/>
                </a:lnTo>
                <a:lnTo>
                  <a:pt x="11534" y="5889"/>
                </a:lnTo>
                <a:lnTo>
                  <a:pt x="12070" y="5914"/>
                </a:lnTo>
                <a:lnTo>
                  <a:pt x="12654" y="5938"/>
                </a:lnTo>
                <a:lnTo>
                  <a:pt x="12702" y="6060"/>
                </a:lnTo>
                <a:lnTo>
                  <a:pt x="12727" y="6181"/>
                </a:lnTo>
                <a:lnTo>
                  <a:pt x="12386" y="6181"/>
                </a:lnTo>
                <a:lnTo>
                  <a:pt x="11729" y="6254"/>
                </a:lnTo>
                <a:lnTo>
                  <a:pt x="11413" y="6279"/>
                </a:lnTo>
                <a:lnTo>
                  <a:pt x="11121" y="6352"/>
                </a:lnTo>
                <a:lnTo>
                  <a:pt x="11096" y="6352"/>
                </a:lnTo>
                <a:lnTo>
                  <a:pt x="11096" y="6376"/>
                </a:lnTo>
                <a:lnTo>
                  <a:pt x="11096" y="6400"/>
                </a:lnTo>
                <a:lnTo>
                  <a:pt x="11121" y="6425"/>
                </a:lnTo>
                <a:lnTo>
                  <a:pt x="11388" y="6473"/>
                </a:lnTo>
                <a:lnTo>
                  <a:pt x="11656" y="6498"/>
                </a:lnTo>
                <a:lnTo>
                  <a:pt x="12508" y="6498"/>
                </a:lnTo>
                <a:lnTo>
                  <a:pt x="12824" y="6522"/>
                </a:lnTo>
                <a:lnTo>
                  <a:pt x="12873" y="6838"/>
                </a:lnTo>
                <a:lnTo>
                  <a:pt x="12556" y="6838"/>
                </a:lnTo>
                <a:lnTo>
                  <a:pt x="12240" y="6863"/>
                </a:lnTo>
                <a:lnTo>
                  <a:pt x="11753" y="6887"/>
                </a:lnTo>
                <a:lnTo>
                  <a:pt x="11510" y="6911"/>
                </a:lnTo>
                <a:lnTo>
                  <a:pt x="11267" y="6936"/>
                </a:lnTo>
                <a:lnTo>
                  <a:pt x="11242" y="6936"/>
                </a:lnTo>
                <a:lnTo>
                  <a:pt x="11242" y="6960"/>
                </a:lnTo>
                <a:lnTo>
                  <a:pt x="11242" y="7009"/>
                </a:lnTo>
                <a:lnTo>
                  <a:pt x="11267" y="7009"/>
                </a:lnTo>
                <a:lnTo>
                  <a:pt x="11461" y="7082"/>
                </a:lnTo>
                <a:lnTo>
                  <a:pt x="11680" y="7130"/>
                </a:lnTo>
                <a:lnTo>
                  <a:pt x="12727" y="7130"/>
                </a:lnTo>
                <a:lnTo>
                  <a:pt x="12921" y="7106"/>
                </a:lnTo>
                <a:lnTo>
                  <a:pt x="12994" y="7593"/>
                </a:lnTo>
                <a:lnTo>
                  <a:pt x="12994" y="7593"/>
                </a:lnTo>
                <a:lnTo>
                  <a:pt x="12848" y="7568"/>
                </a:lnTo>
                <a:lnTo>
                  <a:pt x="12702" y="7568"/>
                </a:lnTo>
                <a:lnTo>
                  <a:pt x="12435" y="7593"/>
                </a:lnTo>
                <a:lnTo>
                  <a:pt x="11997" y="7593"/>
                </a:lnTo>
                <a:lnTo>
                  <a:pt x="11778" y="7617"/>
                </a:lnTo>
                <a:lnTo>
                  <a:pt x="11559" y="7690"/>
                </a:lnTo>
                <a:lnTo>
                  <a:pt x="11534" y="7690"/>
                </a:lnTo>
                <a:lnTo>
                  <a:pt x="11534" y="7739"/>
                </a:lnTo>
                <a:lnTo>
                  <a:pt x="11534" y="7763"/>
                </a:lnTo>
                <a:lnTo>
                  <a:pt x="11559" y="7787"/>
                </a:lnTo>
                <a:lnTo>
                  <a:pt x="11778" y="7836"/>
                </a:lnTo>
                <a:lnTo>
                  <a:pt x="11997" y="7860"/>
                </a:lnTo>
                <a:lnTo>
                  <a:pt x="12435" y="7860"/>
                </a:lnTo>
                <a:lnTo>
                  <a:pt x="12702" y="7885"/>
                </a:lnTo>
                <a:lnTo>
                  <a:pt x="12848" y="7885"/>
                </a:lnTo>
                <a:lnTo>
                  <a:pt x="12994" y="7860"/>
                </a:lnTo>
                <a:lnTo>
                  <a:pt x="12994" y="7909"/>
                </a:lnTo>
                <a:lnTo>
                  <a:pt x="12994" y="8250"/>
                </a:lnTo>
                <a:lnTo>
                  <a:pt x="12873" y="8201"/>
                </a:lnTo>
                <a:lnTo>
                  <a:pt x="12775" y="8201"/>
                </a:lnTo>
                <a:lnTo>
                  <a:pt x="12532" y="8177"/>
                </a:lnTo>
                <a:lnTo>
                  <a:pt x="12094" y="8177"/>
                </a:lnTo>
                <a:lnTo>
                  <a:pt x="11875" y="8201"/>
                </a:lnTo>
                <a:lnTo>
                  <a:pt x="11656" y="8250"/>
                </a:lnTo>
                <a:lnTo>
                  <a:pt x="11656" y="8274"/>
                </a:lnTo>
                <a:lnTo>
                  <a:pt x="11632" y="8298"/>
                </a:lnTo>
                <a:lnTo>
                  <a:pt x="11656" y="8298"/>
                </a:lnTo>
                <a:lnTo>
                  <a:pt x="11656" y="8323"/>
                </a:lnTo>
                <a:lnTo>
                  <a:pt x="12045" y="8396"/>
                </a:lnTo>
                <a:lnTo>
                  <a:pt x="12410" y="8444"/>
                </a:lnTo>
                <a:lnTo>
                  <a:pt x="12702" y="8469"/>
                </a:lnTo>
                <a:lnTo>
                  <a:pt x="12824" y="8493"/>
                </a:lnTo>
                <a:lnTo>
                  <a:pt x="12970" y="8469"/>
                </a:lnTo>
                <a:lnTo>
                  <a:pt x="12873" y="8858"/>
                </a:lnTo>
                <a:lnTo>
                  <a:pt x="12654" y="8809"/>
                </a:lnTo>
                <a:lnTo>
                  <a:pt x="12483" y="8785"/>
                </a:lnTo>
                <a:lnTo>
                  <a:pt x="12264" y="8736"/>
                </a:lnTo>
                <a:lnTo>
                  <a:pt x="11826" y="8736"/>
                </a:lnTo>
                <a:lnTo>
                  <a:pt x="11607" y="8809"/>
                </a:lnTo>
                <a:lnTo>
                  <a:pt x="11583" y="8834"/>
                </a:lnTo>
                <a:lnTo>
                  <a:pt x="11583" y="8858"/>
                </a:lnTo>
                <a:lnTo>
                  <a:pt x="11583" y="8882"/>
                </a:lnTo>
                <a:lnTo>
                  <a:pt x="11851" y="8882"/>
                </a:lnTo>
                <a:lnTo>
                  <a:pt x="12094" y="8931"/>
                </a:lnTo>
                <a:lnTo>
                  <a:pt x="12556" y="9053"/>
                </a:lnTo>
                <a:lnTo>
                  <a:pt x="12775" y="9126"/>
                </a:lnTo>
                <a:lnTo>
                  <a:pt x="12654" y="9345"/>
                </a:lnTo>
                <a:lnTo>
                  <a:pt x="12508" y="9296"/>
                </a:lnTo>
                <a:lnTo>
                  <a:pt x="12313" y="9272"/>
                </a:lnTo>
                <a:lnTo>
                  <a:pt x="12143" y="9223"/>
                </a:lnTo>
                <a:lnTo>
                  <a:pt x="11972" y="9199"/>
                </a:lnTo>
                <a:lnTo>
                  <a:pt x="11607" y="9199"/>
                </a:lnTo>
                <a:lnTo>
                  <a:pt x="11583" y="9223"/>
                </a:lnTo>
                <a:lnTo>
                  <a:pt x="11583" y="9247"/>
                </a:lnTo>
                <a:lnTo>
                  <a:pt x="11583" y="9272"/>
                </a:lnTo>
                <a:lnTo>
                  <a:pt x="11924" y="9418"/>
                </a:lnTo>
                <a:lnTo>
                  <a:pt x="12240" y="9564"/>
                </a:lnTo>
                <a:lnTo>
                  <a:pt x="12532" y="9637"/>
                </a:lnTo>
                <a:lnTo>
                  <a:pt x="12337" y="9929"/>
                </a:lnTo>
                <a:lnTo>
                  <a:pt x="12337" y="9977"/>
                </a:lnTo>
                <a:lnTo>
                  <a:pt x="12167" y="9904"/>
                </a:lnTo>
                <a:lnTo>
                  <a:pt x="11997" y="9880"/>
                </a:lnTo>
                <a:lnTo>
                  <a:pt x="11802" y="9831"/>
                </a:lnTo>
                <a:lnTo>
                  <a:pt x="11242" y="9831"/>
                </a:lnTo>
                <a:lnTo>
                  <a:pt x="11218" y="9856"/>
                </a:lnTo>
                <a:lnTo>
                  <a:pt x="11218" y="9880"/>
                </a:lnTo>
                <a:lnTo>
                  <a:pt x="11242" y="9880"/>
                </a:lnTo>
                <a:lnTo>
                  <a:pt x="11534" y="10002"/>
                </a:lnTo>
                <a:lnTo>
                  <a:pt x="11851" y="10123"/>
                </a:lnTo>
                <a:lnTo>
                  <a:pt x="12167" y="10245"/>
                </a:lnTo>
                <a:lnTo>
                  <a:pt x="11972" y="10513"/>
                </a:lnTo>
                <a:lnTo>
                  <a:pt x="11826" y="10488"/>
                </a:lnTo>
                <a:lnTo>
                  <a:pt x="11413" y="10391"/>
                </a:lnTo>
                <a:lnTo>
                  <a:pt x="11023" y="10342"/>
                </a:lnTo>
                <a:lnTo>
                  <a:pt x="10975" y="10342"/>
                </a:lnTo>
                <a:lnTo>
                  <a:pt x="10975" y="10367"/>
                </a:lnTo>
                <a:lnTo>
                  <a:pt x="10975" y="10391"/>
                </a:lnTo>
                <a:lnTo>
                  <a:pt x="10999" y="10440"/>
                </a:lnTo>
                <a:lnTo>
                  <a:pt x="11145" y="10537"/>
                </a:lnTo>
                <a:lnTo>
                  <a:pt x="11315" y="10610"/>
                </a:lnTo>
                <a:lnTo>
                  <a:pt x="11632" y="10732"/>
                </a:lnTo>
                <a:lnTo>
                  <a:pt x="11802" y="10780"/>
                </a:lnTo>
                <a:lnTo>
                  <a:pt x="11656" y="10999"/>
                </a:lnTo>
                <a:lnTo>
                  <a:pt x="11510" y="10951"/>
                </a:lnTo>
                <a:lnTo>
                  <a:pt x="11364" y="10926"/>
                </a:lnTo>
                <a:lnTo>
                  <a:pt x="11072" y="10853"/>
                </a:lnTo>
                <a:lnTo>
                  <a:pt x="10950" y="10853"/>
                </a:lnTo>
                <a:lnTo>
                  <a:pt x="10804" y="10902"/>
                </a:lnTo>
                <a:lnTo>
                  <a:pt x="10780" y="10926"/>
                </a:lnTo>
                <a:lnTo>
                  <a:pt x="10756" y="10951"/>
                </a:lnTo>
                <a:lnTo>
                  <a:pt x="10756" y="10999"/>
                </a:lnTo>
                <a:lnTo>
                  <a:pt x="10780" y="11048"/>
                </a:lnTo>
                <a:lnTo>
                  <a:pt x="10902" y="11121"/>
                </a:lnTo>
                <a:lnTo>
                  <a:pt x="11023" y="11170"/>
                </a:lnTo>
                <a:lnTo>
                  <a:pt x="11267" y="11243"/>
                </a:lnTo>
                <a:lnTo>
                  <a:pt x="11461" y="11291"/>
                </a:lnTo>
                <a:lnTo>
                  <a:pt x="11242" y="11583"/>
                </a:lnTo>
                <a:lnTo>
                  <a:pt x="11072" y="11535"/>
                </a:lnTo>
                <a:lnTo>
                  <a:pt x="10877" y="11535"/>
                </a:lnTo>
                <a:lnTo>
                  <a:pt x="10683" y="11583"/>
                </a:lnTo>
                <a:lnTo>
                  <a:pt x="10658" y="11608"/>
                </a:lnTo>
                <a:lnTo>
                  <a:pt x="10683" y="11632"/>
                </a:lnTo>
                <a:lnTo>
                  <a:pt x="10829" y="11681"/>
                </a:lnTo>
                <a:lnTo>
                  <a:pt x="10975" y="11729"/>
                </a:lnTo>
                <a:lnTo>
                  <a:pt x="11096" y="11778"/>
                </a:lnTo>
                <a:lnTo>
                  <a:pt x="10877" y="12143"/>
                </a:lnTo>
                <a:lnTo>
                  <a:pt x="10829" y="12118"/>
                </a:lnTo>
                <a:lnTo>
                  <a:pt x="10658" y="12045"/>
                </a:lnTo>
                <a:lnTo>
                  <a:pt x="10561" y="11997"/>
                </a:lnTo>
                <a:lnTo>
                  <a:pt x="10464" y="11972"/>
                </a:lnTo>
                <a:lnTo>
                  <a:pt x="10439" y="11997"/>
                </a:lnTo>
                <a:lnTo>
                  <a:pt x="10439" y="12045"/>
                </a:lnTo>
                <a:lnTo>
                  <a:pt x="10488" y="12118"/>
                </a:lnTo>
                <a:lnTo>
                  <a:pt x="10585" y="12191"/>
                </a:lnTo>
                <a:lnTo>
                  <a:pt x="10756" y="12313"/>
                </a:lnTo>
                <a:lnTo>
                  <a:pt x="10561" y="12654"/>
                </a:lnTo>
                <a:lnTo>
                  <a:pt x="10415" y="12629"/>
                </a:lnTo>
                <a:lnTo>
                  <a:pt x="10172" y="12629"/>
                </a:lnTo>
                <a:lnTo>
                  <a:pt x="10026" y="12654"/>
                </a:lnTo>
                <a:lnTo>
                  <a:pt x="10026" y="12678"/>
                </a:lnTo>
                <a:lnTo>
                  <a:pt x="10026" y="12702"/>
                </a:lnTo>
                <a:lnTo>
                  <a:pt x="10245" y="12800"/>
                </a:lnTo>
                <a:lnTo>
                  <a:pt x="10439" y="12897"/>
                </a:lnTo>
                <a:lnTo>
                  <a:pt x="10196" y="13384"/>
                </a:lnTo>
                <a:lnTo>
                  <a:pt x="9880" y="13384"/>
                </a:lnTo>
                <a:lnTo>
                  <a:pt x="9904" y="13432"/>
                </a:lnTo>
                <a:lnTo>
                  <a:pt x="10147" y="13505"/>
                </a:lnTo>
                <a:lnTo>
                  <a:pt x="10074" y="13700"/>
                </a:lnTo>
                <a:lnTo>
                  <a:pt x="10026" y="13895"/>
                </a:lnTo>
                <a:lnTo>
                  <a:pt x="9953" y="14284"/>
                </a:lnTo>
                <a:lnTo>
                  <a:pt x="9880" y="14673"/>
                </a:lnTo>
                <a:lnTo>
                  <a:pt x="9807" y="15087"/>
                </a:lnTo>
                <a:lnTo>
                  <a:pt x="9101" y="15111"/>
                </a:lnTo>
                <a:lnTo>
                  <a:pt x="9247" y="14673"/>
                </a:lnTo>
                <a:lnTo>
                  <a:pt x="9344" y="14235"/>
                </a:lnTo>
                <a:lnTo>
                  <a:pt x="9539" y="13359"/>
                </a:lnTo>
                <a:lnTo>
                  <a:pt x="9734" y="12459"/>
                </a:lnTo>
                <a:lnTo>
                  <a:pt x="9855" y="12021"/>
                </a:lnTo>
                <a:lnTo>
                  <a:pt x="9977" y="11583"/>
                </a:lnTo>
                <a:lnTo>
                  <a:pt x="10269" y="10659"/>
                </a:lnTo>
                <a:lnTo>
                  <a:pt x="10537" y="9734"/>
                </a:lnTo>
                <a:lnTo>
                  <a:pt x="10658" y="9320"/>
                </a:lnTo>
                <a:lnTo>
                  <a:pt x="10756" y="8858"/>
                </a:lnTo>
                <a:lnTo>
                  <a:pt x="10780" y="8639"/>
                </a:lnTo>
                <a:lnTo>
                  <a:pt x="10780" y="8396"/>
                </a:lnTo>
                <a:lnTo>
                  <a:pt x="10756" y="8177"/>
                </a:lnTo>
                <a:lnTo>
                  <a:pt x="10707" y="7958"/>
                </a:lnTo>
                <a:lnTo>
                  <a:pt x="10683" y="7933"/>
                </a:lnTo>
                <a:lnTo>
                  <a:pt x="10634" y="7933"/>
                </a:lnTo>
                <a:lnTo>
                  <a:pt x="10610" y="7958"/>
                </a:lnTo>
                <a:lnTo>
                  <a:pt x="10537" y="8177"/>
                </a:lnTo>
                <a:lnTo>
                  <a:pt x="10464" y="8420"/>
                </a:lnTo>
                <a:lnTo>
                  <a:pt x="10366" y="8882"/>
                </a:lnTo>
                <a:lnTo>
                  <a:pt x="10293" y="9369"/>
                </a:lnTo>
                <a:lnTo>
                  <a:pt x="10172" y="9831"/>
                </a:lnTo>
                <a:lnTo>
                  <a:pt x="9904" y="10756"/>
                </a:lnTo>
                <a:lnTo>
                  <a:pt x="9588" y="11656"/>
                </a:lnTo>
                <a:lnTo>
                  <a:pt x="9466" y="12094"/>
                </a:lnTo>
                <a:lnTo>
                  <a:pt x="9369" y="12532"/>
                </a:lnTo>
                <a:lnTo>
                  <a:pt x="9174" y="13384"/>
                </a:lnTo>
                <a:lnTo>
                  <a:pt x="8979" y="14260"/>
                </a:lnTo>
                <a:lnTo>
                  <a:pt x="8858" y="14698"/>
                </a:lnTo>
                <a:lnTo>
                  <a:pt x="8736" y="15111"/>
                </a:lnTo>
                <a:lnTo>
                  <a:pt x="8128" y="15136"/>
                </a:lnTo>
                <a:lnTo>
                  <a:pt x="7519" y="15087"/>
                </a:lnTo>
                <a:lnTo>
                  <a:pt x="7179" y="15063"/>
                </a:lnTo>
                <a:lnTo>
                  <a:pt x="7154" y="15038"/>
                </a:lnTo>
                <a:lnTo>
                  <a:pt x="7081" y="14698"/>
                </a:lnTo>
                <a:lnTo>
                  <a:pt x="7033" y="14357"/>
                </a:lnTo>
                <a:lnTo>
                  <a:pt x="6935" y="13651"/>
                </a:lnTo>
                <a:lnTo>
                  <a:pt x="6765" y="12605"/>
                </a:lnTo>
                <a:lnTo>
                  <a:pt x="6570" y="11583"/>
                </a:lnTo>
                <a:lnTo>
                  <a:pt x="6230" y="9880"/>
                </a:lnTo>
                <a:lnTo>
                  <a:pt x="6060" y="9028"/>
                </a:lnTo>
                <a:lnTo>
                  <a:pt x="5841" y="8177"/>
                </a:lnTo>
                <a:lnTo>
                  <a:pt x="5816" y="8152"/>
                </a:lnTo>
                <a:lnTo>
                  <a:pt x="5768" y="8128"/>
                </a:lnTo>
                <a:lnTo>
                  <a:pt x="5743" y="8128"/>
                </a:lnTo>
                <a:lnTo>
                  <a:pt x="5695" y="8152"/>
                </a:lnTo>
                <a:lnTo>
                  <a:pt x="5646" y="8298"/>
                </a:lnTo>
                <a:lnTo>
                  <a:pt x="5646" y="8420"/>
                </a:lnTo>
                <a:lnTo>
                  <a:pt x="5646" y="8542"/>
                </a:lnTo>
                <a:lnTo>
                  <a:pt x="5646" y="8663"/>
                </a:lnTo>
                <a:lnTo>
                  <a:pt x="5719" y="8931"/>
                </a:lnTo>
                <a:lnTo>
                  <a:pt x="5768" y="9199"/>
                </a:lnTo>
                <a:lnTo>
                  <a:pt x="5865" y="9734"/>
                </a:lnTo>
                <a:lnTo>
                  <a:pt x="5962" y="10245"/>
                </a:lnTo>
                <a:lnTo>
                  <a:pt x="6035" y="10780"/>
                </a:lnTo>
                <a:lnTo>
                  <a:pt x="6133" y="11316"/>
                </a:lnTo>
                <a:lnTo>
                  <a:pt x="6327" y="12337"/>
                </a:lnTo>
                <a:lnTo>
                  <a:pt x="6522" y="13384"/>
                </a:lnTo>
                <a:lnTo>
                  <a:pt x="6570" y="13773"/>
                </a:lnTo>
                <a:lnTo>
                  <a:pt x="6619" y="14211"/>
                </a:lnTo>
                <a:lnTo>
                  <a:pt x="6668" y="14625"/>
                </a:lnTo>
                <a:lnTo>
                  <a:pt x="6716" y="14819"/>
                </a:lnTo>
                <a:lnTo>
                  <a:pt x="6765" y="15014"/>
                </a:lnTo>
                <a:lnTo>
                  <a:pt x="6497" y="15038"/>
                </a:lnTo>
                <a:lnTo>
                  <a:pt x="6473" y="14625"/>
                </a:lnTo>
                <a:lnTo>
                  <a:pt x="6400" y="14235"/>
                </a:lnTo>
                <a:lnTo>
                  <a:pt x="6279" y="13846"/>
                </a:lnTo>
                <a:lnTo>
                  <a:pt x="6133" y="13481"/>
                </a:lnTo>
                <a:lnTo>
                  <a:pt x="5938" y="13116"/>
                </a:lnTo>
                <a:lnTo>
                  <a:pt x="5743" y="12775"/>
                </a:lnTo>
                <a:lnTo>
                  <a:pt x="5281" y="12070"/>
                </a:lnTo>
                <a:lnTo>
                  <a:pt x="4746" y="11267"/>
                </a:lnTo>
                <a:lnTo>
                  <a:pt x="4210" y="10415"/>
                </a:lnTo>
                <a:lnTo>
                  <a:pt x="3967" y="9977"/>
                </a:lnTo>
                <a:lnTo>
                  <a:pt x="3724" y="9539"/>
                </a:lnTo>
                <a:lnTo>
                  <a:pt x="3529" y="9077"/>
                </a:lnTo>
                <a:lnTo>
                  <a:pt x="3359" y="8615"/>
                </a:lnTo>
                <a:lnTo>
                  <a:pt x="3286" y="8396"/>
                </a:lnTo>
                <a:lnTo>
                  <a:pt x="3261" y="8152"/>
                </a:lnTo>
                <a:lnTo>
                  <a:pt x="3237" y="7909"/>
                </a:lnTo>
                <a:lnTo>
                  <a:pt x="3237" y="7666"/>
                </a:lnTo>
                <a:lnTo>
                  <a:pt x="3261" y="7155"/>
                </a:lnTo>
                <a:lnTo>
                  <a:pt x="3310" y="6668"/>
                </a:lnTo>
                <a:lnTo>
                  <a:pt x="3334" y="6376"/>
                </a:lnTo>
                <a:lnTo>
                  <a:pt x="3407" y="6108"/>
                </a:lnTo>
                <a:lnTo>
                  <a:pt x="3480" y="5841"/>
                </a:lnTo>
                <a:lnTo>
                  <a:pt x="3578" y="5597"/>
                </a:lnTo>
                <a:lnTo>
                  <a:pt x="3699" y="5354"/>
                </a:lnTo>
                <a:lnTo>
                  <a:pt x="3845" y="5111"/>
                </a:lnTo>
                <a:lnTo>
                  <a:pt x="4016" y="4892"/>
                </a:lnTo>
                <a:lnTo>
                  <a:pt x="4186" y="4673"/>
                </a:lnTo>
                <a:lnTo>
                  <a:pt x="4648" y="4162"/>
                </a:lnTo>
                <a:lnTo>
                  <a:pt x="5062" y="3748"/>
                </a:lnTo>
                <a:lnTo>
                  <a:pt x="5403" y="3432"/>
                </a:lnTo>
                <a:lnTo>
                  <a:pt x="5743" y="3189"/>
                </a:lnTo>
                <a:lnTo>
                  <a:pt x="6060" y="3018"/>
                </a:lnTo>
                <a:lnTo>
                  <a:pt x="6352" y="2872"/>
                </a:lnTo>
                <a:lnTo>
                  <a:pt x="6668" y="2775"/>
                </a:lnTo>
                <a:lnTo>
                  <a:pt x="6984" y="2702"/>
                </a:lnTo>
                <a:lnTo>
                  <a:pt x="7276" y="2653"/>
                </a:lnTo>
                <a:lnTo>
                  <a:pt x="7568" y="2629"/>
                </a:lnTo>
                <a:lnTo>
                  <a:pt x="7860" y="2605"/>
                </a:lnTo>
                <a:close/>
                <a:moveTo>
                  <a:pt x="6716" y="15525"/>
                </a:moveTo>
                <a:lnTo>
                  <a:pt x="6619" y="15720"/>
                </a:lnTo>
                <a:lnTo>
                  <a:pt x="6352" y="16158"/>
                </a:lnTo>
                <a:lnTo>
                  <a:pt x="6279" y="16109"/>
                </a:lnTo>
                <a:lnTo>
                  <a:pt x="6230" y="16060"/>
                </a:lnTo>
                <a:lnTo>
                  <a:pt x="6206" y="15963"/>
                </a:lnTo>
                <a:lnTo>
                  <a:pt x="6206" y="15866"/>
                </a:lnTo>
                <a:lnTo>
                  <a:pt x="6206" y="15768"/>
                </a:lnTo>
                <a:lnTo>
                  <a:pt x="6230" y="15695"/>
                </a:lnTo>
                <a:lnTo>
                  <a:pt x="6279" y="15598"/>
                </a:lnTo>
                <a:lnTo>
                  <a:pt x="6327" y="15549"/>
                </a:lnTo>
                <a:lnTo>
                  <a:pt x="6595" y="15525"/>
                </a:lnTo>
                <a:close/>
                <a:moveTo>
                  <a:pt x="6887" y="15525"/>
                </a:moveTo>
                <a:lnTo>
                  <a:pt x="7276" y="15549"/>
                </a:lnTo>
                <a:lnTo>
                  <a:pt x="7641" y="15598"/>
                </a:lnTo>
                <a:lnTo>
                  <a:pt x="8225" y="15647"/>
                </a:lnTo>
                <a:lnTo>
                  <a:pt x="8809" y="15671"/>
                </a:lnTo>
                <a:lnTo>
                  <a:pt x="8541" y="15963"/>
                </a:lnTo>
                <a:lnTo>
                  <a:pt x="8298" y="16255"/>
                </a:lnTo>
                <a:lnTo>
                  <a:pt x="7909" y="16231"/>
                </a:lnTo>
                <a:lnTo>
                  <a:pt x="8249" y="15744"/>
                </a:lnTo>
                <a:lnTo>
                  <a:pt x="8249" y="15720"/>
                </a:lnTo>
                <a:lnTo>
                  <a:pt x="8225" y="15695"/>
                </a:lnTo>
                <a:lnTo>
                  <a:pt x="8201" y="15671"/>
                </a:lnTo>
                <a:lnTo>
                  <a:pt x="8176" y="15695"/>
                </a:lnTo>
                <a:lnTo>
                  <a:pt x="7690" y="16231"/>
                </a:lnTo>
                <a:lnTo>
                  <a:pt x="7179" y="16182"/>
                </a:lnTo>
                <a:lnTo>
                  <a:pt x="7325" y="15939"/>
                </a:lnTo>
                <a:lnTo>
                  <a:pt x="7471" y="15671"/>
                </a:lnTo>
                <a:lnTo>
                  <a:pt x="7471" y="15647"/>
                </a:lnTo>
                <a:lnTo>
                  <a:pt x="7446" y="15622"/>
                </a:lnTo>
                <a:lnTo>
                  <a:pt x="7422" y="15647"/>
                </a:lnTo>
                <a:lnTo>
                  <a:pt x="7203" y="15890"/>
                </a:lnTo>
                <a:lnTo>
                  <a:pt x="6935" y="16182"/>
                </a:lnTo>
                <a:lnTo>
                  <a:pt x="6741" y="16206"/>
                </a:lnTo>
                <a:lnTo>
                  <a:pt x="6570" y="16255"/>
                </a:lnTo>
                <a:lnTo>
                  <a:pt x="6668" y="16060"/>
                </a:lnTo>
                <a:lnTo>
                  <a:pt x="6814" y="15817"/>
                </a:lnTo>
                <a:lnTo>
                  <a:pt x="6862" y="15671"/>
                </a:lnTo>
                <a:lnTo>
                  <a:pt x="6887" y="15525"/>
                </a:lnTo>
                <a:close/>
                <a:moveTo>
                  <a:pt x="9661" y="15622"/>
                </a:moveTo>
                <a:lnTo>
                  <a:pt x="9734" y="15671"/>
                </a:lnTo>
                <a:lnTo>
                  <a:pt x="9807" y="15695"/>
                </a:lnTo>
                <a:lnTo>
                  <a:pt x="9953" y="15695"/>
                </a:lnTo>
                <a:lnTo>
                  <a:pt x="9782" y="15793"/>
                </a:lnTo>
                <a:lnTo>
                  <a:pt x="9661" y="15939"/>
                </a:lnTo>
                <a:lnTo>
                  <a:pt x="9539" y="16085"/>
                </a:lnTo>
                <a:lnTo>
                  <a:pt x="9417" y="16279"/>
                </a:lnTo>
                <a:lnTo>
                  <a:pt x="9271" y="16279"/>
                </a:lnTo>
                <a:lnTo>
                  <a:pt x="9612" y="15817"/>
                </a:lnTo>
                <a:lnTo>
                  <a:pt x="9612" y="15793"/>
                </a:lnTo>
                <a:lnTo>
                  <a:pt x="9612" y="15768"/>
                </a:lnTo>
                <a:lnTo>
                  <a:pt x="9563" y="15768"/>
                </a:lnTo>
                <a:lnTo>
                  <a:pt x="9320" y="16012"/>
                </a:lnTo>
                <a:lnTo>
                  <a:pt x="9077" y="16255"/>
                </a:lnTo>
                <a:lnTo>
                  <a:pt x="8517" y="16255"/>
                </a:lnTo>
                <a:lnTo>
                  <a:pt x="8882" y="15720"/>
                </a:lnTo>
                <a:lnTo>
                  <a:pt x="8906" y="15695"/>
                </a:lnTo>
                <a:lnTo>
                  <a:pt x="8882" y="15671"/>
                </a:lnTo>
                <a:lnTo>
                  <a:pt x="9271" y="15671"/>
                </a:lnTo>
                <a:lnTo>
                  <a:pt x="9661" y="15622"/>
                </a:lnTo>
                <a:close/>
                <a:moveTo>
                  <a:pt x="10074" y="15768"/>
                </a:moveTo>
                <a:lnTo>
                  <a:pt x="10074" y="15841"/>
                </a:lnTo>
                <a:lnTo>
                  <a:pt x="10099" y="15939"/>
                </a:lnTo>
                <a:lnTo>
                  <a:pt x="10074" y="16060"/>
                </a:lnTo>
                <a:lnTo>
                  <a:pt x="10050" y="16182"/>
                </a:lnTo>
                <a:lnTo>
                  <a:pt x="9977" y="16304"/>
                </a:lnTo>
                <a:lnTo>
                  <a:pt x="9758" y="16279"/>
                </a:lnTo>
                <a:lnTo>
                  <a:pt x="9880" y="16012"/>
                </a:lnTo>
                <a:lnTo>
                  <a:pt x="9977" y="15890"/>
                </a:lnTo>
                <a:lnTo>
                  <a:pt x="10074" y="15768"/>
                </a:lnTo>
                <a:close/>
                <a:moveTo>
                  <a:pt x="6522" y="16571"/>
                </a:moveTo>
                <a:lnTo>
                  <a:pt x="6595" y="16620"/>
                </a:lnTo>
                <a:lnTo>
                  <a:pt x="6424" y="16888"/>
                </a:lnTo>
                <a:lnTo>
                  <a:pt x="6376" y="17034"/>
                </a:lnTo>
                <a:lnTo>
                  <a:pt x="6327" y="17180"/>
                </a:lnTo>
                <a:lnTo>
                  <a:pt x="6254" y="17082"/>
                </a:lnTo>
                <a:lnTo>
                  <a:pt x="6230" y="16985"/>
                </a:lnTo>
                <a:lnTo>
                  <a:pt x="6206" y="16912"/>
                </a:lnTo>
                <a:lnTo>
                  <a:pt x="6230" y="16815"/>
                </a:lnTo>
                <a:lnTo>
                  <a:pt x="6254" y="16839"/>
                </a:lnTo>
                <a:lnTo>
                  <a:pt x="6303" y="16839"/>
                </a:lnTo>
                <a:lnTo>
                  <a:pt x="6352" y="16815"/>
                </a:lnTo>
                <a:lnTo>
                  <a:pt x="6376" y="16766"/>
                </a:lnTo>
                <a:lnTo>
                  <a:pt x="6424" y="16596"/>
                </a:lnTo>
                <a:lnTo>
                  <a:pt x="6449" y="16596"/>
                </a:lnTo>
                <a:lnTo>
                  <a:pt x="6522" y="16571"/>
                </a:lnTo>
                <a:close/>
                <a:moveTo>
                  <a:pt x="7884" y="16693"/>
                </a:moveTo>
                <a:lnTo>
                  <a:pt x="7957" y="16717"/>
                </a:lnTo>
                <a:lnTo>
                  <a:pt x="7787" y="16985"/>
                </a:lnTo>
                <a:lnTo>
                  <a:pt x="7617" y="17253"/>
                </a:lnTo>
                <a:lnTo>
                  <a:pt x="7592" y="17326"/>
                </a:lnTo>
                <a:lnTo>
                  <a:pt x="7300" y="17326"/>
                </a:lnTo>
                <a:lnTo>
                  <a:pt x="7398" y="17107"/>
                </a:lnTo>
                <a:lnTo>
                  <a:pt x="7519" y="16888"/>
                </a:lnTo>
                <a:lnTo>
                  <a:pt x="7617" y="16717"/>
                </a:lnTo>
                <a:lnTo>
                  <a:pt x="7884" y="16693"/>
                </a:lnTo>
                <a:close/>
                <a:moveTo>
                  <a:pt x="8225" y="16717"/>
                </a:moveTo>
                <a:lnTo>
                  <a:pt x="8736" y="16742"/>
                </a:lnTo>
                <a:lnTo>
                  <a:pt x="8541" y="17034"/>
                </a:lnTo>
                <a:lnTo>
                  <a:pt x="8371" y="17326"/>
                </a:lnTo>
                <a:lnTo>
                  <a:pt x="7909" y="17326"/>
                </a:lnTo>
                <a:lnTo>
                  <a:pt x="7933" y="17277"/>
                </a:lnTo>
                <a:lnTo>
                  <a:pt x="8225" y="16717"/>
                </a:lnTo>
                <a:close/>
                <a:moveTo>
                  <a:pt x="9223" y="16742"/>
                </a:moveTo>
                <a:lnTo>
                  <a:pt x="8979" y="17350"/>
                </a:lnTo>
                <a:lnTo>
                  <a:pt x="8663" y="17350"/>
                </a:lnTo>
                <a:lnTo>
                  <a:pt x="8979" y="16742"/>
                </a:lnTo>
                <a:close/>
                <a:moveTo>
                  <a:pt x="9928" y="16742"/>
                </a:moveTo>
                <a:lnTo>
                  <a:pt x="9661" y="17253"/>
                </a:lnTo>
                <a:lnTo>
                  <a:pt x="9612" y="17350"/>
                </a:lnTo>
                <a:lnTo>
                  <a:pt x="9320" y="17350"/>
                </a:lnTo>
                <a:lnTo>
                  <a:pt x="9563" y="16742"/>
                </a:lnTo>
                <a:close/>
                <a:moveTo>
                  <a:pt x="10147" y="16839"/>
                </a:moveTo>
                <a:lnTo>
                  <a:pt x="10220" y="16961"/>
                </a:lnTo>
                <a:lnTo>
                  <a:pt x="10245" y="17107"/>
                </a:lnTo>
                <a:lnTo>
                  <a:pt x="10220" y="17228"/>
                </a:lnTo>
                <a:lnTo>
                  <a:pt x="10147" y="17350"/>
                </a:lnTo>
                <a:lnTo>
                  <a:pt x="9928" y="17350"/>
                </a:lnTo>
                <a:lnTo>
                  <a:pt x="9953" y="17277"/>
                </a:lnTo>
                <a:lnTo>
                  <a:pt x="10050" y="17082"/>
                </a:lnTo>
                <a:lnTo>
                  <a:pt x="10147" y="16839"/>
                </a:lnTo>
                <a:close/>
                <a:moveTo>
                  <a:pt x="6862" y="16693"/>
                </a:moveTo>
                <a:lnTo>
                  <a:pt x="7081" y="16717"/>
                </a:lnTo>
                <a:lnTo>
                  <a:pt x="7300" y="16717"/>
                </a:lnTo>
                <a:lnTo>
                  <a:pt x="7106" y="17009"/>
                </a:lnTo>
                <a:lnTo>
                  <a:pt x="6935" y="17326"/>
                </a:lnTo>
                <a:lnTo>
                  <a:pt x="6741" y="17350"/>
                </a:lnTo>
                <a:lnTo>
                  <a:pt x="6570" y="17399"/>
                </a:lnTo>
                <a:lnTo>
                  <a:pt x="6619" y="17204"/>
                </a:lnTo>
                <a:lnTo>
                  <a:pt x="6692" y="17034"/>
                </a:lnTo>
                <a:lnTo>
                  <a:pt x="6862" y="16693"/>
                </a:lnTo>
                <a:close/>
                <a:moveTo>
                  <a:pt x="6473" y="17618"/>
                </a:moveTo>
                <a:lnTo>
                  <a:pt x="6643" y="17691"/>
                </a:lnTo>
                <a:lnTo>
                  <a:pt x="6814" y="17715"/>
                </a:lnTo>
                <a:lnTo>
                  <a:pt x="6789" y="17910"/>
                </a:lnTo>
                <a:lnTo>
                  <a:pt x="6765" y="18080"/>
                </a:lnTo>
                <a:lnTo>
                  <a:pt x="6643" y="17983"/>
                </a:lnTo>
                <a:lnTo>
                  <a:pt x="6546" y="17861"/>
                </a:lnTo>
                <a:lnTo>
                  <a:pt x="6352" y="17642"/>
                </a:lnTo>
                <a:lnTo>
                  <a:pt x="6376" y="17618"/>
                </a:lnTo>
                <a:lnTo>
                  <a:pt x="6424" y="17642"/>
                </a:lnTo>
                <a:lnTo>
                  <a:pt x="6473" y="17618"/>
                </a:lnTo>
                <a:close/>
                <a:moveTo>
                  <a:pt x="7398" y="17739"/>
                </a:moveTo>
                <a:lnTo>
                  <a:pt x="7300" y="18031"/>
                </a:lnTo>
                <a:lnTo>
                  <a:pt x="7252" y="18177"/>
                </a:lnTo>
                <a:lnTo>
                  <a:pt x="7252" y="18299"/>
                </a:lnTo>
                <a:lnTo>
                  <a:pt x="7008" y="18202"/>
                </a:lnTo>
                <a:lnTo>
                  <a:pt x="7154" y="17739"/>
                </a:lnTo>
                <a:close/>
                <a:moveTo>
                  <a:pt x="8833" y="17715"/>
                </a:moveTo>
                <a:lnTo>
                  <a:pt x="8785" y="17837"/>
                </a:lnTo>
                <a:lnTo>
                  <a:pt x="8736" y="17983"/>
                </a:lnTo>
                <a:lnTo>
                  <a:pt x="8712" y="18104"/>
                </a:lnTo>
                <a:lnTo>
                  <a:pt x="8736" y="18153"/>
                </a:lnTo>
                <a:lnTo>
                  <a:pt x="8736" y="18202"/>
                </a:lnTo>
                <a:lnTo>
                  <a:pt x="8809" y="18250"/>
                </a:lnTo>
                <a:lnTo>
                  <a:pt x="8882" y="18250"/>
                </a:lnTo>
                <a:lnTo>
                  <a:pt x="8931" y="18226"/>
                </a:lnTo>
                <a:lnTo>
                  <a:pt x="9004" y="18153"/>
                </a:lnTo>
                <a:lnTo>
                  <a:pt x="9125" y="17958"/>
                </a:lnTo>
                <a:lnTo>
                  <a:pt x="9198" y="17739"/>
                </a:lnTo>
                <a:lnTo>
                  <a:pt x="9393" y="17739"/>
                </a:lnTo>
                <a:lnTo>
                  <a:pt x="9369" y="17861"/>
                </a:lnTo>
                <a:lnTo>
                  <a:pt x="9369" y="18007"/>
                </a:lnTo>
                <a:lnTo>
                  <a:pt x="9125" y="18153"/>
                </a:lnTo>
                <a:lnTo>
                  <a:pt x="8833" y="18275"/>
                </a:lnTo>
                <a:lnTo>
                  <a:pt x="8566" y="18372"/>
                </a:lnTo>
                <a:lnTo>
                  <a:pt x="8249" y="18421"/>
                </a:lnTo>
                <a:lnTo>
                  <a:pt x="8274" y="18275"/>
                </a:lnTo>
                <a:lnTo>
                  <a:pt x="8371" y="17983"/>
                </a:lnTo>
                <a:lnTo>
                  <a:pt x="8468" y="17715"/>
                </a:lnTo>
                <a:close/>
                <a:moveTo>
                  <a:pt x="8176" y="17715"/>
                </a:moveTo>
                <a:lnTo>
                  <a:pt x="8030" y="18056"/>
                </a:lnTo>
                <a:lnTo>
                  <a:pt x="7957" y="18250"/>
                </a:lnTo>
                <a:lnTo>
                  <a:pt x="7933" y="18445"/>
                </a:lnTo>
                <a:lnTo>
                  <a:pt x="7738" y="18421"/>
                </a:lnTo>
                <a:lnTo>
                  <a:pt x="7568" y="18396"/>
                </a:lnTo>
                <a:lnTo>
                  <a:pt x="7568" y="18226"/>
                </a:lnTo>
                <a:lnTo>
                  <a:pt x="7641" y="17983"/>
                </a:lnTo>
                <a:lnTo>
                  <a:pt x="7738" y="17715"/>
                </a:lnTo>
                <a:close/>
                <a:moveTo>
                  <a:pt x="8128" y="2094"/>
                </a:moveTo>
                <a:lnTo>
                  <a:pt x="7714" y="2142"/>
                </a:lnTo>
                <a:lnTo>
                  <a:pt x="7325" y="2191"/>
                </a:lnTo>
                <a:lnTo>
                  <a:pt x="6935" y="2264"/>
                </a:lnTo>
                <a:lnTo>
                  <a:pt x="6546" y="2386"/>
                </a:lnTo>
                <a:lnTo>
                  <a:pt x="6181" y="2507"/>
                </a:lnTo>
                <a:lnTo>
                  <a:pt x="5841" y="2653"/>
                </a:lnTo>
                <a:lnTo>
                  <a:pt x="5500" y="2824"/>
                </a:lnTo>
                <a:lnTo>
                  <a:pt x="5184" y="3018"/>
                </a:lnTo>
                <a:lnTo>
                  <a:pt x="4892" y="3237"/>
                </a:lnTo>
                <a:lnTo>
                  <a:pt x="4551" y="3554"/>
                </a:lnTo>
                <a:lnTo>
                  <a:pt x="4210" y="3918"/>
                </a:lnTo>
                <a:lnTo>
                  <a:pt x="3918" y="4332"/>
                </a:lnTo>
                <a:lnTo>
                  <a:pt x="3626" y="4746"/>
                </a:lnTo>
                <a:lnTo>
                  <a:pt x="3383" y="5159"/>
                </a:lnTo>
                <a:lnTo>
                  <a:pt x="3164" y="5549"/>
                </a:lnTo>
                <a:lnTo>
                  <a:pt x="3018" y="5889"/>
                </a:lnTo>
                <a:lnTo>
                  <a:pt x="2921" y="6157"/>
                </a:lnTo>
                <a:lnTo>
                  <a:pt x="2823" y="6595"/>
                </a:lnTo>
                <a:lnTo>
                  <a:pt x="2775" y="7057"/>
                </a:lnTo>
                <a:lnTo>
                  <a:pt x="2750" y="7495"/>
                </a:lnTo>
                <a:lnTo>
                  <a:pt x="2775" y="7958"/>
                </a:lnTo>
                <a:lnTo>
                  <a:pt x="2823" y="8396"/>
                </a:lnTo>
                <a:lnTo>
                  <a:pt x="2921" y="8834"/>
                </a:lnTo>
                <a:lnTo>
                  <a:pt x="3067" y="9272"/>
                </a:lnTo>
                <a:lnTo>
                  <a:pt x="3237" y="9685"/>
                </a:lnTo>
                <a:lnTo>
                  <a:pt x="3602" y="10367"/>
                </a:lnTo>
                <a:lnTo>
                  <a:pt x="3991" y="11024"/>
                </a:lnTo>
                <a:lnTo>
                  <a:pt x="4843" y="12337"/>
                </a:lnTo>
                <a:lnTo>
                  <a:pt x="5281" y="13019"/>
                </a:lnTo>
                <a:lnTo>
                  <a:pt x="5476" y="13384"/>
                </a:lnTo>
                <a:lnTo>
                  <a:pt x="5646" y="13724"/>
                </a:lnTo>
                <a:lnTo>
                  <a:pt x="5792" y="14089"/>
                </a:lnTo>
                <a:lnTo>
                  <a:pt x="5914" y="14454"/>
                </a:lnTo>
                <a:lnTo>
                  <a:pt x="5987" y="14844"/>
                </a:lnTo>
                <a:lnTo>
                  <a:pt x="5987" y="15282"/>
                </a:lnTo>
                <a:lnTo>
                  <a:pt x="5962" y="15379"/>
                </a:lnTo>
                <a:lnTo>
                  <a:pt x="5962" y="15428"/>
                </a:lnTo>
                <a:lnTo>
                  <a:pt x="5889" y="15525"/>
                </a:lnTo>
                <a:lnTo>
                  <a:pt x="5841" y="15647"/>
                </a:lnTo>
                <a:lnTo>
                  <a:pt x="5816" y="15768"/>
                </a:lnTo>
                <a:lnTo>
                  <a:pt x="5792" y="15914"/>
                </a:lnTo>
                <a:lnTo>
                  <a:pt x="5816" y="16036"/>
                </a:lnTo>
                <a:lnTo>
                  <a:pt x="5841" y="16158"/>
                </a:lnTo>
                <a:lnTo>
                  <a:pt x="5889" y="16279"/>
                </a:lnTo>
                <a:lnTo>
                  <a:pt x="5962" y="16377"/>
                </a:lnTo>
                <a:lnTo>
                  <a:pt x="5865" y="16474"/>
                </a:lnTo>
                <a:lnTo>
                  <a:pt x="5792" y="16620"/>
                </a:lnTo>
                <a:lnTo>
                  <a:pt x="5768" y="16766"/>
                </a:lnTo>
                <a:lnTo>
                  <a:pt x="5768" y="16912"/>
                </a:lnTo>
                <a:lnTo>
                  <a:pt x="5768" y="17058"/>
                </a:lnTo>
                <a:lnTo>
                  <a:pt x="5816" y="17204"/>
                </a:lnTo>
                <a:lnTo>
                  <a:pt x="5889" y="17350"/>
                </a:lnTo>
                <a:lnTo>
                  <a:pt x="5987" y="17472"/>
                </a:lnTo>
                <a:lnTo>
                  <a:pt x="5962" y="17496"/>
                </a:lnTo>
                <a:lnTo>
                  <a:pt x="5914" y="17618"/>
                </a:lnTo>
                <a:lnTo>
                  <a:pt x="5914" y="17715"/>
                </a:lnTo>
                <a:lnTo>
                  <a:pt x="5938" y="17837"/>
                </a:lnTo>
                <a:lnTo>
                  <a:pt x="5987" y="17934"/>
                </a:lnTo>
                <a:lnTo>
                  <a:pt x="6133" y="18129"/>
                </a:lnTo>
                <a:lnTo>
                  <a:pt x="6303" y="18299"/>
                </a:lnTo>
                <a:lnTo>
                  <a:pt x="6424" y="18421"/>
                </a:lnTo>
                <a:lnTo>
                  <a:pt x="6570" y="18518"/>
                </a:lnTo>
                <a:lnTo>
                  <a:pt x="6862" y="18688"/>
                </a:lnTo>
                <a:lnTo>
                  <a:pt x="7179" y="18810"/>
                </a:lnTo>
                <a:lnTo>
                  <a:pt x="7495" y="18859"/>
                </a:lnTo>
                <a:lnTo>
                  <a:pt x="7738" y="18883"/>
                </a:lnTo>
                <a:lnTo>
                  <a:pt x="7982" y="18883"/>
                </a:lnTo>
                <a:lnTo>
                  <a:pt x="8030" y="18956"/>
                </a:lnTo>
                <a:lnTo>
                  <a:pt x="8079" y="18980"/>
                </a:lnTo>
                <a:lnTo>
                  <a:pt x="8128" y="18980"/>
                </a:lnTo>
                <a:lnTo>
                  <a:pt x="8176" y="18956"/>
                </a:lnTo>
                <a:lnTo>
                  <a:pt x="8201" y="18907"/>
                </a:lnTo>
                <a:lnTo>
                  <a:pt x="8201" y="18883"/>
                </a:lnTo>
                <a:lnTo>
                  <a:pt x="8493" y="18834"/>
                </a:lnTo>
                <a:lnTo>
                  <a:pt x="8785" y="18761"/>
                </a:lnTo>
                <a:lnTo>
                  <a:pt x="9052" y="18664"/>
                </a:lnTo>
                <a:lnTo>
                  <a:pt x="9320" y="18542"/>
                </a:lnTo>
                <a:lnTo>
                  <a:pt x="9563" y="18396"/>
                </a:lnTo>
                <a:lnTo>
                  <a:pt x="9807" y="18226"/>
                </a:lnTo>
                <a:lnTo>
                  <a:pt x="10050" y="18056"/>
                </a:lnTo>
                <a:lnTo>
                  <a:pt x="10269" y="17837"/>
                </a:lnTo>
                <a:lnTo>
                  <a:pt x="10318" y="17764"/>
                </a:lnTo>
                <a:lnTo>
                  <a:pt x="10342" y="17691"/>
                </a:lnTo>
                <a:lnTo>
                  <a:pt x="10464" y="17593"/>
                </a:lnTo>
                <a:lnTo>
                  <a:pt x="10537" y="17447"/>
                </a:lnTo>
                <a:lnTo>
                  <a:pt x="10585" y="17301"/>
                </a:lnTo>
                <a:lnTo>
                  <a:pt x="10634" y="17107"/>
                </a:lnTo>
                <a:lnTo>
                  <a:pt x="10634" y="16936"/>
                </a:lnTo>
                <a:lnTo>
                  <a:pt x="10585" y="16742"/>
                </a:lnTo>
                <a:lnTo>
                  <a:pt x="10512" y="16596"/>
                </a:lnTo>
                <a:lnTo>
                  <a:pt x="10391" y="16474"/>
                </a:lnTo>
                <a:lnTo>
                  <a:pt x="10488" y="16255"/>
                </a:lnTo>
                <a:lnTo>
                  <a:pt x="10537" y="16036"/>
                </a:lnTo>
                <a:lnTo>
                  <a:pt x="10537" y="15817"/>
                </a:lnTo>
                <a:lnTo>
                  <a:pt x="10488" y="15574"/>
                </a:lnTo>
                <a:lnTo>
                  <a:pt x="10415" y="15476"/>
                </a:lnTo>
                <a:lnTo>
                  <a:pt x="10342" y="15379"/>
                </a:lnTo>
                <a:lnTo>
                  <a:pt x="10342" y="15306"/>
                </a:lnTo>
                <a:lnTo>
                  <a:pt x="10415" y="14965"/>
                </a:lnTo>
                <a:lnTo>
                  <a:pt x="10464" y="14625"/>
                </a:lnTo>
                <a:lnTo>
                  <a:pt x="10512" y="14284"/>
                </a:lnTo>
                <a:lnTo>
                  <a:pt x="10585" y="13943"/>
                </a:lnTo>
                <a:lnTo>
                  <a:pt x="10658" y="13700"/>
                </a:lnTo>
                <a:lnTo>
                  <a:pt x="10756" y="13457"/>
                </a:lnTo>
                <a:lnTo>
                  <a:pt x="10999" y="12994"/>
                </a:lnTo>
                <a:lnTo>
                  <a:pt x="11023" y="12970"/>
                </a:lnTo>
                <a:lnTo>
                  <a:pt x="11023" y="12946"/>
                </a:lnTo>
                <a:lnTo>
                  <a:pt x="11340" y="12459"/>
                </a:lnTo>
                <a:lnTo>
                  <a:pt x="11632" y="11972"/>
                </a:lnTo>
                <a:lnTo>
                  <a:pt x="12191" y="11194"/>
                </a:lnTo>
                <a:lnTo>
                  <a:pt x="12483" y="10780"/>
                </a:lnTo>
                <a:lnTo>
                  <a:pt x="12751" y="10367"/>
                </a:lnTo>
                <a:lnTo>
                  <a:pt x="12994" y="9953"/>
                </a:lnTo>
                <a:lnTo>
                  <a:pt x="13213" y="9515"/>
                </a:lnTo>
                <a:lnTo>
                  <a:pt x="13384" y="9053"/>
                </a:lnTo>
                <a:lnTo>
                  <a:pt x="13457" y="8809"/>
                </a:lnTo>
                <a:lnTo>
                  <a:pt x="13505" y="8590"/>
                </a:lnTo>
                <a:lnTo>
                  <a:pt x="13554" y="8152"/>
                </a:lnTo>
                <a:lnTo>
                  <a:pt x="13554" y="7714"/>
                </a:lnTo>
                <a:lnTo>
                  <a:pt x="13505" y="7276"/>
                </a:lnTo>
                <a:lnTo>
                  <a:pt x="13432" y="6838"/>
                </a:lnTo>
                <a:lnTo>
                  <a:pt x="13335" y="6400"/>
                </a:lnTo>
                <a:lnTo>
                  <a:pt x="13213" y="5962"/>
                </a:lnTo>
                <a:lnTo>
                  <a:pt x="12946" y="5135"/>
                </a:lnTo>
                <a:lnTo>
                  <a:pt x="12800" y="4770"/>
                </a:lnTo>
                <a:lnTo>
                  <a:pt x="12605" y="4429"/>
                </a:lnTo>
                <a:lnTo>
                  <a:pt x="12386" y="4113"/>
                </a:lnTo>
                <a:lnTo>
                  <a:pt x="12143" y="3797"/>
                </a:lnTo>
                <a:lnTo>
                  <a:pt x="12143" y="3773"/>
                </a:lnTo>
                <a:lnTo>
                  <a:pt x="12094" y="3675"/>
                </a:lnTo>
                <a:lnTo>
                  <a:pt x="12021" y="3602"/>
                </a:lnTo>
                <a:lnTo>
                  <a:pt x="11948" y="3554"/>
                </a:lnTo>
                <a:lnTo>
                  <a:pt x="11851" y="3505"/>
                </a:lnTo>
                <a:lnTo>
                  <a:pt x="11607" y="3286"/>
                </a:lnTo>
                <a:lnTo>
                  <a:pt x="11340" y="3091"/>
                </a:lnTo>
                <a:lnTo>
                  <a:pt x="11072" y="2897"/>
                </a:lnTo>
                <a:lnTo>
                  <a:pt x="10804" y="2726"/>
                </a:lnTo>
                <a:lnTo>
                  <a:pt x="10464" y="2556"/>
                </a:lnTo>
                <a:lnTo>
                  <a:pt x="10099" y="2386"/>
                </a:lnTo>
                <a:lnTo>
                  <a:pt x="9709" y="2264"/>
                </a:lnTo>
                <a:lnTo>
                  <a:pt x="9320" y="2191"/>
                </a:lnTo>
                <a:lnTo>
                  <a:pt x="8931" y="2142"/>
                </a:lnTo>
                <a:lnTo>
                  <a:pt x="8517" y="2094"/>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2192861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Playful colors">
      <a:dk1>
        <a:srgbClr val="273F68"/>
      </a:dk1>
      <a:lt1>
        <a:srgbClr val="FFFFFF"/>
      </a:lt1>
      <a:dk2>
        <a:srgbClr val="7085AA"/>
      </a:dk2>
      <a:lt2>
        <a:srgbClr val="F4F7FA"/>
      </a:lt2>
      <a:accent1>
        <a:srgbClr val="4BD1DD"/>
      </a:accent1>
      <a:accent2>
        <a:srgbClr val="57C0EB"/>
      </a:accent2>
      <a:accent3>
        <a:srgbClr val="BD9ADD"/>
      </a:accent3>
      <a:accent4>
        <a:srgbClr val="F3805C"/>
      </a:accent4>
      <a:accent5>
        <a:srgbClr val="FFD11D"/>
      </a:accent5>
      <a:accent6>
        <a:srgbClr val="95D346"/>
      </a:accent6>
      <a:hlink>
        <a:srgbClr val="273F68"/>
      </a:hlink>
      <a:folHlink>
        <a:srgbClr val="6611CC"/>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2.xml><?xml version="1.0" encoding="utf-8"?>
<a:theme xmlns:a="http://schemas.openxmlformats.org/drawingml/2006/main" name="1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lank.potx" id="{900E3F7D-0F42-4127-A563-AB863FCD720C}" vid="{53CCD02C-91E1-4BFC-A1BE-18ED37431167}"/>
    </a:ext>
  </a:extLst>
</a:theme>
</file>

<file path=ppt/theme/theme3.xml><?xml version="1.0" encoding="utf-8"?>
<a:theme xmlns:a="http://schemas.openxmlformats.org/drawingml/2006/main" name="2_Blank">
  <a:themeElements>
    <a:clrScheme name="Ramboll">
      <a:dk1>
        <a:srgbClr val="333333"/>
      </a:dk1>
      <a:lt1>
        <a:srgbClr val="FFFFFF"/>
      </a:lt1>
      <a:dk2>
        <a:srgbClr val="009DF0"/>
      </a:dk2>
      <a:lt2>
        <a:srgbClr val="797766"/>
      </a:lt2>
      <a:accent1>
        <a:srgbClr val="ADDDFF"/>
      </a:accent1>
      <a:accent2>
        <a:srgbClr val="3AA551"/>
      </a:accent2>
      <a:accent3>
        <a:srgbClr val="A8D100"/>
      </a:accent3>
      <a:accent4>
        <a:srgbClr val="C40079"/>
      </a:accent4>
      <a:accent5>
        <a:srgbClr val="C63418"/>
      </a:accent5>
      <a:accent6>
        <a:srgbClr val="D0CFC9"/>
      </a:accent6>
      <a:hlink>
        <a:srgbClr val="009DF0"/>
      </a:hlink>
      <a:folHlink>
        <a:srgbClr val="ADDDFF"/>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bwMode="auto">
        <a:noFill/>
        <a:ln w="9525">
          <a:noFill/>
          <a:miter lim="800000"/>
          <a:headEnd/>
          <a:tailEnd/>
        </a:ln>
        <a:effectLst/>
      </a:spPr>
      <a:bodyPr vert="horz" wrap="square" lIns="0" tIns="0" rIns="0" bIns="0" numCol="1" rtlCol="0" anchor="t" anchorCtr="0" compatLnSpc="1">
        <a:prstTxWarp prst="textNoShape">
          <a:avLst/>
        </a:prstTxWarp>
        <a:spAutoFit/>
      </a:bodyPr>
      <a:lstStyle>
        <a:defPPr marR="0" algn="l" defTabSz="457200" rtl="0" eaLnBrk="0" fontAlgn="base" latinLnBrk="0" hangingPunct="0">
          <a:spcBef>
            <a:spcPct val="0"/>
          </a:spcBef>
          <a:buClrTx/>
          <a:buSzTx/>
          <a:tabLst/>
          <a:defRPr kumimoji="0" sz="1800" b="0" i="0" u="none" strike="noStrike" kern="1200" cap="none" spc="0" normalizeH="0" baseline="0" noProof="0" dirty="0" err="1" smtClean="0">
            <a:ln>
              <a:noFill/>
            </a:ln>
            <a:solidFill>
              <a:schemeClr val="tx1"/>
            </a:solidFill>
            <a:effectLst/>
            <a:uLnTx/>
            <a:uFillTx/>
            <a:latin typeface="Verdana"/>
            <a:ea typeface="Verdana" pitchFamily="34" charset="0"/>
            <a:cs typeface="Verdana" pitchFamily="34" charset="0"/>
          </a:defRPr>
        </a:defPPr>
      </a:lstStyle>
    </a:txDef>
  </a:objectDefaults>
  <a:extraClrSchemeLst/>
  <a:custClrLst>
    <a:custClr name="Black">
      <a:srgbClr val="333333"/>
    </a:custClr>
    <a:custClr name="Dark Grey">
      <a:srgbClr val="797766"/>
    </a:custClr>
    <a:custClr name="Cyan">
      <a:srgbClr val="009DF0"/>
    </a:custClr>
    <a:custClr name="Light Blue">
      <a:srgbClr val="ADDDFF"/>
    </a:custClr>
    <a:custClr name="Green">
      <a:srgbClr val="3AA551"/>
    </a:custClr>
    <a:custClr name="Lime Green">
      <a:srgbClr val="A8D100"/>
    </a:custClr>
    <a:custClr name="Magenta">
      <a:srgbClr val="C40079"/>
    </a:custClr>
    <a:custClr name="Warm Red">
      <a:srgbClr val="C63418"/>
    </a:custClr>
    <a:custClr name="Light Grey">
      <a:srgbClr val="D0CFC9"/>
    </a:custClr>
    <a:custClr name="Dark Blue">
      <a:srgbClr val="006FAD"/>
    </a:custClr>
    <a:custClr name="White">
      <a:srgbClr val="FFFFFF"/>
    </a:custClr>
    <a:custClr name="65% Dark Grey">
      <a:srgbClr val="A8A69B"/>
    </a:custClr>
    <a:custClr name="65% Cyan">
      <a:srgbClr val="59BFF5"/>
    </a:custClr>
    <a:custClr name="65% Light Blue">
      <a:srgbClr val="CAE9FF"/>
    </a:custClr>
    <a:custClr name="65% Green">
      <a:srgbClr val="7FC48E"/>
    </a:custClr>
    <a:custClr name="65% Lime Green">
      <a:srgbClr val="C6E159"/>
    </a:custClr>
    <a:custClr name="65% Magenta">
      <a:srgbClr val="D959A8"/>
    </a:custClr>
    <a:custClr name="65% Warm Red">
      <a:srgbClr val="DA7B69"/>
    </a:custClr>
    <a:custClr name="65% Light Grey">
      <a:srgbClr val="E0E0DC"/>
    </a:custClr>
    <a:custClr name="65% Dark Blue">
      <a:srgbClr val="59A1CA"/>
    </a:custClr>
    <a:custClr name="White">
      <a:srgbClr val="FFFFFF"/>
    </a:custClr>
    <a:custClr name="30% Dark Grey">
      <a:srgbClr val="D7D6D1"/>
    </a:custClr>
    <a:custClr name="30% Cyan">
      <a:srgbClr val="B2E1FA"/>
    </a:custClr>
    <a:custClr name="30% Light Blue">
      <a:srgbClr val="E6F5FF"/>
    </a:custClr>
    <a:custClr name="30% Green">
      <a:srgbClr val="C4E4CA"/>
    </a:custClr>
    <a:custClr name="30% Lime Green">
      <a:srgbClr val="E5F1B2"/>
    </a:custClr>
    <a:custClr name="30% Magenta">
      <a:srgbClr val="EDB2D7"/>
    </a:custClr>
    <a:custClr name="30% Warm Red">
      <a:srgbClr val="EEC2B9"/>
    </a:custClr>
    <a:custClr name="30% Light Grey">
      <a:srgbClr val="F6F6F4"/>
    </a:custClr>
    <a:custClr name="30% Dark Blue">
      <a:srgbClr val="B2D4E6"/>
    </a:custClr>
  </a:custClrLst>
  <a:extLst>
    <a:ext uri="{05A4C25C-085E-4340-85A3-A5531E510DB2}">
      <thm15:themeFamily xmlns:thm15="http://schemas.microsoft.com/office/thememl/2012/main" name="Ramboll Template.pptx" id="{5AEA101F-179A-4E02-8835-BB0D3710D3A7}" vid="{E99342CD-4962-46DC-842C-A6C21B4B076F}"/>
    </a:ext>
  </a:extLst>
</a:theme>
</file>

<file path=ppt/theme/theme4.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4999FACE0A9624E8C23E1D7E89E89FE" ma:contentTypeVersion="14" ma:contentTypeDescription="Create a new document." ma:contentTypeScope="" ma:versionID="dce4e63a9afa0e0857defb4b25587af6">
  <xsd:schema xmlns:xsd="http://www.w3.org/2001/XMLSchema" xmlns:xs="http://www.w3.org/2001/XMLSchema" xmlns:p="http://schemas.microsoft.com/office/2006/metadata/properties" xmlns:ns2="2878c695-2e5f-4fdb-8928-c23a94bfc9ba" xmlns:ns3="6001f91c-baf8-4b78-ad44-7f704f44ef8e" targetNamespace="http://schemas.microsoft.com/office/2006/metadata/properties" ma:root="true" ma:fieldsID="ad1ac2d927857462836701e3716a3d43" ns2:_="" ns3:_="">
    <xsd:import namespace="2878c695-2e5f-4fdb-8928-c23a94bfc9ba"/>
    <xsd:import namespace="6001f91c-baf8-4b78-ad44-7f704f44ef8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78c695-2e5f-4fdb-8928-c23a94bfc9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a0716b9-ea6c-4544-a4bd-65ac324c60d4"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Location" ma:index="16" nillable="true" ma:displayName="Location" ma:indexed="true"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01f91c-baf8-4b78-ad44-7f704f44ef8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86fc40ba-f563-464e-a35a-e538acd0a0f9}" ma:internalName="TaxCatchAll" ma:showField="CatchAllData" ma:web="6001f91c-baf8-4b78-ad44-7f704f44ef8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6001f91c-baf8-4b78-ad44-7f704f44ef8e">
      <UserInfo>
        <DisplayName>Mia Rytter Lund</DisplayName>
        <AccountId>11</AccountId>
        <AccountType/>
      </UserInfo>
      <UserInfo>
        <DisplayName>Nikolaj Godsk Vestergaard</DisplayName>
        <AccountId>17</AccountId>
        <AccountType/>
      </UserInfo>
      <UserInfo>
        <DisplayName>Stine Møller Jespersen</DisplayName>
        <AccountId>102</AccountId>
        <AccountType/>
      </UserInfo>
      <UserInfo>
        <DisplayName>Marianne Delcomyn</DisplayName>
        <AccountId>112</AccountId>
        <AccountType/>
      </UserInfo>
      <UserInfo>
        <DisplayName>Aman Reehal</DisplayName>
        <AccountId>115</AccountId>
        <AccountType/>
      </UserInfo>
      <UserInfo>
        <DisplayName>Sophie Bayer</DisplayName>
        <AccountId>28</AccountId>
        <AccountType/>
      </UserInfo>
      <UserInfo>
        <DisplayName>Ida Høst Poulsen</DisplayName>
        <AccountId>44</AccountId>
        <AccountType/>
      </UserInfo>
      <UserInfo>
        <DisplayName>Josephine Andersen</DisplayName>
        <AccountId>117</AccountId>
        <AccountType/>
      </UserInfo>
    </SharedWithUsers>
    <lcf76f155ced4ddcb4097134ff3c332f xmlns="2878c695-2e5f-4fdb-8928-c23a94bfc9ba">
      <Terms xmlns="http://schemas.microsoft.com/office/infopath/2007/PartnerControls"/>
    </lcf76f155ced4ddcb4097134ff3c332f>
    <TaxCatchAll xmlns="6001f91c-baf8-4b78-ad44-7f704f44ef8e" xsi:nil="true"/>
  </documentManagement>
</p:properties>
</file>

<file path=customXml/itemProps1.xml><?xml version="1.0" encoding="utf-8"?>
<ds:datastoreItem xmlns:ds="http://schemas.openxmlformats.org/officeDocument/2006/customXml" ds:itemID="{1D153CFF-5C71-4AE1-8E1D-1F92B2B8ED15}">
  <ds:schemaRefs>
    <ds:schemaRef ds:uri="http://schemas.microsoft.com/sharepoint/v3/contenttype/forms"/>
  </ds:schemaRefs>
</ds:datastoreItem>
</file>

<file path=customXml/itemProps2.xml><?xml version="1.0" encoding="utf-8"?>
<ds:datastoreItem xmlns:ds="http://schemas.openxmlformats.org/officeDocument/2006/customXml" ds:itemID="{D8A97433-518A-4A52-9476-EBA97EFAFB36}">
  <ds:schemaRefs>
    <ds:schemaRef ds:uri="2878c695-2e5f-4fdb-8928-c23a94bfc9ba"/>
    <ds:schemaRef ds:uri="6001f91c-baf8-4b78-ad44-7f704f44ef8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9EFF8DE-3DB9-4F84-BF63-5977268658D3}">
  <ds:schemaRefs>
    <ds:schemaRef ds:uri="2878c695-2e5f-4fdb-8928-c23a94bfc9ba"/>
    <ds:schemaRef ds:uri="6001f91c-baf8-4b78-ad44-7f704f44ef8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5204</Words>
  <Application>Microsoft Office PowerPoint</Application>
  <PresentationFormat>Widescreen</PresentationFormat>
  <Paragraphs>879</Paragraphs>
  <Slides>49</Slides>
  <Notes>48</Notes>
  <HiddenSlides>0</HiddenSlides>
  <MMClips>0</MMClips>
  <ScaleCrop>false</ScaleCrop>
  <HeadingPairs>
    <vt:vector size="8" baseType="variant">
      <vt:variant>
        <vt:lpstr>Benyttede skrifttyper</vt:lpstr>
      </vt:variant>
      <vt:variant>
        <vt:i4>6</vt:i4>
      </vt:variant>
      <vt:variant>
        <vt:lpstr>Tema</vt:lpstr>
      </vt:variant>
      <vt:variant>
        <vt:i4>3</vt:i4>
      </vt:variant>
      <vt:variant>
        <vt:lpstr>Integrerede OLE-servere</vt:lpstr>
      </vt:variant>
      <vt:variant>
        <vt:i4>1</vt:i4>
      </vt:variant>
      <vt:variant>
        <vt:lpstr>Slidetitler</vt:lpstr>
      </vt:variant>
      <vt:variant>
        <vt:i4>49</vt:i4>
      </vt:variant>
    </vt:vector>
  </HeadingPairs>
  <TitlesOfParts>
    <vt:vector size="59" baseType="lpstr">
      <vt:lpstr>Amatic SC</vt:lpstr>
      <vt:lpstr>Arial</vt:lpstr>
      <vt:lpstr>Quicksand</vt:lpstr>
      <vt:lpstr>Short Stack</vt:lpstr>
      <vt:lpstr>Symbol</vt:lpstr>
      <vt:lpstr>Verdana</vt:lpstr>
      <vt:lpstr>Blank</vt:lpstr>
      <vt:lpstr>1_Blank</vt:lpstr>
      <vt:lpstr>2_Blank</vt:lpstr>
      <vt:lpstr>think-cell Slide</vt:lpstr>
      <vt:lpstr>PowerPoint-præsentation</vt:lpstr>
      <vt:lpstr>PowerPoint-præsentation</vt:lpstr>
      <vt:lpstr>PowerPoint-præsentation</vt:lpstr>
      <vt:lpstr>PowerPoint-præsentation</vt:lpstr>
      <vt:lpstr>PowerPoint-præsentation</vt:lpstr>
      <vt:lpstr>Sådan kan I arbejde med resultaterne  på jeres skole</vt:lpstr>
      <vt:lpstr>PowerPoint-præsentation</vt:lpstr>
      <vt:lpstr>PowerPoint-præsentation</vt:lpstr>
      <vt:lpstr>PowerPoint-præsentation</vt:lpstr>
      <vt:lpstr>PowerPoint-præsentation</vt:lpstr>
      <vt:lpstr>PowerPoint-præsentation</vt:lpstr>
      <vt:lpstr>PowerPoint-præsentation</vt:lpstr>
      <vt:lpstr>Resultater fra første evalueringsrul evalueringen af den mangfoldige folkeskole</vt:lpstr>
      <vt:lpstr>PowerPoint-præsentation</vt:lpstr>
      <vt:lpstr>Deltagelsesmuligheder for alle elever - eleverne fortæller</vt:lpstr>
      <vt:lpstr>PowerPoint-præsentation</vt:lpstr>
      <vt:lpstr>PowerPoint-præsentation</vt:lpstr>
      <vt:lpstr>PowerPoint-præsentation</vt:lpstr>
      <vt:lpstr>PowerPoint-præsentation</vt:lpstr>
      <vt:lpstr>PowerPoint-præsentation</vt:lpstr>
      <vt:lpstr>PowerPoint-præsentation</vt:lpstr>
      <vt:lpstr>Aktionslæringsforløb styrker deltagelsesmuligheder, når det foregår systematisk</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ledelsen udmønter rolle forskelligt, men bør være tæt på udviklingsproces </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Bilag til arbejdet med resultater på jeres skole</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 december 2022</dc:title>
  <dc:creator>Nikolaj Godsk Vestergaard</dc:creator>
  <cp:lastModifiedBy>Nanna Holst Christensen</cp:lastModifiedBy>
  <cp:revision>2</cp:revision>
  <cp:lastPrinted>2022-12-14T14:16:49Z</cp:lastPrinted>
  <dcterms:created xsi:type="dcterms:W3CDTF">2022-11-28T10:19:23Z</dcterms:created>
  <dcterms:modified xsi:type="dcterms:W3CDTF">2023-09-06T07:1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0ea7001-5c24-4702-a3ac-e436ccb02747_Enabled">
    <vt:lpwstr>true</vt:lpwstr>
  </property>
  <property fmtid="{D5CDD505-2E9C-101B-9397-08002B2CF9AE}" pid="3" name="MSIP_Label_20ea7001-5c24-4702-a3ac-e436ccb02747_SetDate">
    <vt:lpwstr>2022-11-28T10:19:24Z</vt:lpwstr>
  </property>
  <property fmtid="{D5CDD505-2E9C-101B-9397-08002B2CF9AE}" pid="4" name="MSIP_Label_20ea7001-5c24-4702-a3ac-e436ccb02747_Method">
    <vt:lpwstr>Standard</vt:lpwstr>
  </property>
  <property fmtid="{D5CDD505-2E9C-101B-9397-08002B2CF9AE}" pid="5" name="MSIP_Label_20ea7001-5c24-4702-a3ac-e436ccb02747_Name">
    <vt:lpwstr>Confidential</vt:lpwstr>
  </property>
  <property fmtid="{D5CDD505-2E9C-101B-9397-08002B2CF9AE}" pid="6" name="MSIP_Label_20ea7001-5c24-4702-a3ac-e436ccb02747_SiteId">
    <vt:lpwstr>c8823c91-be81-4f89-b024-6c3dd789c106</vt:lpwstr>
  </property>
  <property fmtid="{D5CDD505-2E9C-101B-9397-08002B2CF9AE}" pid="7" name="MSIP_Label_20ea7001-5c24-4702-a3ac-e436ccb02747_ActionId">
    <vt:lpwstr>9cef2eea-b7e5-4349-87cc-eae238bee497</vt:lpwstr>
  </property>
  <property fmtid="{D5CDD505-2E9C-101B-9397-08002B2CF9AE}" pid="8" name="MSIP_Label_20ea7001-5c24-4702-a3ac-e436ccb02747_ContentBits">
    <vt:lpwstr>2</vt:lpwstr>
  </property>
  <property fmtid="{D5CDD505-2E9C-101B-9397-08002B2CF9AE}" pid="9" name="ContentTypeId">
    <vt:lpwstr>0x010100B4999FACE0A9624E8C23E1D7E89E89FE</vt:lpwstr>
  </property>
  <property fmtid="{D5CDD505-2E9C-101B-9397-08002B2CF9AE}" pid="10" name="MediaServiceImageTags">
    <vt:lpwstr/>
  </property>
</Properties>
</file>